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4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69" r:id="rId3"/>
    <p:sldId id="258" r:id="rId4"/>
    <p:sldId id="270" r:id="rId5"/>
    <p:sldId id="271" r:id="rId6"/>
    <p:sldId id="272" r:id="rId7"/>
    <p:sldId id="273" r:id="rId8"/>
    <p:sldId id="274" r:id="rId9"/>
    <p:sldId id="261" r:id="rId10"/>
  </p:sldIdLst>
  <p:sldSz cx="12192000" cy="6858000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19787D"/>
    <a:srgbClr val="3BD7BD"/>
    <a:srgbClr val="46B2FC"/>
    <a:srgbClr val="A8EEE2"/>
    <a:srgbClr val="C3F3EB"/>
    <a:srgbClr val="F5BB17"/>
    <a:srgbClr val="F9DB59"/>
    <a:srgbClr val="EEA67A"/>
    <a:srgbClr val="0178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6182" autoAdjust="0"/>
  </p:normalViewPr>
  <p:slideViewPr>
    <p:cSldViewPr snapToGrid="0">
      <p:cViewPr varScale="1">
        <p:scale>
          <a:sx n="103" d="100"/>
          <a:sy n="103" d="100"/>
        </p:scale>
        <p:origin x="144" y="3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7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7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5" y="4191307"/>
            <a:ext cx="5454512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130300"/>
            <a:ext cx="5454512" cy="3025834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27115"/>
            <a:ext cx="54545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23386"/>
            <a:ext cx="54545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508" name="任意多边形: 形状 507">
            <a:extLst>
              <a:ext uri="{FF2B5EF4-FFF2-40B4-BE49-F238E27FC236}">
                <a16:creationId xmlns:a16="http://schemas.microsoft.com/office/drawing/2014/main" id="{A779BD46-68F6-4D8D-93F8-CF94906C9C6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06848" y="174489"/>
            <a:ext cx="5899150" cy="4169030"/>
          </a:xfrm>
          <a:custGeom>
            <a:avLst/>
            <a:gdLst>
              <a:gd name="connsiteX0" fmla="*/ 4950105 w 5899150"/>
              <a:gd name="connsiteY0" fmla="*/ 2048130 h 4169030"/>
              <a:gd name="connsiteX1" fmla="*/ 4950105 w 5899150"/>
              <a:gd name="connsiteY1" fmla="*/ 3740405 h 4169030"/>
              <a:gd name="connsiteX2" fmla="*/ 4950105 w 5899150"/>
              <a:gd name="connsiteY2" fmla="*/ 2048130 h 4169030"/>
              <a:gd name="connsiteX3" fmla="*/ 2024528 w 5899150"/>
              <a:gd name="connsiteY3" fmla="*/ 1949705 h 4169030"/>
              <a:gd name="connsiteX4" fmla="*/ 2024528 w 5899150"/>
              <a:gd name="connsiteY4" fmla="*/ 3000581 h 4169030"/>
              <a:gd name="connsiteX5" fmla="*/ 2000342 w 5899150"/>
              <a:gd name="connsiteY5" fmla="*/ 3592768 h 4169030"/>
              <a:gd name="connsiteX6" fmla="*/ 1979612 w 5899150"/>
              <a:gd name="connsiteY6" fmla="*/ 3123811 h 4169030"/>
              <a:gd name="connsiteX7" fmla="*/ 2000342 w 5899150"/>
              <a:gd name="connsiteY7" fmla="*/ 2528200 h 4169030"/>
              <a:gd name="connsiteX8" fmla="*/ 2024528 w 5899150"/>
              <a:gd name="connsiteY8" fmla="*/ 1949705 h 4169030"/>
              <a:gd name="connsiteX9" fmla="*/ 157535 w 5899150"/>
              <a:gd name="connsiteY9" fmla="*/ 1541717 h 4169030"/>
              <a:gd name="connsiteX10" fmla="*/ 184429 w 5899150"/>
              <a:gd name="connsiteY10" fmla="*/ 1716447 h 4169030"/>
              <a:gd name="connsiteX11" fmla="*/ 154174 w 5899150"/>
              <a:gd name="connsiteY11" fmla="*/ 2884742 h 4169030"/>
              <a:gd name="connsiteX12" fmla="*/ 154174 w 5899150"/>
              <a:gd name="connsiteY12" fmla="*/ 2353699 h 4169030"/>
              <a:gd name="connsiteX13" fmla="*/ 154174 w 5899150"/>
              <a:gd name="connsiteY13" fmla="*/ 1884325 h 4169030"/>
              <a:gd name="connsiteX14" fmla="*/ 157535 w 5899150"/>
              <a:gd name="connsiteY14" fmla="*/ 1541717 h 4169030"/>
              <a:gd name="connsiteX15" fmla="*/ 99236 w 5899150"/>
              <a:gd name="connsiteY15" fmla="*/ 1144845 h 4169030"/>
              <a:gd name="connsiteX16" fmla="*/ 112924 w 5899150"/>
              <a:gd name="connsiteY16" fmla="*/ 1805849 h 4169030"/>
              <a:gd name="connsiteX17" fmla="*/ 106080 w 5899150"/>
              <a:gd name="connsiteY17" fmla="*/ 3405277 h 4169030"/>
              <a:gd name="connsiteX18" fmla="*/ 153987 w 5899150"/>
              <a:gd name="connsiteY18" fmla="*/ 2984014 h 4169030"/>
              <a:gd name="connsiteX19" fmla="*/ 153987 w 5899150"/>
              <a:gd name="connsiteY19" fmla="*/ 4169030 h 4169030"/>
              <a:gd name="connsiteX20" fmla="*/ 0 w 5899150"/>
              <a:gd name="connsiteY20" fmla="*/ 4169030 h 4169030"/>
              <a:gd name="connsiteX21" fmla="*/ 0 w 5899150"/>
              <a:gd name="connsiteY21" fmla="*/ 1312665 h 4169030"/>
              <a:gd name="connsiteX22" fmla="*/ 5899150 w 5899150"/>
              <a:gd name="connsiteY22" fmla="*/ 914655 h 4169030"/>
              <a:gd name="connsiteX23" fmla="*/ 5899150 w 5899150"/>
              <a:gd name="connsiteY23" fmla="*/ 1041655 h 4169030"/>
              <a:gd name="connsiteX24" fmla="*/ 5899150 w 5899150"/>
              <a:gd name="connsiteY24" fmla="*/ 3846767 h 4169030"/>
              <a:gd name="connsiteX25" fmla="*/ 5867400 w 5899150"/>
              <a:gd name="connsiteY25" fmla="*/ 3846767 h 4169030"/>
              <a:gd name="connsiteX26" fmla="*/ 5867400 w 5899150"/>
              <a:gd name="connsiteY26" fmla="*/ 1048005 h 4169030"/>
              <a:gd name="connsiteX27" fmla="*/ 5651500 w 5899150"/>
              <a:gd name="connsiteY27" fmla="*/ 636843 h 4169030"/>
              <a:gd name="connsiteX28" fmla="*/ 5778189 w 5899150"/>
              <a:gd name="connsiteY28" fmla="*/ 914329 h 4169030"/>
              <a:gd name="connsiteX29" fmla="*/ 5805581 w 5899150"/>
              <a:gd name="connsiteY29" fmla="*/ 1479577 h 4169030"/>
              <a:gd name="connsiteX30" fmla="*/ 5778189 w 5899150"/>
              <a:gd name="connsiteY30" fmla="*/ 1948904 h 4169030"/>
              <a:gd name="connsiteX31" fmla="*/ 5812429 w 5899150"/>
              <a:gd name="connsiteY31" fmla="*/ 2548410 h 4169030"/>
              <a:gd name="connsiteX32" fmla="*/ 5812429 w 5899150"/>
              <a:gd name="connsiteY32" fmla="*/ 3846768 h 4169030"/>
              <a:gd name="connsiteX33" fmla="*/ 5651500 w 5899150"/>
              <a:gd name="connsiteY33" fmla="*/ 3846768 h 4169030"/>
              <a:gd name="connsiteX34" fmla="*/ 5651500 w 5899150"/>
              <a:gd name="connsiteY34" fmla="*/ 636843 h 4169030"/>
              <a:gd name="connsiteX35" fmla="*/ 3798887 w 5899150"/>
              <a:gd name="connsiteY35" fmla="*/ 0 h 4169030"/>
              <a:gd name="connsiteX36" fmla="*/ 3887787 w 5899150"/>
              <a:gd name="connsiteY36" fmla="*/ 0 h 4169030"/>
              <a:gd name="connsiteX37" fmla="*/ 3887787 w 5899150"/>
              <a:gd name="connsiteY37" fmla="*/ 1541995 h 4169030"/>
              <a:gd name="connsiteX38" fmla="*/ 3892017 w 5899150"/>
              <a:gd name="connsiteY38" fmla="*/ 1539449 h 4169030"/>
              <a:gd name="connsiteX39" fmla="*/ 3911699 w 5899150"/>
              <a:gd name="connsiteY39" fmla="*/ 1534298 h 4169030"/>
              <a:gd name="connsiteX40" fmla="*/ 4010860 w 5899150"/>
              <a:gd name="connsiteY40" fmla="*/ 1603357 h 4169030"/>
              <a:gd name="connsiteX41" fmla="*/ 4017962 w 5899150"/>
              <a:gd name="connsiteY41" fmla="*/ 1605637 h 4169030"/>
              <a:gd name="connsiteX42" fmla="*/ 4017962 w 5899150"/>
              <a:gd name="connsiteY42" fmla="*/ 0 h 4169030"/>
              <a:gd name="connsiteX43" fmla="*/ 4179887 w 5899150"/>
              <a:gd name="connsiteY43" fmla="*/ 0 h 4169030"/>
              <a:gd name="connsiteX44" fmla="*/ 4179887 w 5899150"/>
              <a:gd name="connsiteY44" fmla="*/ 1881563 h 4169030"/>
              <a:gd name="connsiteX45" fmla="*/ 4188820 w 5899150"/>
              <a:gd name="connsiteY45" fmla="*/ 1882372 h 4169030"/>
              <a:gd name="connsiteX46" fmla="*/ 4268788 w 5899150"/>
              <a:gd name="connsiteY46" fmla="*/ 1870396 h 4169030"/>
              <a:gd name="connsiteX47" fmla="*/ 4298950 w 5899150"/>
              <a:gd name="connsiteY47" fmla="*/ 1847301 h 4169030"/>
              <a:gd name="connsiteX48" fmla="*/ 4298950 w 5899150"/>
              <a:gd name="connsiteY48" fmla="*/ 0 h 4169030"/>
              <a:gd name="connsiteX49" fmla="*/ 4384675 w 5899150"/>
              <a:gd name="connsiteY49" fmla="*/ 0 h 4169030"/>
              <a:gd name="connsiteX50" fmla="*/ 4384675 w 5899150"/>
              <a:gd name="connsiteY50" fmla="*/ 2129601 h 4169030"/>
              <a:gd name="connsiteX51" fmla="*/ 4386873 w 5899150"/>
              <a:gd name="connsiteY51" fmla="*/ 2131428 h 4169030"/>
              <a:gd name="connsiteX52" fmla="*/ 4437734 w 5899150"/>
              <a:gd name="connsiteY52" fmla="*/ 2184922 h 4169030"/>
              <a:gd name="connsiteX53" fmla="*/ 4487862 w 5899150"/>
              <a:gd name="connsiteY53" fmla="*/ 2256236 h 4169030"/>
              <a:gd name="connsiteX54" fmla="*/ 4487862 w 5899150"/>
              <a:gd name="connsiteY54" fmla="*/ 0 h 4169030"/>
              <a:gd name="connsiteX55" fmla="*/ 4627562 w 5899150"/>
              <a:gd name="connsiteY55" fmla="*/ 0 h 4169030"/>
              <a:gd name="connsiteX56" fmla="*/ 4627562 w 5899150"/>
              <a:gd name="connsiteY56" fmla="*/ 2367529 h 4169030"/>
              <a:gd name="connsiteX57" fmla="*/ 4660412 w 5899150"/>
              <a:gd name="connsiteY57" fmla="*/ 2382977 h 4169030"/>
              <a:gd name="connsiteX58" fmla="*/ 4709990 w 5899150"/>
              <a:gd name="connsiteY58" fmla="*/ 2415299 h 4169030"/>
              <a:gd name="connsiteX59" fmla="*/ 4750700 w 5899150"/>
              <a:gd name="connsiteY59" fmla="*/ 2462736 h 4169030"/>
              <a:gd name="connsiteX60" fmla="*/ 4775200 w 5899150"/>
              <a:gd name="connsiteY60" fmla="*/ 2499388 h 4169030"/>
              <a:gd name="connsiteX61" fmla="*/ 4775200 w 5899150"/>
              <a:gd name="connsiteY61" fmla="*/ 0 h 4169030"/>
              <a:gd name="connsiteX62" fmla="*/ 4902200 w 5899150"/>
              <a:gd name="connsiteY62" fmla="*/ 0 h 4169030"/>
              <a:gd name="connsiteX63" fmla="*/ 4902200 w 5899150"/>
              <a:gd name="connsiteY63" fmla="*/ 3994405 h 4169030"/>
              <a:gd name="connsiteX64" fmla="*/ 4775200 w 5899150"/>
              <a:gd name="connsiteY64" fmla="*/ 3994405 h 4169030"/>
              <a:gd name="connsiteX65" fmla="*/ 4775200 w 5899150"/>
              <a:gd name="connsiteY65" fmla="*/ 2685763 h 4169030"/>
              <a:gd name="connsiteX66" fmla="*/ 4774956 w 5899150"/>
              <a:gd name="connsiteY66" fmla="*/ 2686305 h 4169030"/>
              <a:gd name="connsiteX67" fmla="*/ 4658462 w 5899150"/>
              <a:gd name="connsiteY67" fmla="*/ 2441061 h 4169030"/>
              <a:gd name="connsiteX68" fmla="*/ 4627562 w 5899150"/>
              <a:gd name="connsiteY68" fmla="*/ 2418260 h 4169030"/>
              <a:gd name="connsiteX69" fmla="*/ 4627562 w 5899150"/>
              <a:gd name="connsiteY69" fmla="*/ 4107118 h 4169030"/>
              <a:gd name="connsiteX70" fmla="*/ 4487862 w 5899150"/>
              <a:gd name="connsiteY70" fmla="*/ 4107118 h 4169030"/>
              <a:gd name="connsiteX71" fmla="*/ 4487862 w 5899150"/>
              <a:gd name="connsiteY71" fmla="*/ 2285838 h 4169030"/>
              <a:gd name="connsiteX72" fmla="*/ 4452266 w 5899150"/>
              <a:gd name="connsiteY72" fmla="*/ 2240774 h 4169030"/>
              <a:gd name="connsiteX73" fmla="*/ 4389705 w 5899150"/>
              <a:gd name="connsiteY73" fmla="*/ 2156138 h 4169030"/>
              <a:gd name="connsiteX74" fmla="*/ 4384675 w 5899150"/>
              <a:gd name="connsiteY74" fmla="*/ 2150695 h 4169030"/>
              <a:gd name="connsiteX75" fmla="*/ 4384675 w 5899150"/>
              <a:gd name="connsiteY75" fmla="*/ 3846768 h 4169030"/>
              <a:gd name="connsiteX76" fmla="*/ 4298950 w 5899150"/>
              <a:gd name="connsiteY76" fmla="*/ 3846768 h 4169030"/>
              <a:gd name="connsiteX77" fmla="*/ 4298950 w 5899150"/>
              <a:gd name="connsiteY77" fmla="*/ 1858615 h 4169030"/>
              <a:gd name="connsiteX78" fmla="*/ 4280403 w 5899150"/>
              <a:gd name="connsiteY78" fmla="*/ 1873164 h 4169030"/>
              <a:gd name="connsiteX79" fmla="*/ 4265362 w 5899150"/>
              <a:gd name="connsiteY79" fmla="*/ 1887429 h 4169030"/>
              <a:gd name="connsiteX80" fmla="*/ 4195992 w 5899150"/>
              <a:gd name="connsiteY80" fmla="*/ 1895094 h 4169030"/>
              <a:gd name="connsiteX81" fmla="*/ 4179887 w 5899150"/>
              <a:gd name="connsiteY81" fmla="*/ 1901618 h 4169030"/>
              <a:gd name="connsiteX82" fmla="*/ 4179887 w 5899150"/>
              <a:gd name="connsiteY82" fmla="*/ 4024568 h 4169030"/>
              <a:gd name="connsiteX83" fmla="*/ 4017962 w 5899150"/>
              <a:gd name="connsiteY83" fmla="*/ 4024568 h 4169030"/>
              <a:gd name="connsiteX84" fmla="*/ 4017962 w 5899150"/>
              <a:gd name="connsiteY84" fmla="*/ 1619253 h 4169030"/>
              <a:gd name="connsiteX85" fmla="*/ 4009630 w 5899150"/>
              <a:gd name="connsiteY85" fmla="*/ 1614733 h 4169030"/>
              <a:gd name="connsiteX86" fmla="*/ 3894584 w 5899150"/>
              <a:gd name="connsiteY86" fmla="*/ 1551469 h 4169030"/>
              <a:gd name="connsiteX87" fmla="*/ 3887787 w 5899150"/>
              <a:gd name="connsiteY87" fmla="*/ 1554608 h 4169030"/>
              <a:gd name="connsiteX88" fmla="*/ 3887787 w 5899150"/>
              <a:gd name="connsiteY88" fmla="*/ 4069018 h 4169030"/>
              <a:gd name="connsiteX89" fmla="*/ 3798887 w 5899150"/>
              <a:gd name="connsiteY89" fmla="*/ 4069018 h 4169030"/>
              <a:gd name="connsiteX90" fmla="*/ 3798887 w 5899150"/>
              <a:gd name="connsiteY90" fmla="*/ 2296407 h 4169030"/>
              <a:gd name="connsiteX91" fmla="*/ 3771415 w 5899150"/>
              <a:gd name="connsiteY91" fmla="*/ 2277758 h 4169030"/>
              <a:gd name="connsiteX92" fmla="*/ 3730624 w 5899150"/>
              <a:gd name="connsiteY92" fmla="*/ 2267659 h 4169030"/>
              <a:gd name="connsiteX93" fmla="*/ 3575843 w 5899150"/>
              <a:gd name="connsiteY93" fmla="*/ 2189418 h 4169030"/>
              <a:gd name="connsiteX94" fmla="*/ 3503612 w 5899150"/>
              <a:gd name="connsiteY94" fmla="*/ 2223436 h 4169030"/>
              <a:gd name="connsiteX95" fmla="*/ 3593041 w 5899150"/>
              <a:gd name="connsiteY95" fmla="*/ 2172409 h 4169030"/>
              <a:gd name="connsiteX96" fmla="*/ 3723745 w 5899150"/>
              <a:gd name="connsiteY96" fmla="*/ 2250650 h 4169030"/>
              <a:gd name="connsiteX97" fmla="*/ 3790387 w 5899150"/>
              <a:gd name="connsiteY97" fmla="*/ 2267659 h 4169030"/>
              <a:gd name="connsiteX98" fmla="*/ 3798887 w 5899150"/>
              <a:gd name="connsiteY98" fmla="*/ 2270909 h 4169030"/>
              <a:gd name="connsiteX99" fmla="*/ 2706687 w 5899150"/>
              <a:gd name="connsiteY99" fmla="*/ 0 h 4169030"/>
              <a:gd name="connsiteX100" fmla="*/ 2849562 w 5899150"/>
              <a:gd name="connsiteY100" fmla="*/ 0 h 4169030"/>
              <a:gd name="connsiteX101" fmla="*/ 2849562 w 5899150"/>
              <a:gd name="connsiteY101" fmla="*/ 2624099 h 4169030"/>
              <a:gd name="connsiteX102" fmla="*/ 2865098 w 5899150"/>
              <a:gd name="connsiteY102" fmla="*/ 2623913 h 4169030"/>
              <a:gd name="connsiteX103" fmla="*/ 2946590 w 5899150"/>
              <a:gd name="connsiteY103" fmla="*/ 2610370 h 4169030"/>
              <a:gd name="connsiteX104" fmla="*/ 3008312 w 5899150"/>
              <a:gd name="connsiteY104" fmla="*/ 2565655 h 4169030"/>
              <a:gd name="connsiteX105" fmla="*/ 3008312 w 5899150"/>
              <a:gd name="connsiteY105" fmla="*/ 2572534 h 4169030"/>
              <a:gd name="connsiteX106" fmla="*/ 2943161 w 5899150"/>
              <a:gd name="connsiteY106" fmla="*/ 2627568 h 4169030"/>
              <a:gd name="connsiteX107" fmla="*/ 2870831 w 5899150"/>
              <a:gd name="connsiteY107" fmla="*/ 2636758 h 4169030"/>
              <a:gd name="connsiteX108" fmla="*/ 2849562 w 5899150"/>
              <a:gd name="connsiteY108" fmla="*/ 2643950 h 4169030"/>
              <a:gd name="connsiteX109" fmla="*/ 2849562 w 5899150"/>
              <a:gd name="connsiteY109" fmla="*/ 4024568 h 4169030"/>
              <a:gd name="connsiteX110" fmla="*/ 2706687 w 5899150"/>
              <a:gd name="connsiteY110" fmla="*/ 4024568 h 4169030"/>
              <a:gd name="connsiteX111" fmla="*/ 2363787 w 5899150"/>
              <a:gd name="connsiteY111" fmla="*/ 0 h 4169030"/>
              <a:gd name="connsiteX112" fmla="*/ 2597149 w 5899150"/>
              <a:gd name="connsiteY112" fmla="*/ 0 h 4169030"/>
              <a:gd name="connsiteX113" fmla="*/ 2597149 w 5899150"/>
              <a:gd name="connsiteY113" fmla="*/ 4024568 h 4169030"/>
              <a:gd name="connsiteX114" fmla="*/ 2363787 w 5899150"/>
              <a:gd name="connsiteY114" fmla="*/ 4024568 h 4169030"/>
              <a:gd name="connsiteX115" fmla="*/ 1065212 w 5899150"/>
              <a:gd name="connsiteY115" fmla="*/ 0 h 4169030"/>
              <a:gd name="connsiteX116" fmla="*/ 1103312 w 5899150"/>
              <a:gd name="connsiteY116" fmla="*/ 0 h 4169030"/>
              <a:gd name="connsiteX117" fmla="*/ 1103312 w 5899150"/>
              <a:gd name="connsiteY117" fmla="*/ 2351515 h 4169030"/>
              <a:gd name="connsiteX118" fmla="*/ 1129517 w 5899150"/>
              <a:gd name="connsiteY118" fmla="*/ 2333902 h 4169030"/>
              <a:gd name="connsiteX119" fmla="*/ 1188596 w 5899150"/>
              <a:gd name="connsiteY119" fmla="*/ 2309000 h 4169030"/>
              <a:gd name="connsiteX120" fmla="*/ 1332441 w 5899150"/>
              <a:gd name="connsiteY120" fmla="*/ 2398304 h 4169030"/>
              <a:gd name="connsiteX121" fmla="*/ 1366155 w 5899150"/>
              <a:gd name="connsiteY121" fmla="*/ 2402759 h 4169030"/>
              <a:gd name="connsiteX122" fmla="*/ 1373187 w 5899150"/>
              <a:gd name="connsiteY122" fmla="*/ 2405026 h 4169030"/>
              <a:gd name="connsiteX123" fmla="*/ 1373187 w 5899150"/>
              <a:gd name="connsiteY123" fmla="*/ 1625601 h 4169030"/>
              <a:gd name="connsiteX124" fmla="*/ 1340907 w 5899150"/>
              <a:gd name="connsiteY124" fmla="*/ 1641100 h 4169030"/>
              <a:gd name="connsiteX125" fmla="*/ 1270000 w 5899150"/>
              <a:gd name="connsiteY125" fmla="*/ 1675677 h 4169030"/>
              <a:gd name="connsiteX126" fmla="*/ 1338602 w 5899150"/>
              <a:gd name="connsiteY126" fmla="*/ 1627441 h 4169030"/>
              <a:gd name="connsiteX127" fmla="*/ 1373187 w 5899150"/>
              <a:gd name="connsiteY127" fmla="*/ 1607193 h 4169030"/>
              <a:gd name="connsiteX128" fmla="*/ 1373187 w 5899150"/>
              <a:gd name="connsiteY128" fmla="*/ 0 h 4169030"/>
              <a:gd name="connsiteX129" fmla="*/ 1514474 w 5899150"/>
              <a:gd name="connsiteY129" fmla="*/ 0 h 4169030"/>
              <a:gd name="connsiteX130" fmla="*/ 1514474 w 5899150"/>
              <a:gd name="connsiteY130" fmla="*/ 1648865 h 4169030"/>
              <a:gd name="connsiteX131" fmla="*/ 1531976 w 5899150"/>
              <a:gd name="connsiteY131" fmla="*/ 1662017 h 4169030"/>
              <a:gd name="connsiteX132" fmla="*/ 1654174 w 5899150"/>
              <a:gd name="connsiteY132" fmla="*/ 1726902 h 4169030"/>
              <a:gd name="connsiteX133" fmla="*/ 1770799 w 5899150"/>
              <a:gd name="connsiteY133" fmla="*/ 1754648 h 4169030"/>
              <a:gd name="connsiteX134" fmla="*/ 1801812 w 5899150"/>
              <a:gd name="connsiteY134" fmla="*/ 1766756 h 4169030"/>
              <a:gd name="connsiteX135" fmla="*/ 1801812 w 5899150"/>
              <a:gd name="connsiteY135" fmla="*/ 582868 h 4169030"/>
              <a:gd name="connsiteX136" fmla="*/ 1952350 w 5899150"/>
              <a:gd name="connsiteY136" fmla="*/ 1535089 h 4169030"/>
              <a:gd name="connsiteX137" fmla="*/ 1952350 w 5899150"/>
              <a:gd name="connsiteY137" fmla="*/ 2894914 h 4169030"/>
              <a:gd name="connsiteX138" fmla="*/ 1952350 w 5899150"/>
              <a:gd name="connsiteY138" fmla="*/ 3391576 h 4169030"/>
              <a:gd name="connsiteX139" fmla="*/ 2000249 w 5899150"/>
              <a:gd name="connsiteY139" fmla="*/ 4124580 h 4169030"/>
              <a:gd name="connsiteX140" fmla="*/ 1801812 w 5899150"/>
              <a:gd name="connsiteY140" fmla="*/ 4124580 h 4169030"/>
              <a:gd name="connsiteX141" fmla="*/ 1801812 w 5899150"/>
              <a:gd name="connsiteY141" fmla="*/ 1819703 h 4169030"/>
              <a:gd name="connsiteX142" fmla="*/ 1794810 w 5899150"/>
              <a:gd name="connsiteY142" fmla="*/ 1812275 h 4169030"/>
              <a:gd name="connsiteX143" fmla="*/ 1671326 w 5899150"/>
              <a:gd name="connsiteY143" fmla="*/ 1754221 h 4169030"/>
              <a:gd name="connsiteX144" fmla="*/ 1527689 w 5899150"/>
              <a:gd name="connsiteY144" fmla="*/ 1670127 h 4169030"/>
              <a:gd name="connsiteX145" fmla="*/ 1514474 w 5899150"/>
              <a:gd name="connsiteY145" fmla="*/ 1659196 h 4169030"/>
              <a:gd name="connsiteX146" fmla="*/ 1514474 w 5899150"/>
              <a:gd name="connsiteY146" fmla="*/ 4124580 h 4169030"/>
              <a:gd name="connsiteX147" fmla="*/ 1373187 w 5899150"/>
              <a:gd name="connsiteY147" fmla="*/ 4124580 h 4169030"/>
              <a:gd name="connsiteX148" fmla="*/ 1373187 w 5899150"/>
              <a:gd name="connsiteY148" fmla="*/ 2423717 h 4169030"/>
              <a:gd name="connsiteX149" fmla="*/ 1342716 w 5899150"/>
              <a:gd name="connsiteY149" fmla="*/ 2415478 h 4169030"/>
              <a:gd name="connsiteX150" fmla="*/ 1168047 w 5899150"/>
              <a:gd name="connsiteY150" fmla="*/ 2326174 h 4169030"/>
              <a:gd name="connsiteX151" fmla="*/ 1106399 w 5899150"/>
              <a:gd name="connsiteY151" fmla="*/ 2354081 h 4169030"/>
              <a:gd name="connsiteX152" fmla="*/ 1103312 w 5899150"/>
              <a:gd name="connsiteY152" fmla="*/ 2355565 h 4169030"/>
              <a:gd name="connsiteX153" fmla="*/ 1103312 w 5899150"/>
              <a:gd name="connsiteY153" fmla="*/ 4165855 h 4169030"/>
              <a:gd name="connsiteX154" fmla="*/ 1065212 w 5899150"/>
              <a:gd name="connsiteY154" fmla="*/ 4165855 h 4169030"/>
              <a:gd name="connsiteX155" fmla="*/ 887412 w 5899150"/>
              <a:gd name="connsiteY155" fmla="*/ 0 h 4169030"/>
              <a:gd name="connsiteX156" fmla="*/ 969962 w 5899150"/>
              <a:gd name="connsiteY156" fmla="*/ 0 h 4169030"/>
              <a:gd name="connsiteX157" fmla="*/ 969962 w 5899150"/>
              <a:gd name="connsiteY157" fmla="*/ 4165855 h 4169030"/>
              <a:gd name="connsiteX158" fmla="*/ 887412 w 5899150"/>
              <a:gd name="connsiteY158" fmla="*/ 4165855 h 4169030"/>
              <a:gd name="connsiteX159" fmla="*/ 630237 w 5899150"/>
              <a:gd name="connsiteY159" fmla="*/ 0 h 4169030"/>
              <a:gd name="connsiteX160" fmla="*/ 774699 w 5899150"/>
              <a:gd name="connsiteY160" fmla="*/ 0 h 4169030"/>
              <a:gd name="connsiteX161" fmla="*/ 774699 w 5899150"/>
              <a:gd name="connsiteY161" fmla="*/ 4124580 h 4169030"/>
              <a:gd name="connsiteX162" fmla="*/ 630237 w 5899150"/>
              <a:gd name="connsiteY162" fmla="*/ 4124580 h 4169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</a:cxnLst>
            <a:rect l="l" t="t" r="r" b="b"/>
            <a:pathLst>
              <a:path w="5899150" h="4169030">
                <a:moveTo>
                  <a:pt x="4950105" y="2048130"/>
                </a:moveTo>
                <a:cubicBezTo>
                  <a:pt x="5005387" y="2329034"/>
                  <a:pt x="4950105" y="3740405"/>
                  <a:pt x="4950105" y="3740405"/>
                </a:cubicBezTo>
                <a:cubicBezTo>
                  <a:pt x="4946650" y="3689020"/>
                  <a:pt x="4950105" y="2048130"/>
                  <a:pt x="4950105" y="2048130"/>
                </a:cubicBezTo>
                <a:close/>
                <a:moveTo>
                  <a:pt x="2024528" y="1949705"/>
                </a:moveTo>
                <a:cubicBezTo>
                  <a:pt x="2024528" y="1949705"/>
                  <a:pt x="2038349" y="2938966"/>
                  <a:pt x="2024528" y="3000581"/>
                </a:cubicBezTo>
                <a:cubicBezTo>
                  <a:pt x="2014163" y="3062196"/>
                  <a:pt x="2000342" y="3592768"/>
                  <a:pt x="2000342" y="3592768"/>
                </a:cubicBezTo>
                <a:cubicBezTo>
                  <a:pt x="2000342" y="3592768"/>
                  <a:pt x="1979612" y="3205964"/>
                  <a:pt x="1979612" y="3123811"/>
                </a:cubicBezTo>
                <a:cubicBezTo>
                  <a:pt x="1979612" y="3041657"/>
                  <a:pt x="1996887" y="2627469"/>
                  <a:pt x="2000342" y="2528200"/>
                </a:cubicBezTo>
                <a:cubicBezTo>
                  <a:pt x="2007253" y="2428932"/>
                  <a:pt x="2024528" y="1949705"/>
                  <a:pt x="2024528" y="1949705"/>
                </a:cubicBezTo>
                <a:close/>
                <a:moveTo>
                  <a:pt x="157535" y="1541717"/>
                </a:moveTo>
                <a:cubicBezTo>
                  <a:pt x="157535" y="1541717"/>
                  <a:pt x="207962" y="1630795"/>
                  <a:pt x="184429" y="1716447"/>
                </a:cubicBezTo>
                <a:cubicBezTo>
                  <a:pt x="157535" y="1802099"/>
                  <a:pt x="184429" y="2521577"/>
                  <a:pt x="154174" y="2884742"/>
                </a:cubicBezTo>
                <a:cubicBezTo>
                  <a:pt x="154174" y="2884742"/>
                  <a:pt x="157535" y="2425647"/>
                  <a:pt x="154174" y="2353699"/>
                </a:cubicBezTo>
                <a:cubicBezTo>
                  <a:pt x="150812" y="2281751"/>
                  <a:pt x="150812" y="1966552"/>
                  <a:pt x="154174" y="1884325"/>
                </a:cubicBezTo>
                <a:cubicBezTo>
                  <a:pt x="157535" y="1802099"/>
                  <a:pt x="157535" y="1541717"/>
                  <a:pt x="157535" y="1541717"/>
                </a:cubicBezTo>
                <a:close/>
                <a:moveTo>
                  <a:pt x="99236" y="1144845"/>
                </a:moveTo>
                <a:cubicBezTo>
                  <a:pt x="99236" y="1144845"/>
                  <a:pt x="133455" y="1706528"/>
                  <a:pt x="112924" y="1805849"/>
                </a:cubicBezTo>
                <a:cubicBezTo>
                  <a:pt x="92392" y="1905170"/>
                  <a:pt x="106080" y="3364178"/>
                  <a:pt x="106080" y="3405277"/>
                </a:cubicBezTo>
                <a:cubicBezTo>
                  <a:pt x="106080" y="3446376"/>
                  <a:pt x="153987" y="2984014"/>
                  <a:pt x="153987" y="2984014"/>
                </a:cubicBezTo>
                <a:cubicBezTo>
                  <a:pt x="153987" y="2984014"/>
                  <a:pt x="153987" y="2984014"/>
                  <a:pt x="153987" y="4169030"/>
                </a:cubicBezTo>
                <a:cubicBezTo>
                  <a:pt x="153987" y="4169030"/>
                  <a:pt x="153987" y="4169030"/>
                  <a:pt x="0" y="4169030"/>
                </a:cubicBezTo>
                <a:cubicBezTo>
                  <a:pt x="0" y="4169030"/>
                  <a:pt x="0" y="4169030"/>
                  <a:pt x="0" y="1312665"/>
                </a:cubicBezTo>
                <a:close/>
                <a:moveTo>
                  <a:pt x="5899150" y="914655"/>
                </a:moveTo>
                <a:lnTo>
                  <a:pt x="5899150" y="1041655"/>
                </a:lnTo>
                <a:lnTo>
                  <a:pt x="5899150" y="3846767"/>
                </a:lnTo>
                <a:lnTo>
                  <a:pt x="5867400" y="3846767"/>
                </a:lnTo>
                <a:lnTo>
                  <a:pt x="5867400" y="1048005"/>
                </a:lnTo>
                <a:close/>
                <a:moveTo>
                  <a:pt x="5651500" y="636843"/>
                </a:moveTo>
                <a:cubicBezTo>
                  <a:pt x="5651500" y="636843"/>
                  <a:pt x="5781613" y="736190"/>
                  <a:pt x="5778189" y="914329"/>
                </a:cubicBezTo>
                <a:cubicBezTo>
                  <a:pt x="5774765" y="1092468"/>
                  <a:pt x="5788461" y="1373379"/>
                  <a:pt x="5805581" y="1479577"/>
                </a:cubicBezTo>
                <a:cubicBezTo>
                  <a:pt x="5826125" y="1582349"/>
                  <a:pt x="5785037" y="1777617"/>
                  <a:pt x="5778189" y="1948904"/>
                </a:cubicBezTo>
                <a:cubicBezTo>
                  <a:pt x="5771341" y="2116765"/>
                  <a:pt x="5798733" y="2370271"/>
                  <a:pt x="5812429" y="2548410"/>
                </a:cubicBezTo>
                <a:cubicBezTo>
                  <a:pt x="5826125" y="2726549"/>
                  <a:pt x="5812429" y="3846768"/>
                  <a:pt x="5812429" y="3846768"/>
                </a:cubicBezTo>
                <a:lnTo>
                  <a:pt x="5651500" y="3846768"/>
                </a:lnTo>
                <a:cubicBezTo>
                  <a:pt x="5651500" y="636843"/>
                  <a:pt x="5651500" y="636843"/>
                  <a:pt x="5651500" y="636843"/>
                </a:cubicBezTo>
                <a:close/>
                <a:moveTo>
                  <a:pt x="3798887" y="0"/>
                </a:moveTo>
                <a:lnTo>
                  <a:pt x="3887787" y="0"/>
                </a:lnTo>
                <a:lnTo>
                  <a:pt x="3887787" y="1541995"/>
                </a:lnTo>
                <a:lnTo>
                  <a:pt x="3892017" y="1539449"/>
                </a:lnTo>
                <a:cubicBezTo>
                  <a:pt x="3901002" y="1534942"/>
                  <a:pt x="3908276" y="1532581"/>
                  <a:pt x="3911699" y="1534298"/>
                </a:cubicBezTo>
                <a:cubicBezTo>
                  <a:pt x="3924535" y="1539449"/>
                  <a:pt x="3973955" y="1583235"/>
                  <a:pt x="4010860" y="1603357"/>
                </a:cubicBezTo>
                <a:lnTo>
                  <a:pt x="4017962" y="1605637"/>
                </a:lnTo>
                <a:lnTo>
                  <a:pt x="4017962" y="0"/>
                </a:lnTo>
                <a:lnTo>
                  <a:pt x="4179887" y="0"/>
                </a:lnTo>
                <a:lnTo>
                  <a:pt x="4179887" y="1881563"/>
                </a:lnTo>
                <a:lnTo>
                  <a:pt x="4188820" y="1882372"/>
                </a:lnTo>
                <a:cubicBezTo>
                  <a:pt x="4213549" y="1885087"/>
                  <a:pt x="4250803" y="1888281"/>
                  <a:pt x="4268788" y="1870396"/>
                </a:cubicBezTo>
                <a:lnTo>
                  <a:pt x="4298950" y="1847301"/>
                </a:lnTo>
                <a:lnTo>
                  <a:pt x="4298950" y="0"/>
                </a:lnTo>
                <a:lnTo>
                  <a:pt x="4384675" y="0"/>
                </a:lnTo>
                <a:lnTo>
                  <a:pt x="4384675" y="2129601"/>
                </a:lnTo>
                <a:lnTo>
                  <a:pt x="4386873" y="2131428"/>
                </a:lnTo>
                <a:cubicBezTo>
                  <a:pt x="4402260" y="2145579"/>
                  <a:pt x="4419783" y="2163374"/>
                  <a:pt x="4437734" y="2184922"/>
                </a:cubicBezTo>
                <a:lnTo>
                  <a:pt x="4487862" y="2256236"/>
                </a:lnTo>
                <a:lnTo>
                  <a:pt x="4487862" y="0"/>
                </a:lnTo>
                <a:lnTo>
                  <a:pt x="4627562" y="0"/>
                </a:lnTo>
                <a:lnTo>
                  <a:pt x="4627562" y="2367529"/>
                </a:lnTo>
                <a:lnTo>
                  <a:pt x="4660412" y="2382977"/>
                </a:lnTo>
                <a:cubicBezTo>
                  <a:pt x="4679217" y="2392358"/>
                  <a:pt x="4696313" y="2402435"/>
                  <a:pt x="4709990" y="2415299"/>
                </a:cubicBezTo>
                <a:cubicBezTo>
                  <a:pt x="4723667" y="2428163"/>
                  <a:pt x="4737558" y="2444887"/>
                  <a:pt x="4750700" y="2462736"/>
                </a:cubicBezTo>
                <a:lnTo>
                  <a:pt x="4775200" y="2499388"/>
                </a:lnTo>
                <a:lnTo>
                  <a:pt x="4775200" y="0"/>
                </a:lnTo>
                <a:lnTo>
                  <a:pt x="4902200" y="0"/>
                </a:lnTo>
                <a:lnTo>
                  <a:pt x="4902200" y="3994405"/>
                </a:lnTo>
                <a:lnTo>
                  <a:pt x="4775200" y="3994405"/>
                </a:lnTo>
                <a:lnTo>
                  <a:pt x="4775200" y="2685763"/>
                </a:lnTo>
                <a:lnTo>
                  <a:pt x="4774956" y="2686305"/>
                </a:lnTo>
                <a:cubicBezTo>
                  <a:pt x="4774956" y="2686305"/>
                  <a:pt x="4751395" y="2528718"/>
                  <a:pt x="4658462" y="2441061"/>
                </a:cubicBezTo>
                <a:lnTo>
                  <a:pt x="4627562" y="2418260"/>
                </a:lnTo>
                <a:lnTo>
                  <a:pt x="4627562" y="4107118"/>
                </a:lnTo>
                <a:lnTo>
                  <a:pt x="4487862" y="4107118"/>
                </a:lnTo>
                <a:lnTo>
                  <a:pt x="4487862" y="2285838"/>
                </a:lnTo>
                <a:lnTo>
                  <a:pt x="4452266" y="2240774"/>
                </a:lnTo>
                <a:cubicBezTo>
                  <a:pt x="4429827" y="2209686"/>
                  <a:pt x="4409205" y="2179991"/>
                  <a:pt x="4389705" y="2156138"/>
                </a:cubicBezTo>
                <a:lnTo>
                  <a:pt x="4384675" y="2150695"/>
                </a:lnTo>
                <a:lnTo>
                  <a:pt x="4384675" y="3846768"/>
                </a:lnTo>
                <a:lnTo>
                  <a:pt x="4298950" y="3846768"/>
                </a:lnTo>
                <a:lnTo>
                  <a:pt x="4298950" y="1858615"/>
                </a:lnTo>
                <a:lnTo>
                  <a:pt x="4280403" y="1873164"/>
                </a:lnTo>
                <a:cubicBezTo>
                  <a:pt x="4273498" y="1878913"/>
                  <a:pt x="4267931" y="1884022"/>
                  <a:pt x="4265362" y="1887429"/>
                </a:cubicBezTo>
                <a:cubicBezTo>
                  <a:pt x="4257654" y="1897648"/>
                  <a:pt x="4222970" y="1890623"/>
                  <a:pt x="4195992" y="1895094"/>
                </a:cubicBezTo>
                <a:lnTo>
                  <a:pt x="4179887" y="1901618"/>
                </a:lnTo>
                <a:lnTo>
                  <a:pt x="4179887" y="4024568"/>
                </a:lnTo>
                <a:lnTo>
                  <a:pt x="4017962" y="4024568"/>
                </a:lnTo>
                <a:lnTo>
                  <a:pt x="4017962" y="1619253"/>
                </a:lnTo>
                <a:lnTo>
                  <a:pt x="4009630" y="1614733"/>
                </a:lnTo>
                <a:cubicBezTo>
                  <a:pt x="3968393" y="1586884"/>
                  <a:pt x="3930525" y="1533439"/>
                  <a:pt x="3894584" y="1551469"/>
                </a:cubicBezTo>
                <a:lnTo>
                  <a:pt x="3887787" y="1554608"/>
                </a:lnTo>
                <a:lnTo>
                  <a:pt x="3887787" y="4069018"/>
                </a:lnTo>
                <a:lnTo>
                  <a:pt x="3798887" y="4069018"/>
                </a:lnTo>
                <a:lnTo>
                  <a:pt x="3798887" y="2296407"/>
                </a:lnTo>
                <a:lnTo>
                  <a:pt x="3771415" y="2277758"/>
                </a:lnTo>
                <a:cubicBezTo>
                  <a:pt x="3759001" y="2271699"/>
                  <a:pt x="3745242" y="2267659"/>
                  <a:pt x="3730624" y="2267659"/>
                </a:cubicBezTo>
                <a:cubicBezTo>
                  <a:pt x="3675591" y="2267659"/>
                  <a:pt x="3623997" y="2165605"/>
                  <a:pt x="3575843" y="2189418"/>
                </a:cubicBezTo>
                <a:cubicBezTo>
                  <a:pt x="3527689" y="2209828"/>
                  <a:pt x="3503612" y="2223436"/>
                  <a:pt x="3503612" y="2223436"/>
                </a:cubicBezTo>
                <a:cubicBezTo>
                  <a:pt x="3503612" y="2223436"/>
                  <a:pt x="3575843" y="2165605"/>
                  <a:pt x="3593041" y="2172409"/>
                </a:cubicBezTo>
                <a:cubicBezTo>
                  <a:pt x="3610239" y="2179212"/>
                  <a:pt x="3692789" y="2254052"/>
                  <a:pt x="3723745" y="2250650"/>
                </a:cubicBezTo>
                <a:cubicBezTo>
                  <a:pt x="3739223" y="2250650"/>
                  <a:pt x="3766740" y="2259155"/>
                  <a:pt x="3790387" y="2267659"/>
                </a:cubicBezTo>
                <a:lnTo>
                  <a:pt x="3798887" y="2270909"/>
                </a:lnTo>
                <a:close/>
                <a:moveTo>
                  <a:pt x="2706687" y="0"/>
                </a:moveTo>
                <a:lnTo>
                  <a:pt x="2849562" y="0"/>
                </a:lnTo>
                <a:lnTo>
                  <a:pt x="2849562" y="2624099"/>
                </a:lnTo>
                <a:lnTo>
                  <a:pt x="2865098" y="2623913"/>
                </a:lnTo>
                <a:cubicBezTo>
                  <a:pt x="2889369" y="2625203"/>
                  <a:pt x="2928588" y="2628428"/>
                  <a:pt x="2946590" y="2610370"/>
                </a:cubicBezTo>
                <a:cubicBezTo>
                  <a:pt x="2970593" y="2589732"/>
                  <a:pt x="3008312" y="2565655"/>
                  <a:pt x="3008312" y="2565655"/>
                </a:cubicBezTo>
                <a:cubicBezTo>
                  <a:pt x="3008312" y="2572534"/>
                  <a:pt x="3008312" y="2572534"/>
                  <a:pt x="3008312" y="2572534"/>
                </a:cubicBezTo>
                <a:cubicBezTo>
                  <a:pt x="3008312" y="2572534"/>
                  <a:pt x="2953448" y="2613809"/>
                  <a:pt x="2943161" y="2627568"/>
                </a:cubicBezTo>
                <a:cubicBezTo>
                  <a:pt x="2935446" y="2637886"/>
                  <a:pt x="2898798" y="2632727"/>
                  <a:pt x="2870831" y="2636758"/>
                </a:cubicBezTo>
                <a:lnTo>
                  <a:pt x="2849562" y="2643950"/>
                </a:lnTo>
                <a:lnTo>
                  <a:pt x="2849562" y="4024568"/>
                </a:lnTo>
                <a:lnTo>
                  <a:pt x="2706687" y="4024568"/>
                </a:lnTo>
                <a:close/>
                <a:moveTo>
                  <a:pt x="2363787" y="0"/>
                </a:moveTo>
                <a:lnTo>
                  <a:pt x="2597149" y="0"/>
                </a:lnTo>
                <a:lnTo>
                  <a:pt x="2597149" y="4024568"/>
                </a:lnTo>
                <a:lnTo>
                  <a:pt x="2363787" y="4024568"/>
                </a:lnTo>
                <a:close/>
                <a:moveTo>
                  <a:pt x="1065212" y="0"/>
                </a:moveTo>
                <a:lnTo>
                  <a:pt x="1103312" y="0"/>
                </a:lnTo>
                <a:lnTo>
                  <a:pt x="1103312" y="2351515"/>
                </a:lnTo>
                <a:lnTo>
                  <a:pt x="1129517" y="2333902"/>
                </a:lnTo>
                <a:cubicBezTo>
                  <a:pt x="1152635" y="2319304"/>
                  <a:pt x="1178322" y="2305565"/>
                  <a:pt x="1188596" y="2309000"/>
                </a:cubicBezTo>
                <a:cubicBezTo>
                  <a:pt x="1205721" y="2315869"/>
                  <a:pt x="1298192" y="2401739"/>
                  <a:pt x="1332441" y="2398304"/>
                </a:cubicBezTo>
                <a:cubicBezTo>
                  <a:pt x="1341003" y="2397445"/>
                  <a:pt x="1352990" y="2399377"/>
                  <a:pt x="1366155" y="2402759"/>
                </a:cubicBezTo>
                <a:lnTo>
                  <a:pt x="1373187" y="2405026"/>
                </a:lnTo>
                <a:lnTo>
                  <a:pt x="1373187" y="1625601"/>
                </a:lnTo>
                <a:lnTo>
                  <a:pt x="1340907" y="1641100"/>
                </a:lnTo>
                <a:cubicBezTo>
                  <a:pt x="1293153" y="1664152"/>
                  <a:pt x="1270000" y="1675677"/>
                  <a:pt x="1270000" y="1675677"/>
                </a:cubicBezTo>
                <a:cubicBezTo>
                  <a:pt x="1270000" y="1675677"/>
                  <a:pt x="1302586" y="1650918"/>
                  <a:pt x="1338602" y="1627441"/>
                </a:cubicBezTo>
                <a:lnTo>
                  <a:pt x="1373187" y="1607193"/>
                </a:lnTo>
                <a:lnTo>
                  <a:pt x="1373187" y="0"/>
                </a:lnTo>
                <a:lnTo>
                  <a:pt x="1514474" y="0"/>
                </a:lnTo>
                <a:lnTo>
                  <a:pt x="1514474" y="1648865"/>
                </a:lnTo>
                <a:lnTo>
                  <a:pt x="1531976" y="1662017"/>
                </a:lnTo>
                <a:cubicBezTo>
                  <a:pt x="1578711" y="1696167"/>
                  <a:pt x="1628448" y="1728609"/>
                  <a:pt x="1654174" y="1726902"/>
                </a:cubicBezTo>
                <a:cubicBezTo>
                  <a:pt x="1681616" y="1725194"/>
                  <a:pt x="1729637" y="1739708"/>
                  <a:pt x="1770799" y="1754648"/>
                </a:cubicBezTo>
                <a:lnTo>
                  <a:pt x="1801812" y="1766756"/>
                </a:lnTo>
                <a:lnTo>
                  <a:pt x="1801812" y="582868"/>
                </a:lnTo>
                <a:cubicBezTo>
                  <a:pt x="1801812" y="582868"/>
                  <a:pt x="1938665" y="969922"/>
                  <a:pt x="1952350" y="1535089"/>
                </a:cubicBezTo>
                <a:cubicBezTo>
                  <a:pt x="1966035" y="2100255"/>
                  <a:pt x="1969457" y="2614043"/>
                  <a:pt x="1952350" y="2894914"/>
                </a:cubicBezTo>
                <a:cubicBezTo>
                  <a:pt x="1935244" y="3175785"/>
                  <a:pt x="1952350" y="3391576"/>
                  <a:pt x="1952350" y="3391576"/>
                </a:cubicBezTo>
                <a:cubicBezTo>
                  <a:pt x="2000249" y="4124580"/>
                  <a:pt x="2000249" y="4124580"/>
                  <a:pt x="2000249" y="4124580"/>
                </a:cubicBezTo>
                <a:cubicBezTo>
                  <a:pt x="1801812" y="4124580"/>
                  <a:pt x="1801812" y="4124580"/>
                  <a:pt x="1801812" y="4124580"/>
                </a:cubicBezTo>
                <a:lnTo>
                  <a:pt x="1801812" y="1819703"/>
                </a:lnTo>
                <a:lnTo>
                  <a:pt x="1794810" y="1812275"/>
                </a:lnTo>
                <a:cubicBezTo>
                  <a:pt x="1763081" y="1783249"/>
                  <a:pt x="1719347" y="1754221"/>
                  <a:pt x="1671326" y="1754221"/>
                </a:cubicBezTo>
                <a:cubicBezTo>
                  <a:pt x="1621588" y="1754221"/>
                  <a:pt x="1573566" y="1709827"/>
                  <a:pt x="1527689" y="1670127"/>
                </a:cubicBezTo>
                <a:lnTo>
                  <a:pt x="1514474" y="1659196"/>
                </a:lnTo>
                <a:lnTo>
                  <a:pt x="1514474" y="4124580"/>
                </a:lnTo>
                <a:lnTo>
                  <a:pt x="1373187" y="4124580"/>
                </a:lnTo>
                <a:lnTo>
                  <a:pt x="1373187" y="2423717"/>
                </a:lnTo>
                <a:lnTo>
                  <a:pt x="1342716" y="2415478"/>
                </a:lnTo>
                <a:cubicBezTo>
                  <a:pt x="1277643" y="2415478"/>
                  <a:pt x="1219420" y="2302130"/>
                  <a:pt x="1168047" y="2326174"/>
                </a:cubicBezTo>
                <a:cubicBezTo>
                  <a:pt x="1140648" y="2338195"/>
                  <a:pt x="1120099" y="2347641"/>
                  <a:pt x="1106399" y="2354081"/>
                </a:cubicBezTo>
                <a:lnTo>
                  <a:pt x="1103312" y="2355565"/>
                </a:lnTo>
                <a:lnTo>
                  <a:pt x="1103312" y="4165855"/>
                </a:lnTo>
                <a:lnTo>
                  <a:pt x="1065212" y="4165855"/>
                </a:lnTo>
                <a:close/>
                <a:moveTo>
                  <a:pt x="887412" y="0"/>
                </a:moveTo>
                <a:lnTo>
                  <a:pt x="969962" y="0"/>
                </a:lnTo>
                <a:lnTo>
                  <a:pt x="969962" y="4165855"/>
                </a:lnTo>
                <a:lnTo>
                  <a:pt x="887412" y="4165855"/>
                </a:lnTo>
                <a:close/>
                <a:moveTo>
                  <a:pt x="630237" y="0"/>
                </a:moveTo>
                <a:lnTo>
                  <a:pt x="774699" y="0"/>
                </a:lnTo>
                <a:lnTo>
                  <a:pt x="774699" y="4124580"/>
                </a:lnTo>
                <a:lnTo>
                  <a:pt x="630237" y="41245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07" name="任意多边形: 形状 506">
            <a:extLst>
              <a:ext uri="{FF2B5EF4-FFF2-40B4-BE49-F238E27FC236}">
                <a16:creationId xmlns:a16="http://schemas.microsoft.com/office/drawing/2014/main" id="{B8311E3E-0D79-4A14-84F0-E7F69F9F1EB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30585" y="174489"/>
            <a:ext cx="6558590" cy="4169030"/>
          </a:xfrm>
          <a:custGeom>
            <a:avLst/>
            <a:gdLst>
              <a:gd name="connsiteX0" fmla="*/ 6227763 w 6558590"/>
              <a:gd name="connsiteY0" fmla="*/ 1049761 h 4169030"/>
              <a:gd name="connsiteX1" fmla="*/ 6223594 w 6558590"/>
              <a:gd name="connsiteY1" fmla="*/ 1055033 h 4169030"/>
              <a:gd name="connsiteX2" fmla="*/ 5950451 w 6558590"/>
              <a:gd name="connsiteY2" fmla="*/ 1356784 h 4169030"/>
              <a:gd name="connsiteX3" fmla="*/ 5805396 w 6558590"/>
              <a:gd name="connsiteY3" fmla="*/ 1693902 h 4169030"/>
              <a:gd name="connsiteX4" fmla="*/ 5800725 w 6558590"/>
              <a:gd name="connsiteY4" fmla="*/ 1707222 h 4169030"/>
              <a:gd name="connsiteX5" fmla="*/ 5800725 w 6558590"/>
              <a:gd name="connsiteY5" fmla="*/ 2192694 h 4169030"/>
              <a:gd name="connsiteX6" fmla="*/ 5823025 w 6558590"/>
              <a:gd name="connsiteY6" fmla="*/ 2154828 h 4169030"/>
              <a:gd name="connsiteX7" fmla="*/ 5923598 w 6558590"/>
              <a:gd name="connsiteY7" fmla="*/ 2062303 h 4169030"/>
              <a:gd name="connsiteX8" fmla="*/ 6217885 w 6558590"/>
              <a:gd name="connsiteY8" fmla="*/ 1777873 h 4169030"/>
              <a:gd name="connsiteX9" fmla="*/ 6227763 w 6558590"/>
              <a:gd name="connsiteY9" fmla="*/ 1765285 h 4169030"/>
              <a:gd name="connsiteX10" fmla="*/ 5351463 w 6558590"/>
              <a:gd name="connsiteY10" fmla="*/ 0 h 4169030"/>
              <a:gd name="connsiteX11" fmla="*/ 5800725 w 6558590"/>
              <a:gd name="connsiteY11" fmla="*/ 0 h 4169030"/>
              <a:gd name="connsiteX12" fmla="*/ 5800725 w 6558590"/>
              <a:gd name="connsiteY12" fmla="*/ 1401330 h 4169030"/>
              <a:gd name="connsiteX13" fmla="*/ 5801342 w 6558590"/>
              <a:gd name="connsiteY13" fmla="*/ 1400286 h 4169030"/>
              <a:gd name="connsiteX14" fmla="*/ 5926472 w 6558590"/>
              <a:gd name="connsiteY14" fmla="*/ 1264234 h 4169030"/>
              <a:gd name="connsiteX15" fmla="*/ 6213584 w 6558590"/>
              <a:gd name="connsiteY15" fmla="*/ 936455 h 4169030"/>
              <a:gd name="connsiteX16" fmla="*/ 6227763 w 6558590"/>
              <a:gd name="connsiteY16" fmla="*/ 915195 h 4169030"/>
              <a:gd name="connsiteX17" fmla="*/ 6227763 w 6558590"/>
              <a:gd name="connsiteY17" fmla="*/ 0 h 4169030"/>
              <a:gd name="connsiteX18" fmla="*/ 6558590 w 6558590"/>
              <a:gd name="connsiteY18" fmla="*/ 0 h 4169030"/>
              <a:gd name="connsiteX19" fmla="*/ 6558590 w 6558590"/>
              <a:gd name="connsiteY19" fmla="*/ 3846768 h 4169030"/>
              <a:gd name="connsiteX20" fmla="*/ 6227763 w 6558590"/>
              <a:gd name="connsiteY20" fmla="*/ 3846768 h 4169030"/>
              <a:gd name="connsiteX21" fmla="*/ 6227763 w 6558590"/>
              <a:gd name="connsiteY21" fmla="*/ 1792988 h 4169030"/>
              <a:gd name="connsiteX22" fmla="*/ 6214911 w 6558590"/>
              <a:gd name="connsiteY22" fmla="*/ 1806734 h 4169030"/>
              <a:gd name="connsiteX23" fmla="*/ 5961239 w 6558590"/>
              <a:gd name="connsiteY23" fmla="*/ 2089718 h 4169030"/>
              <a:gd name="connsiteX24" fmla="*/ 5813240 w 6558590"/>
              <a:gd name="connsiteY24" fmla="*/ 2260633 h 4169030"/>
              <a:gd name="connsiteX25" fmla="*/ 5800725 w 6558590"/>
              <a:gd name="connsiteY25" fmla="*/ 2288129 h 4169030"/>
              <a:gd name="connsiteX26" fmla="*/ 5800725 w 6558590"/>
              <a:gd name="connsiteY26" fmla="*/ 3994405 h 4169030"/>
              <a:gd name="connsiteX27" fmla="*/ 5351463 w 6558590"/>
              <a:gd name="connsiteY27" fmla="*/ 3994405 h 4169030"/>
              <a:gd name="connsiteX28" fmla="*/ 2378075 w 6558590"/>
              <a:gd name="connsiteY28" fmla="*/ 0 h 4169030"/>
              <a:gd name="connsiteX29" fmla="*/ 2827337 w 6558590"/>
              <a:gd name="connsiteY29" fmla="*/ 0 h 4169030"/>
              <a:gd name="connsiteX30" fmla="*/ 2827337 w 6558590"/>
              <a:gd name="connsiteY30" fmla="*/ 1552865 h 4169030"/>
              <a:gd name="connsiteX31" fmla="*/ 2859702 w 6558590"/>
              <a:gd name="connsiteY31" fmla="*/ 1538624 h 4169030"/>
              <a:gd name="connsiteX32" fmla="*/ 2977112 w 6558590"/>
              <a:gd name="connsiteY32" fmla="*/ 1503868 h 4169030"/>
              <a:gd name="connsiteX33" fmla="*/ 3559542 w 6558590"/>
              <a:gd name="connsiteY33" fmla="*/ 911827 h 4169030"/>
              <a:gd name="connsiteX34" fmla="*/ 3912427 w 6558590"/>
              <a:gd name="connsiteY34" fmla="*/ 511429 h 4169030"/>
              <a:gd name="connsiteX35" fmla="*/ 3987800 w 6558590"/>
              <a:gd name="connsiteY35" fmla="*/ 531962 h 4169030"/>
              <a:gd name="connsiteX36" fmla="*/ 3682880 w 6558590"/>
              <a:gd name="connsiteY36" fmla="*/ 956315 h 4169030"/>
              <a:gd name="connsiteX37" fmla="*/ 3059337 w 6558590"/>
              <a:gd name="connsiteY37" fmla="*/ 1633911 h 4169030"/>
              <a:gd name="connsiteX38" fmla="*/ 2884394 w 6558590"/>
              <a:gd name="connsiteY38" fmla="*/ 1686956 h 4169030"/>
              <a:gd name="connsiteX39" fmla="*/ 2827337 w 6558590"/>
              <a:gd name="connsiteY39" fmla="*/ 1730610 h 4169030"/>
              <a:gd name="connsiteX40" fmla="*/ 2827337 w 6558590"/>
              <a:gd name="connsiteY40" fmla="*/ 2247465 h 4169030"/>
              <a:gd name="connsiteX41" fmla="*/ 2827893 w 6558590"/>
              <a:gd name="connsiteY41" fmla="*/ 2247099 h 4169030"/>
              <a:gd name="connsiteX42" fmla="*/ 2912764 w 6558590"/>
              <a:gd name="connsiteY42" fmla="*/ 2223122 h 4169030"/>
              <a:gd name="connsiteX43" fmla="*/ 3135377 w 6558590"/>
              <a:gd name="connsiteY43" fmla="*/ 1904574 h 4169030"/>
              <a:gd name="connsiteX44" fmla="*/ 3395662 w 6558590"/>
              <a:gd name="connsiteY44" fmla="*/ 1822368 h 4169030"/>
              <a:gd name="connsiteX45" fmla="*/ 3395662 w 6558590"/>
              <a:gd name="connsiteY45" fmla="*/ 1839495 h 4169030"/>
              <a:gd name="connsiteX46" fmla="*/ 3183324 w 6558590"/>
              <a:gd name="connsiteY46" fmla="*/ 1904574 h 4169030"/>
              <a:gd name="connsiteX47" fmla="*/ 2933313 w 6558590"/>
              <a:gd name="connsiteY47" fmla="*/ 2267650 h 4169030"/>
              <a:gd name="connsiteX48" fmla="*/ 2844803 w 6558590"/>
              <a:gd name="connsiteY48" fmla="*/ 2309824 h 4169030"/>
              <a:gd name="connsiteX49" fmla="*/ 2827337 w 6558590"/>
              <a:gd name="connsiteY49" fmla="*/ 2330942 h 4169030"/>
              <a:gd name="connsiteX50" fmla="*/ 2827337 w 6558590"/>
              <a:gd name="connsiteY50" fmla="*/ 4124580 h 4169030"/>
              <a:gd name="connsiteX51" fmla="*/ 2378075 w 6558590"/>
              <a:gd name="connsiteY51" fmla="*/ 4124580 h 4169030"/>
              <a:gd name="connsiteX52" fmla="*/ 576263 w 6558590"/>
              <a:gd name="connsiteY52" fmla="*/ 0 h 4169030"/>
              <a:gd name="connsiteX53" fmla="*/ 1025525 w 6558590"/>
              <a:gd name="connsiteY53" fmla="*/ 0 h 4169030"/>
              <a:gd name="connsiteX54" fmla="*/ 1025525 w 6558590"/>
              <a:gd name="connsiteY54" fmla="*/ 1963810 h 4169030"/>
              <a:gd name="connsiteX55" fmla="*/ 1033493 w 6558590"/>
              <a:gd name="connsiteY55" fmla="*/ 1956488 h 4169030"/>
              <a:gd name="connsiteX56" fmla="*/ 1080003 w 6558590"/>
              <a:gd name="connsiteY56" fmla="*/ 1925083 h 4169030"/>
              <a:gd name="connsiteX57" fmla="*/ 1292137 w 6558590"/>
              <a:gd name="connsiteY57" fmla="*/ 1904539 h 4169030"/>
              <a:gd name="connsiteX58" fmla="*/ 1425575 w 6558590"/>
              <a:gd name="connsiteY58" fmla="*/ 1805242 h 4169030"/>
              <a:gd name="connsiteX59" fmla="*/ 1425575 w 6558590"/>
              <a:gd name="connsiteY59" fmla="*/ 1822362 h 4169030"/>
              <a:gd name="connsiteX60" fmla="*/ 1285294 w 6558590"/>
              <a:gd name="connsiteY60" fmla="*/ 1938779 h 4169030"/>
              <a:gd name="connsiteX61" fmla="*/ 1083425 w 6558590"/>
              <a:gd name="connsiteY61" fmla="*/ 1973019 h 4169030"/>
              <a:gd name="connsiteX62" fmla="*/ 1033974 w 6558590"/>
              <a:gd name="connsiteY62" fmla="*/ 2018708 h 4169030"/>
              <a:gd name="connsiteX63" fmla="*/ 1025525 w 6558590"/>
              <a:gd name="connsiteY63" fmla="*/ 2027401 h 4169030"/>
              <a:gd name="connsiteX64" fmla="*/ 1025525 w 6558590"/>
              <a:gd name="connsiteY64" fmla="*/ 2721894 h 4169030"/>
              <a:gd name="connsiteX65" fmla="*/ 1025896 w 6558590"/>
              <a:gd name="connsiteY65" fmla="*/ 2721786 h 4169030"/>
              <a:gd name="connsiteX66" fmla="*/ 1230174 w 6558590"/>
              <a:gd name="connsiteY66" fmla="*/ 2699408 h 4169030"/>
              <a:gd name="connsiteX67" fmla="*/ 1514705 w 6558590"/>
              <a:gd name="connsiteY67" fmla="*/ 2630695 h 4169030"/>
              <a:gd name="connsiteX68" fmla="*/ 1662112 w 6558590"/>
              <a:gd name="connsiteY68" fmla="*/ 2695972 h 4169030"/>
              <a:gd name="connsiteX69" fmla="*/ 1504421 w 6558590"/>
              <a:gd name="connsiteY69" fmla="*/ 2647873 h 4169030"/>
              <a:gd name="connsiteX70" fmla="*/ 1192466 w 6558590"/>
              <a:gd name="connsiteY70" fmla="*/ 2733764 h 4169030"/>
              <a:gd name="connsiteX71" fmla="*/ 1058342 w 6558590"/>
              <a:gd name="connsiteY71" fmla="*/ 2753519 h 4169030"/>
              <a:gd name="connsiteX72" fmla="*/ 1025525 w 6558590"/>
              <a:gd name="connsiteY72" fmla="*/ 2775112 h 4169030"/>
              <a:gd name="connsiteX73" fmla="*/ 1025525 w 6558590"/>
              <a:gd name="connsiteY73" fmla="*/ 4169030 h 4169030"/>
              <a:gd name="connsiteX74" fmla="*/ 576263 w 6558590"/>
              <a:gd name="connsiteY74" fmla="*/ 4169030 h 4169030"/>
              <a:gd name="connsiteX75" fmla="*/ 576263 w 6558590"/>
              <a:gd name="connsiteY75" fmla="*/ 2360988 h 4169030"/>
              <a:gd name="connsiteX76" fmla="*/ 554788 w 6558590"/>
              <a:gd name="connsiteY76" fmla="*/ 2331548 h 4169030"/>
              <a:gd name="connsiteX77" fmla="*/ 435010 w 6558590"/>
              <a:gd name="connsiteY77" fmla="*/ 2257484 h 4169030"/>
              <a:gd name="connsiteX78" fmla="*/ 143861 w 6558590"/>
              <a:gd name="connsiteY78" fmla="*/ 2219783 h 4169030"/>
              <a:gd name="connsiteX79" fmla="*/ 0 w 6558590"/>
              <a:gd name="connsiteY79" fmla="*/ 1979867 h 4169030"/>
              <a:gd name="connsiteX80" fmla="*/ 232919 w 6558590"/>
              <a:gd name="connsiteY80" fmla="*/ 2212929 h 4169030"/>
              <a:gd name="connsiteX81" fmla="*/ 558535 w 6558590"/>
              <a:gd name="connsiteY81" fmla="*/ 2285225 h 4169030"/>
              <a:gd name="connsiteX82" fmla="*/ 576263 w 6558590"/>
              <a:gd name="connsiteY82" fmla="*/ 2298756 h 4169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6558590" h="4169030">
                <a:moveTo>
                  <a:pt x="6227763" y="1049761"/>
                </a:moveTo>
                <a:lnTo>
                  <a:pt x="6223594" y="1055033"/>
                </a:lnTo>
                <a:cubicBezTo>
                  <a:pt x="6139291" y="1155617"/>
                  <a:pt x="5996698" y="1297655"/>
                  <a:pt x="5950451" y="1356784"/>
                </a:cubicBezTo>
                <a:cubicBezTo>
                  <a:pt x="5911912" y="1406057"/>
                  <a:pt x="5847949" y="1574500"/>
                  <a:pt x="5805396" y="1693902"/>
                </a:cubicBezTo>
                <a:lnTo>
                  <a:pt x="5800725" y="1707222"/>
                </a:lnTo>
                <a:lnTo>
                  <a:pt x="5800725" y="2192694"/>
                </a:lnTo>
                <a:lnTo>
                  <a:pt x="5823025" y="2154828"/>
                </a:lnTo>
                <a:cubicBezTo>
                  <a:pt x="5852700" y="2109048"/>
                  <a:pt x="5887668" y="2070013"/>
                  <a:pt x="5923598" y="2062303"/>
                </a:cubicBezTo>
                <a:cubicBezTo>
                  <a:pt x="6019412" y="2041742"/>
                  <a:pt x="6142602" y="1880679"/>
                  <a:pt x="6217885" y="1777873"/>
                </a:cubicBezTo>
                <a:lnTo>
                  <a:pt x="6227763" y="1765285"/>
                </a:lnTo>
                <a:close/>
                <a:moveTo>
                  <a:pt x="5351463" y="0"/>
                </a:moveTo>
                <a:lnTo>
                  <a:pt x="5800725" y="0"/>
                </a:lnTo>
                <a:lnTo>
                  <a:pt x="5800725" y="1401330"/>
                </a:lnTo>
                <a:lnTo>
                  <a:pt x="5801342" y="1400286"/>
                </a:lnTo>
                <a:cubicBezTo>
                  <a:pt x="5840884" y="1337824"/>
                  <a:pt x="5885364" y="1282229"/>
                  <a:pt x="5926472" y="1264234"/>
                </a:cubicBezTo>
                <a:cubicBezTo>
                  <a:pt x="6008688" y="1228242"/>
                  <a:pt x="6148711" y="1032217"/>
                  <a:pt x="6213584" y="936455"/>
                </a:cubicBezTo>
                <a:lnTo>
                  <a:pt x="6227763" y="915195"/>
                </a:lnTo>
                <a:lnTo>
                  <a:pt x="6227763" y="0"/>
                </a:lnTo>
                <a:lnTo>
                  <a:pt x="6558590" y="0"/>
                </a:lnTo>
                <a:lnTo>
                  <a:pt x="6558590" y="3846768"/>
                </a:lnTo>
                <a:lnTo>
                  <a:pt x="6227763" y="3846768"/>
                </a:lnTo>
                <a:lnTo>
                  <a:pt x="6227763" y="1792988"/>
                </a:lnTo>
                <a:lnTo>
                  <a:pt x="6214911" y="1806734"/>
                </a:lnTo>
                <a:cubicBezTo>
                  <a:pt x="6131802" y="1905524"/>
                  <a:pt x="6042510" y="2051166"/>
                  <a:pt x="5961239" y="2089718"/>
                </a:cubicBezTo>
                <a:cubicBezTo>
                  <a:pt x="5896222" y="2118846"/>
                  <a:pt x="5846604" y="2193381"/>
                  <a:pt x="5813240" y="2260633"/>
                </a:cubicBezTo>
                <a:lnTo>
                  <a:pt x="5800725" y="2288129"/>
                </a:lnTo>
                <a:lnTo>
                  <a:pt x="5800725" y="3994405"/>
                </a:lnTo>
                <a:lnTo>
                  <a:pt x="5351463" y="3994405"/>
                </a:lnTo>
                <a:close/>
                <a:moveTo>
                  <a:pt x="2378075" y="0"/>
                </a:moveTo>
                <a:lnTo>
                  <a:pt x="2827337" y="0"/>
                </a:lnTo>
                <a:lnTo>
                  <a:pt x="2827337" y="1552865"/>
                </a:lnTo>
                <a:lnTo>
                  <a:pt x="2859702" y="1538624"/>
                </a:lnTo>
                <a:cubicBezTo>
                  <a:pt x="2894458" y="1525898"/>
                  <a:pt x="2933430" y="1514134"/>
                  <a:pt x="2977112" y="1503868"/>
                </a:cubicBezTo>
                <a:cubicBezTo>
                  <a:pt x="3326570" y="1425157"/>
                  <a:pt x="3357404" y="942627"/>
                  <a:pt x="3559542" y="911827"/>
                </a:cubicBezTo>
                <a:cubicBezTo>
                  <a:pt x="3761680" y="877605"/>
                  <a:pt x="3912427" y="511429"/>
                  <a:pt x="3912427" y="511429"/>
                </a:cubicBezTo>
                <a:cubicBezTo>
                  <a:pt x="3912427" y="511429"/>
                  <a:pt x="3912427" y="511429"/>
                  <a:pt x="3987800" y="531962"/>
                </a:cubicBezTo>
                <a:cubicBezTo>
                  <a:pt x="3987800" y="531962"/>
                  <a:pt x="3888444" y="850227"/>
                  <a:pt x="3682880" y="956315"/>
                </a:cubicBezTo>
                <a:cubicBezTo>
                  <a:pt x="3477317" y="1062404"/>
                  <a:pt x="3347126" y="1613378"/>
                  <a:pt x="3059337" y="1633911"/>
                </a:cubicBezTo>
                <a:cubicBezTo>
                  <a:pt x="2987390" y="1639045"/>
                  <a:pt x="2930003" y="1659364"/>
                  <a:pt x="2884394" y="1686956"/>
                </a:cubicBezTo>
                <a:lnTo>
                  <a:pt x="2827337" y="1730610"/>
                </a:lnTo>
                <a:lnTo>
                  <a:pt x="2827337" y="2247465"/>
                </a:lnTo>
                <a:lnTo>
                  <a:pt x="2827893" y="2247099"/>
                </a:lnTo>
                <a:cubicBezTo>
                  <a:pt x="2851974" y="2235539"/>
                  <a:pt x="2880229" y="2226547"/>
                  <a:pt x="2912764" y="2223122"/>
                </a:cubicBezTo>
                <a:cubicBezTo>
                  <a:pt x="3042907" y="2209421"/>
                  <a:pt x="3036057" y="2007332"/>
                  <a:pt x="3135377" y="1904574"/>
                </a:cubicBezTo>
                <a:cubicBezTo>
                  <a:pt x="3231271" y="1805242"/>
                  <a:pt x="3395662" y="1822368"/>
                  <a:pt x="3395662" y="1822368"/>
                </a:cubicBezTo>
                <a:cubicBezTo>
                  <a:pt x="3395662" y="1822368"/>
                  <a:pt x="3395662" y="1822368"/>
                  <a:pt x="3395662" y="1839495"/>
                </a:cubicBezTo>
                <a:cubicBezTo>
                  <a:pt x="3395662" y="1839495"/>
                  <a:pt x="3275794" y="1849770"/>
                  <a:pt x="3183324" y="1904574"/>
                </a:cubicBezTo>
                <a:cubicBezTo>
                  <a:pt x="3090854" y="1962803"/>
                  <a:pt x="3080580" y="2257375"/>
                  <a:pt x="2933313" y="2267650"/>
                </a:cubicBezTo>
                <a:cubicBezTo>
                  <a:pt x="2897353" y="2271076"/>
                  <a:pt x="2868242" y="2287346"/>
                  <a:pt x="2844803" y="2309824"/>
                </a:cubicBezTo>
                <a:lnTo>
                  <a:pt x="2827337" y="2330942"/>
                </a:lnTo>
                <a:lnTo>
                  <a:pt x="2827337" y="4124580"/>
                </a:lnTo>
                <a:lnTo>
                  <a:pt x="2378075" y="4124580"/>
                </a:lnTo>
                <a:close/>
                <a:moveTo>
                  <a:pt x="576263" y="0"/>
                </a:moveTo>
                <a:lnTo>
                  <a:pt x="1025525" y="0"/>
                </a:lnTo>
                <a:lnTo>
                  <a:pt x="1025525" y="1963810"/>
                </a:lnTo>
                <a:lnTo>
                  <a:pt x="1033493" y="1956488"/>
                </a:lnTo>
                <a:cubicBezTo>
                  <a:pt x="1054342" y="1938351"/>
                  <a:pt x="1071450" y="1925939"/>
                  <a:pt x="1080003" y="1925083"/>
                </a:cubicBezTo>
                <a:cubicBezTo>
                  <a:pt x="1114218" y="1925083"/>
                  <a:pt x="1240814" y="1952475"/>
                  <a:pt x="1292137" y="1904539"/>
                </a:cubicBezTo>
                <a:cubicBezTo>
                  <a:pt x="1343459" y="1853178"/>
                  <a:pt x="1425575" y="1805242"/>
                  <a:pt x="1425575" y="1805242"/>
                </a:cubicBezTo>
                <a:cubicBezTo>
                  <a:pt x="1425575" y="1822362"/>
                  <a:pt x="1425575" y="1822362"/>
                  <a:pt x="1425575" y="1822362"/>
                </a:cubicBezTo>
                <a:cubicBezTo>
                  <a:pt x="1425575" y="1822362"/>
                  <a:pt x="1305823" y="1907963"/>
                  <a:pt x="1285294" y="1938779"/>
                </a:cubicBezTo>
                <a:cubicBezTo>
                  <a:pt x="1261343" y="1966171"/>
                  <a:pt x="1134747" y="1935355"/>
                  <a:pt x="1083425" y="1973019"/>
                </a:cubicBezTo>
                <a:cubicBezTo>
                  <a:pt x="1070594" y="1983291"/>
                  <a:pt x="1053059" y="1999769"/>
                  <a:pt x="1033974" y="2018708"/>
                </a:cubicBezTo>
                <a:lnTo>
                  <a:pt x="1025525" y="2027401"/>
                </a:lnTo>
                <a:lnTo>
                  <a:pt x="1025525" y="2721894"/>
                </a:lnTo>
                <a:lnTo>
                  <a:pt x="1025896" y="2721786"/>
                </a:lnTo>
                <a:cubicBezTo>
                  <a:pt x="1095997" y="2702360"/>
                  <a:pt x="1195894" y="2680082"/>
                  <a:pt x="1230174" y="2699408"/>
                </a:cubicBezTo>
                <a:cubicBezTo>
                  <a:pt x="1285024" y="2726893"/>
                  <a:pt x="1483852" y="2589467"/>
                  <a:pt x="1514705" y="2630695"/>
                </a:cubicBezTo>
                <a:cubicBezTo>
                  <a:pt x="1528417" y="2647873"/>
                  <a:pt x="1662112" y="2695972"/>
                  <a:pt x="1662112" y="2695972"/>
                </a:cubicBezTo>
                <a:cubicBezTo>
                  <a:pt x="1662112" y="2695972"/>
                  <a:pt x="1535273" y="2689101"/>
                  <a:pt x="1504421" y="2647873"/>
                </a:cubicBezTo>
                <a:cubicBezTo>
                  <a:pt x="1476996" y="2606645"/>
                  <a:pt x="1247315" y="2795606"/>
                  <a:pt x="1192466" y="2733764"/>
                </a:cubicBezTo>
                <a:cubicBezTo>
                  <a:pt x="1166755" y="2702843"/>
                  <a:pt x="1109335" y="2724316"/>
                  <a:pt x="1058342" y="2753519"/>
                </a:cubicBezTo>
                <a:lnTo>
                  <a:pt x="1025525" y="2775112"/>
                </a:lnTo>
                <a:lnTo>
                  <a:pt x="1025525" y="4169030"/>
                </a:lnTo>
                <a:lnTo>
                  <a:pt x="576263" y="4169030"/>
                </a:lnTo>
                <a:lnTo>
                  <a:pt x="576263" y="2360988"/>
                </a:lnTo>
                <a:lnTo>
                  <a:pt x="554788" y="2331548"/>
                </a:lnTo>
                <a:cubicBezTo>
                  <a:pt x="521071" y="2293472"/>
                  <a:pt x="481252" y="2265196"/>
                  <a:pt x="435010" y="2257484"/>
                </a:cubicBezTo>
                <a:cubicBezTo>
                  <a:pt x="325401" y="2240348"/>
                  <a:pt x="178114" y="2243775"/>
                  <a:pt x="143861" y="2219783"/>
                </a:cubicBezTo>
                <a:cubicBezTo>
                  <a:pt x="113034" y="2195792"/>
                  <a:pt x="0" y="1979867"/>
                  <a:pt x="0" y="1979867"/>
                </a:cubicBezTo>
                <a:cubicBezTo>
                  <a:pt x="0" y="1979867"/>
                  <a:pt x="140436" y="2212929"/>
                  <a:pt x="232919" y="2212929"/>
                </a:cubicBezTo>
                <a:cubicBezTo>
                  <a:pt x="304850" y="2212929"/>
                  <a:pt x="465410" y="2230280"/>
                  <a:pt x="558535" y="2285225"/>
                </a:cubicBezTo>
                <a:lnTo>
                  <a:pt x="576263" y="229875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00" name="任意多边形: 形状 499">
            <a:extLst>
              <a:ext uri="{FF2B5EF4-FFF2-40B4-BE49-F238E27FC236}">
                <a16:creationId xmlns:a16="http://schemas.microsoft.com/office/drawing/2014/main" id="{B41CC6D9-10C5-4183-8075-526B224BB280}"/>
              </a:ext>
            </a:extLst>
          </p:cNvPr>
          <p:cNvSpPr>
            <a:spLocks/>
          </p:cNvSpPr>
          <p:nvPr userDrawn="1"/>
        </p:nvSpPr>
        <p:spPr bwMode="auto">
          <a:xfrm>
            <a:off x="5260208" y="-11250"/>
            <a:ext cx="6931793" cy="2743892"/>
          </a:xfrm>
          <a:custGeom>
            <a:avLst/>
            <a:gdLst>
              <a:gd name="connsiteX0" fmla="*/ 6266352 w 6931793"/>
              <a:gd name="connsiteY0" fmla="*/ 2627570 h 2743892"/>
              <a:gd name="connsiteX1" fmla="*/ 6389369 w 6931793"/>
              <a:gd name="connsiteY1" fmla="*/ 2682467 h 2743892"/>
              <a:gd name="connsiteX2" fmla="*/ 6467964 w 6931793"/>
              <a:gd name="connsiteY2" fmla="*/ 2696191 h 2743892"/>
              <a:gd name="connsiteX3" fmla="*/ 6266352 w 6931793"/>
              <a:gd name="connsiteY3" fmla="*/ 2627570 h 2743892"/>
              <a:gd name="connsiteX4" fmla="*/ 3477848 w 6931793"/>
              <a:gd name="connsiteY4" fmla="*/ 2538670 h 2743892"/>
              <a:gd name="connsiteX5" fmla="*/ 3378690 w 6931793"/>
              <a:gd name="connsiteY5" fmla="*/ 2727583 h 2743892"/>
              <a:gd name="connsiteX6" fmla="*/ 3450494 w 6931793"/>
              <a:gd name="connsiteY6" fmla="*/ 2614235 h 2743892"/>
              <a:gd name="connsiteX7" fmla="*/ 3477848 w 6931793"/>
              <a:gd name="connsiteY7" fmla="*/ 2538670 h 2743892"/>
              <a:gd name="connsiteX8" fmla="*/ 1541952 w 6931793"/>
              <a:gd name="connsiteY8" fmla="*/ 2460882 h 2743892"/>
              <a:gd name="connsiteX9" fmla="*/ 1661698 w 6931793"/>
              <a:gd name="connsiteY9" fmla="*/ 2515369 h 2743892"/>
              <a:gd name="connsiteX10" fmla="*/ 1740389 w 6931793"/>
              <a:gd name="connsiteY10" fmla="*/ 2528991 h 2743892"/>
              <a:gd name="connsiteX11" fmla="*/ 1541952 w 6931793"/>
              <a:gd name="connsiteY11" fmla="*/ 2460882 h 2743892"/>
              <a:gd name="connsiteX12" fmla="*/ 2606752 w 6931793"/>
              <a:gd name="connsiteY12" fmla="*/ 2326566 h 2743892"/>
              <a:gd name="connsiteX13" fmla="*/ 2673181 w 6931793"/>
              <a:gd name="connsiteY13" fmla="*/ 2464058 h 2743892"/>
              <a:gd name="connsiteX14" fmla="*/ 2635275 w 6931793"/>
              <a:gd name="connsiteY14" fmla="*/ 2374788 h 2743892"/>
              <a:gd name="connsiteX15" fmla="*/ 2600815 w 6931793"/>
              <a:gd name="connsiteY15" fmla="*/ 2326720 h 2743892"/>
              <a:gd name="connsiteX16" fmla="*/ 2606752 w 6931793"/>
              <a:gd name="connsiteY16" fmla="*/ 2326566 h 2743892"/>
              <a:gd name="connsiteX17" fmla="*/ 4824902 w 6931793"/>
              <a:gd name="connsiteY17" fmla="*/ 2014795 h 2743892"/>
              <a:gd name="connsiteX18" fmla="*/ 4618527 w 6931793"/>
              <a:gd name="connsiteY18" fmla="*/ 2176270 h 2743892"/>
              <a:gd name="connsiteX19" fmla="*/ 4756110 w 6931793"/>
              <a:gd name="connsiteY19" fmla="*/ 2086943 h 2743892"/>
              <a:gd name="connsiteX20" fmla="*/ 4824902 w 6931793"/>
              <a:gd name="connsiteY20" fmla="*/ 2014795 h 2743892"/>
              <a:gd name="connsiteX21" fmla="*/ 6304819 w 6931793"/>
              <a:gd name="connsiteY21" fmla="*/ 1908432 h 2743892"/>
              <a:gd name="connsiteX22" fmla="*/ 6233015 w 6931793"/>
              <a:gd name="connsiteY22" fmla="*/ 1960198 h 2743892"/>
              <a:gd name="connsiteX23" fmla="*/ 6280884 w 6931793"/>
              <a:gd name="connsiteY23" fmla="*/ 1932589 h 2743892"/>
              <a:gd name="connsiteX24" fmla="*/ 6304819 w 6931793"/>
              <a:gd name="connsiteY24" fmla="*/ 1908432 h 2743892"/>
              <a:gd name="connsiteX25" fmla="*/ 128197 w 6931793"/>
              <a:gd name="connsiteY25" fmla="*/ 0 h 2743892"/>
              <a:gd name="connsiteX26" fmla="*/ 6931793 w 6931793"/>
              <a:gd name="connsiteY26" fmla="*/ 0 h 2743892"/>
              <a:gd name="connsiteX27" fmla="*/ 6931793 w 6931793"/>
              <a:gd name="connsiteY27" fmla="*/ 1156072 h 2743892"/>
              <a:gd name="connsiteX28" fmla="*/ 6899328 w 6931793"/>
              <a:gd name="connsiteY28" fmla="*/ 1227596 h 2743892"/>
              <a:gd name="connsiteX29" fmla="*/ 6585258 w 6931793"/>
              <a:gd name="connsiteY29" fmla="*/ 1408721 h 2743892"/>
              <a:gd name="connsiteX30" fmla="*/ 6324924 w 6931793"/>
              <a:gd name="connsiteY30" fmla="*/ 1377891 h 2743892"/>
              <a:gd name="connsiteX31" fmla="*/ 6304372 w 6931793"/>
              <a:gd name="connsiteY31" fmla="*/ 1545743 h 2743892"/>
              <a:gd name="connsiteX32" fmla="*/ 5495968 w 6931793"/>
              <a:gd name="connsiteY32" fmla="*/ 1494360 h 2743892"/>
              <a:gd name="connsiteX33" fmla="*/ 4975300 w 6931793"/>
              <a:gd name="connsiteY33" fmla="*/ 1367615 h 2743892"/>
              <a:gd name="connsiteX34" fmla="*/ 4454634 w 6931793"/>
              <a:gd name="connsiteY34" fmla="*/ 1610828 h 2743892"/>
              <a:gd name="connsiteX35" fmla="*/ 4122366 w 6931793"/>
              <a:gd name="connsiteY35" fmla="*/ 1045613 h 2743892"/>
              <a:gd name="connsiteX36" fmla="*/ 3680484 w 6931793"/>
              <a:gd name="connsiteY36" fmla="*/ 1405296 h 2743892"/>
              <a:gd name="connsiteX37" fmla="*/ 2909760 w 6931793"/>
              <a:gd name="connsiteY37" fmla="*/ 1576573 h 2743892"/>
              <a:gd name="connsiteX38" fmla="*/ 2265777 w 6931793"/>
              <a:gd name="connsiteY38" fmla="*/ 1867745 h 2743892"/>
              <a:gd name="connsiteX39" fmla="*/ 1936935 w 6931793"/>
              <a:gd name="connsiteY39" fmla="*/ 1305955 h 2743892"/>
              <a:gd name="connsiteX40" fmla="*/ 1741685 w 6931793"/>
              <a:gd name="connsiteY40" fmla="*/ 1326508 h 2743892"/>
              <a:gd name="connsiteX41" fmla="*/ 1714281 w 6931793"/>
              <a:gd name="connsiteY41" fmla="*/ 1364189 h 2743892"/>
              <a:gd name="connsiteX42" fmla="*/ 1238144 w 6931793"/>
              <a:gd name="connsiteY42" fmla="*/ 1521764 h 2743892"/>
              <a:gd name="connsiteX43" fmla="*/ 946982 w 6931793"/>
              <a:gd name="connsiteY43" fmla="*/ 1552594 h 2743892"/>
              <a:gd name="connsiteX44" fmla="*/ 696925 w 6931793"/>
              <a:gd name="connsiteY44" fmla="*/ 1189486 h 2743892"/>
              <a:gd name="connsiteX45" fmla="*/ 142003 w 6931793"/>
              <a:gd name="connsiteY45" fmla="*/ 1103848 h 2743892"/>
              <a:gd name="connsiteX46" fmla="*/ 118025 w 6931793"/>
              <a:gd name="connsiteY46" fmla="*/ 737314 h 2743892"/>
              <a:gd name="connsiteX47" fmla="*/ 296148 w 6931793"/>
              <a:gd name="connsiteY47" fmla="*/ 360504 h 2743892"/>
              <a:gd name="connsiteX48" fmla="*/ 106237 w 6931793"/>
              <a:gd name="connsiteY48" fmla="*/ 20171 h 2743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931793" h="2743892">
                <a:moveTo>
                  <a:pt x="6266352" y="2627570"/>
                </a:moveTo>
                <a:cubicBezTo>
                  <a:pt x="6266352" y="2627570"/>
                  <a:pt x="6365449" y="2631001"/>
                  <a:pt x="6389369" y="2682467"/>
                </a:cubicBezTo>
                <a:cubicBezTo>
                  <a:pt x="6413290" y="2730502"/>
                  <a:pt x="6467964" y="2696191"/>
                  <a:pt x="6467964" y="2696191"/>
                </a:cubicBezTo>
                <a:cubicBezTo>
                  <a:pt x="6467964" y="2696191"/>
                  <a:pt x="6338112" y="2840295"/>
                  <a:pt x="6266352" y="2627570"/>
                </a:cubicBezTo>
                <a:close/>
                <a:moveTo>
                  <a:pt x="3477848" y="2538670"/>
                </a:moveTo>
                <a:cubicBezTo>
                  <a:pt x="3477848" y="2538670"/>
                  <a:pt x="3600940" y="2689801"/>
                  <a:pt x="3378690" y="2727583"/>
                </a:cubicBezTo>
                <a:cubicBezTo>
                  <a:pt x="3378690" y="2727583"/>
                  <a:pt x="3399206" y="2631409"/>
                  <a:pt x="3450494" y="2614235"/>
                </a:cubicBezTo>
                <a:cubicBezTo>
                  <a:pt x="3501783" y="2597061"/>
                  <a:pt x="3477848" y="2538670"/>
                  <a:pt x="3477848" y="2538670"/>
                </a:cubicBezTo>
                <a:close/>
                <a:moveTo>
                  <a:pt x="1541952" y="2460882"/>
                </a:moveTo>
                <a:cubicBezTo>
                  <a:pt x="1541952" y="2460882"/>
                  <a:pt x="1637749" y="2467693"/>
                  <a:pt x="1661698" y="2515369"/>
                </a:cubicBezTo>
                <a:cubicBezTo>
                  <a:pt x="1689069" y="2563046"/>
                  <a:pt x="1740389" y="2528991"/>
                  <a:pt x="1740389" y="2528991"/>
                </a:cubicBezTo>
                <a:cubicBezTo>
                  <a:pt x="1740389" y="2528991"/>
                  <a:pt x="1610378" y="2672020"/>
                  <a:pt x="1541952" y="2460882"/>
                </a:cubicBezTo>
                <a:close/>
                <a:moveTo>
                  <a:pt x="2606752" y="2326566"/>
                </a:moveTo>
                <a:cubicBezTo>
                  <a:pt x="2632853" y="2326613"/>
                  <a:pt x="2733487" y="2334875"/>
                  <a:pt x="2673181" y="2464058"/>
                </a:cubicBezTo>
                <a:cubicBezTo>
                  <a:pt x="2673181" y="2464058"/>
                  <a:pt x="2624937" y="2412556"/>
                  <a:pt x="2635275" y="2374788"/>
                </a:cubicBezTo>
                <a:cubicBezTo>
                  <a:pt x="2645613" y="2337021"/>
                  <a:pt x="2600815" y="2326720"/>
                  <a:pt x="2600815" y="2326720"/>
                </a:cubicBezTo>
                <a:cubicBezTo>
                  <a:pt x="2600815" y="2326720"/>
                  <a:pt x="2603023" y="2326559"/>
                  <a:pt x="2606752" y="2326566"/>
                </a:cubicBezTo>
                <a:close/>
                <a:moveTo>
                  <a:pt x="4824902" y="2014795"/>
                </a:moveTo>
                <a:cubicBezTo>
                  <a:pt x="4824902" y="2014795"/>
                  <a:pt x="4886814" y="2244983"/>
                  <a:pt x="4618527" y="2176270"/>
                </a:cubicBezTo>
                <a:cubicBezTo>
                  <a:pt x="4618527" y="2176270"/>
                  <a:pt x="4687319" y="2080072"/>
                  <a:pt x="4756110" y="2086943"/>
                </a:cubicBezTo>
                <a:cubicBezTo>
                  <a:pt x="4821462" y="2090379"/>
                  <a:pt x="4824902" y="2014795"/>
                  <a:pt x="4824902" y="2014795"/>
                </a:cubicBezTo>
                <a:close/>
                <a:moveTo>
                  <a:pt x="6304819" y="1908432"/>
                </a:moveTo>
                <a:cubicBezTo>
                  <a:pt x="6304819" y="1908432"/>
                  <a:pt x="6321915" y="1987807"/>
                  <a:pt x="6233015" y="1960198"/>
                </a:cubicBezTo>
                <a:cubicBezTo>
                  <a:pt x="6233015" y="1960198"/>
                  <a:pt x="6260369" y="1929138"/>
                  <a:pt x="6280884" y="1932589"/>
                </a:cubicBezTo>
                <a:cubicBezTo>
                  <a:pt x="6304819" y="1936041"/>
                  <a:pt x="6304819" y="1908432"/>
                  <a:pt x="6304819" y="1908432"/>
                </a:cubicBezTo>
                <a:close/>
                <a:moveTo>
                  <a:pt x="128197" y="0"/>
                </a:moveTo>
                <a:lnTo>
                  <a:pt x="6931793" y="0"/>
                </a:lnTo>
                <a:lnTo>
                  <a:pt x="6931793" y="1156072"/>
                </a:lnTo>
                <a:lnTo>
                  <a:pt x="6899328" y="1227596"/>
                </a:lnTo>
                <a:cubicBezTo>
                  <a:pt x="6860149" y="1324582"/>
                  <a:pt x="6811337" y="1421567"/>
                  <a:pt x="6585258" y="1408721"/>
                </a:cubicBezTo>
                <a:cubicBezTo>
                  <a:pt x="6506472" y="1405296"/>
                  <a:pt x="6413986" y="1395019"/>
                  <a:pt x="6324924" y="1377891"/>
                </a:cubicBezTo>
                <a:cubicBezTo>
                  <a:pt x="6352328" y="1425849"/>
                  <a:pt x="6355753" y="1480658"/>
                  <a:pt x="6304372" y="1545743"/>
                </a:cubicBezTo>
                <a:cubicBezTo>
                  <a:pt x="6109121" y="1792383"/>
                  <a:pt x="5585029" y="1744425"/>
                  <a:pt x="5495968" y="1494360"/>
                </a:cubicBezTo>
                <a:cubicBezTo>
                  <a:pt x="5430884" y="1305955"/>
                  <a:pt x="5208230" y="1395019"/>
                  <a:pt x="4975300" y="1367615"/>
                </a:cubicBezTo>
                <a:cubicBezTo>
                  <a:pt x="4797178" y="1487509"/>
                  <a:pt x="4999278" y="1675914"/>
                  <a:pt x="4454634" y="1610828"/>
                </a:cubicBezTo>
                <a:cubicBezTo>
                  <a:pt x="3820927" y="1532041"/>
                  <a:pt x="4478612" y="1066167"/>
                  <a:pt x="4122366" y="1045613"/>
                </a:cubicBezTo>
                <a:cubicBezTo>
                  <a:pt x="3800374" y="1028486"/>
                  <a:pt x="3968221" y="1353913"/>
                  <a:pt x="3680484" y="1405296"/>
                </a:cubicBezTo>
                <a:cubicBezTo>
                  <a:pt x="3587997" y="1645084"/>
                  <a:pt x="3272857" y="1477232"/>
                  <a:pt x="2909760" y="1576573"/>
                </a:cubicBezTo>
                <a:cubicBezTo>
                  <a:pt x="2526110" y="1679339"/>
                  <a:pt x="2899483" y="1946532"/>
                  <a:pt x="2265777" y="1867745"/>
                </a:cubicBezTo>
                <a:cubicBezTo>
                  <a:pt x="1635496" y="1792383"/>
                  <a:pt x="2293180" y="1326508"/>
                  <a:pt x="1936935" y="1305955"/>
                </a:cubicBezTo>
                <a:cubicBezTo>
                  <a:pt x="1865000" y="1302529"/>
                  <a:pt x="1799917" y="1309380"/>
                  <a:pt x="1741685" y="1326508"/>
                </a:cubicBezTo>
                <a:cubicBezTo>
                  <a:pt x="1734834" y="1340210"/>
                  <a:pt x="1724557" y="1350487"/>
                  <a:pt x="1714281" y="1364189"/>
                </a:cubicBezTo>
                <a:cubicBezTo>
                  <a:pt x="1611518" y="1497785"/>
                  <a:pt x="1412842" y="1542317"/>
                  <a:pt x="1238144" y="1521764"/>
                </a:cubicBezTo>
                <a:cubicBezTo>
                  <a:pt x="1152508" y="1542317"/>
                  <a:pt x="1056596" y="1556020"/>
                  <a:pt x="946982" y="1552594"/>
                </a:cubicBezTo>
                <a:cubicBezTo>
                  <a:pt x="563333" y="1528615"/>
                  <a:pt x="494824" y="1309380"/>
                  <a:pt x="696925" y="1189486"/>
                </a:cubicBezTo>
                <a:cubicBezTo>
                  <a:pt x="542780" y="1186061"/>
                  <a:pt x="326977" y="1227167"/>
                  <a:pt x="142003" y="1103848"/>
                </a:cubicBezTo>
                <a:cubicBezTo>
                  <a:pt x="-162861" y="898315"/>
                  <a:pt x="118025" y="737314"/>
                  <a:pt x="118025" y="737314"/>
                </a:cubicBezTo>
                <a:cubicBezTo>
                  <a:pt x="-128606" y="374207"/>
                  <a:pt x="296148" y="360504"/>
                  <a:pt x="296148" y="360504"/>
                </a:cubicBezTo>
                <a:cubicBezTo>
                  <a:pt x="90622" y="198647"/>
                  <a:pt x="61881" y="91225"/>
                  <a:pt x="106237" y="2017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A41F2941-5CA4-4528-9331-693FF2F694C8}"/>
              </a:ext>
            </a:extLst>
          </p:cNvPr>
          <p:cNvGrpSpPr/>
          <p:nvPr userDrawn="1"/>
        </p:nvGrpSpPr>
        <p:grpSpPr>
          <a:xfrm>
            <a:off x="4285646" y="3216857"/>
            <a:ext cx="7906354" cy="2732345"/>
            <a:chOff x="4285646" y="3216857"/>
            <a:chExt cx="7906354" cy="2732345"/>
          </a:xfrm>
        </p:grpSpPr>
        <p:sp>
          <p:nvSpPr>
            <p:cNvPr id="514" name="任意多边形: 形状 513">
              <a:extLst>
                <a:ext uri="{FF2B5EF4-FFF2-40B4-BE49-F238E27FC236}">
                  <a16:creationId xmlns:a16="http://schemas.microsoft.com/office/drawing/2014/main" id="{57FA1F8F-1725-4718-B6C7-8A9AB0D16BA8}"/>
                </a:ext>
              </a:extLst>
            </p:cNvPr>
            <p:cNvSpPr/>
            <p:nvPr userDrawn="1"/>
          </p:nvSpPr>
          <p:spPr>
            <a:xfrm>
              <a:off x="4285646" y="4578410"/>
              <a:ext cx="7906354" cy="1370792"/>
            </a:xfrm>
            <a:custGeom>
              <a:avLst/>
              <a:gdLst>
                <a:gd name="connsiteX0" fmla="*/ 5883467 w 7906354"/>
                <a:gd name="connsiteY0" fmla="*/ 2019 h 1370792"/>
                <a:gd name="connsiteX1" fmla="*/ 7627016 w 7906354"/>
                <a:gd name="connsiteY1" fmla="*/ 44628 h 1370792"/>
                <a:gd name="connsiteX2" fmla="*/ 7906354 w 7906354"/>
                <a:gd name="connsiteY2" fmla="*/ 62273 h 1370792"/>
                <a:gd name="connsiteX3" fmla="*/ 7906354 w 7906354"/>
                <a:gd name="connsiteY3" fmla="*/ 1189343 h 1370792"/>
                <a:gd name="connsiteX4" fmla="*/ 7844504 w 7906354"/>
                <a:gd name="connsiteY4" fmla="*/ 1208648 h 1370792"/>
                <a:gd name="connsiteX5" fmla="*/ 6160692 w 7906354"/>
                <a:gd name="connsiteY5" fmla="*/ 1200861 h 1370792"/>
                <a:gd name="connsiteX6" fmla="*/ 4310820 w 7906354"/>
                <a:gd name="connsiteY6" fmla="*/ 1104321 h 1370792"/>
                <a:gd name="connsiteX7" fmla="*/ 3025990 w 7906354"/>
                <a:gd name="connsiteY7" fmla="*/ 1256230 h 1370792"/>
                <a:gd name="connsiteX8" fmla="*/ 1336544 w 7906354"/>
                <a:gd name="connsiteY8" fmla="*/ 1104321 h 1370792"/>
                <a:gd name="connsiteX9" fmla="*/ 190845 w 7906354"/>
                <a:gd name="connsiteY9" fmla="*/ 712484 h 1370792"/>
                <a:gd name="connsiteX10" fmla="*/ 58812 w 7906354"/>
                <a:gd name="connsiteY10" fmla="*/ 295090 h 1370792"/>
                <a:gd name="connsiteX11" fmla="*/ 1377715 w 7906354"/>
                <a:gd name="connsiteY11" fmla="*/ 62259 h 1370792"/>
                <a:gd name="connsiteX12" fmla="*/ 5883467 w 7906354"/>
                <a:gd name="connsiteY12" fmla="*/ 2019 h 13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6354" h="1370792">
                  <a:moveTo>
                    <a:pt x="5883467" y="2019"/>
                  </a:moveTo>
                  <a:cubicBezTo>
                    <a:pt x="6515304" y="6574"/>
                    <a:pt x="7120725" y="19282"/>
                    <a:pt x="7627016" y="44628"/>
                  </a:cubicBezTo>
                  <a:lnTo>
                    <a:pt x="7906354" y="62273"/>
                  </a:lnTo>
                  <a:lnTo>
                    <a:pt x="7906354" y="1189343"/>
                  </a:lnTo>
                  <a:lnTo>
                    <a:pt x="7844504" y="1208648"/>
                  </a:lnTo>
                  <a:cubicBezTo>
                    <a:pt x="7458123" y="1303080"/>
                    <a:pt x="6500357" y="1274331"/>
                    <a:pt x="6160692" y="1200861"/>
                  </a:cubicBezTo>
                  <a:cubicBezTo>
                    <a:pt x="5707808" y="1102902"/>
                    <a:pt x="4884380" y="1277525"/>
                    <a:pt x="4310820" y="1104321"/>
                  </a:cubicBezTo>
                  <a:cubicBezTo>
                    <a:pt x="3737261" y="931118"/>
                    <a:pt x="3064322" y="1040435"/>
                    <a:pt x="3025990" y="1256230"/>
                  </a:cubicBezTo>
                  <a:cubicBezTo>
                    <a:pt x="2987658" y="1472024"/>
                    <a:pt x="839648" y="1361288"/>
                    <a:pt x="1336544" y="1104321"/>
                  </a:cubicBezTo>
                  <a:cubicBezTo>
                    <a:pt x="1833440" y="848775"/>
                    <a:pt x="643730" y="837417"/>
                    <a:pt x="190845" y="712484"/>
                  </a:cubicBezTo>
                  <a:cubicBezTo>
                    <a:pt x="-262040" y="587550"/>
                    <a:pt x="260410" y="525083"/>
                    <a:pt x="58812" y="295090"/>
                  </a:cubicBezTo>
                  <a:cubicBezTo>
                    <a:pt x="-142785" y="65099"/>
                    <a:pt x="1377715" y="62259"/>
                    <a:pt x="1377715" y="62259"/>
                  </a:cubicBezTo>
                  <a:cubicBezTo>
                    <a:pt x="1377715" y="62259"/>
                    <a:pt x="3777345" y="-13163"/>
                    <a:pt x="5883467" y="2019"/>
                  </a:cubicBezTo>
                  <a:close/>
                </a:path>
              </a:pathLst>
            </a:custGeom>
            <a:solidFill>
              <a:srgbClr val="A8EEE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>
              <a:extLst>
                <a:ext uri="{FF2B5EF4-FFF2-40B4-BE49-F238E27FC236}">
                  <a16:creationId xmlns:a16="http://schemas.microsoft.com/office/drawing/2014/main" id="{A641F3ED-AF63-4FC0-BB36-335CDC0BA99B}"/>
                </a:ext>
              </a:extLst>
            </p:cNvPr>
            <p:cNvSpPr/>
            <p:nvPr userDrawn="1"/>
          </p:nvSpPr>
          <p:spPr>
            <a:xfrm>
              <a:off x="10142062" y="5490533"/>
              <a:ext cx="227152" cy="326531"/>
            </a:xfrm>
            <a:custGeom>
              <a:avLst/>
              <a:gdLst>
                <a:gd name="connsiteX0" fmla="*/ 154747 w 227152"/>
                <a:gd name="connsiteY0" fmla="*/ 319433 h 326531"/>
                <a:gd name="connsiteX1" fmla="*/ 0 w 227152"/>
                <a:gd name="connsiteY1" fmla="*/ 0 h 326531"/>
                <a:gd name="connsiteX2" fmla="*/ 194499 w 227152"/>
                <a:gd name="connsiteY2" fmla="*/ 292459 h 326531"/>
                <a:gd name="connsiteX3" fmla="*/ 159007 w 227152"/>
                <a:gd name="connsiteY3" fmla="*/ 92281 h 326531"/>
                <a:gd name="connsiteX4" fmla="*/ 237090 w 227152"/>
                <a:gd name="connsiteY4" fmla="*/ 288200 h 326531"/>
                <a:gd name="connsiteX5" fmla="*/ 154747 w 227152"/>
                <a:gd name="connsiteY5" fmla="*/ 319433 h 32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152" h="326531">
                  <a:moveTo>
                    <a:pt x="154747" y="319433"/>
                  </a:moveTo>
                  <a:cubicBezTo>
                    <a:pt x="154747" y="319433"/>
                    <a:pt x="110737" y="123514"/>
                    <a:pt x="0" y="0"/>
                  </a:cubicBezTo>
                  <a:cubicBezTo>
                    <a:pt x="0" y="0"/>
                    <a:pt x="143390" y="117835"/>
                    <a:pt x="194499" y="292459"/>
                  </a:cubicBezTo>
                  <a:cubicBezTo>
                    <a:pt x="194499" y="292459"/>
                    <a:pt x="208696" y="188820"/>
                    <a:pt x="159007" y="92281"/>
                  </a:cubicBezTo>
                  <a:cubicBezTo>
                    <a:pt x="159007" y="92281"/>
                    <a:pt x="239930" y="193080"/>
                    <a:pt x="237090" y="288200"/>
                  </a:cubicBezTo>
                  <a:cubicBezTo>
                    <a:pt x="235671" y="381900"/>
                    <a:pt x="154747" y="319433"/>
                    <a:pt x="154747" y="319433"/>
                  </a:cubicBezTo>
                  <a:close/>
                </a:path>
              </a:pathLst>
            </a:custGeom>
            <a:solidFill>
              <a:srgbClr val="D5F7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>
              <a:extLst>
                <a:ext uri="{FF2B5EF4-FFF2-40B4-BE49-F238E27FC236}">
                  <a16:creationId xmlns:a16="http://schemas.microsoft.com/office/drawing/2014/main" id="{DAACBFFC-411C-4E05-B14E-A5C60F219788}"/>
                </a:ext>
              </a:extLst>
            </p:cNvPr>
            <p:cNvSpPr/>
            <p:nvPr userDrawn="1"/>
          </p:nvSpPr>
          <p:spPr>
            <a:xfrm>
              <a:off x="5149429" y="3378554"/>
              <a:ext cx="908609" cy="1519081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>
              <a:extLst>
                <a:ext uri="{FF2B5EF4-FFF2-40B4-BE49-F238E27FC236}">
                  <a16:creationId xmlns:a16="http://schemas.microsoft.com/office/drawing/2014/main" id="{7C114838-BB52-4FFF-B430-9377EE274EB6}"/>
                </a:ext>
              </a:extLst>
            </p:cNvPr>
            <p:cNvSpPr/>
            <p:nvPr userDrawn="1"/>
          </p:nvSpPr>
          <p:spPr>
            <a:xfrm>
              <a:off x="6421482" y="3829356"/>
              <a:ext cx="283940" cy="283940"/>
            </a:xfrm>
            <a:custGeom>
              <a:avLst/>
              <a:gdLst>
                <a:gd name="connsiteX0" fmla="*/ 14197 w 283940"/>
                <a:gd name="connsiteY0" fmla="*/ 295961 h 283940"/>
                <a:gd name="connsiteX1" fmla="*/ 93700 w 283940"/>
                <a:gd name="connsiteY1" fmla="*/ 195163 h 283940"/>
                <a:gd name="connsiteX2" fmla="*/ 203017 w 283940"/>
                <a:gd name="connsiteY2" fmla="*/ 36156 h 283940"/>
                <a:gd name="connsiteX3" fmla="*/ 295298 w 283940"/>
                <a:gd name="connsiteY3" fmla="*/ 6342 h 283940"/>
                <a:gd name="connsiteX4" fmla="*/ 295298 w 283940"/>
                <a:gd name="connsiteY4" fmla="*/ 663 h 283940"/>
                <a:gd name="connsiteX5" fmla="*/ 181722 w 283940"/>
                <a:gd name="connsiteY5" fmla="*/ 36156 h 283940"/>
                <a:gd name="connsiteX6" fmla="*/ 85182 w 283940"/>
                <a:gd name="connsiteY6" fmla="*/ 173867 h 283940"/>
                <a:gd name="connsiteX7" fmla="*/ 0 w 283940"/>
                <a:gd name="connsiteY7" fmla="*/ 224976 h 283940"/>
                <a:gd name="connsiteX8" fmla="*/ 14197 w 283940"/>
                <a:gd name="connsiteY8" fmla="*/ 295961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940" h="283940">
                  <a:moveTo>
                    <a:pt x="14197" y="295961"/>
                  </a:moveTo>
                  <a:cubicBezTo>
                    <a:pt x="14197" y="295961"/>
                    <a:pt x="29814" y="200841"/>
                    <a:pt x="93700" y="195163"/>
                  </a:cubicBezTo>
                  <a:cubicBezTo>
                    <a:pt x="156167" y="189484"/>
                    <a:pt x="161846" y="61711"/>
                    <a:pt x="203017" y="36156"/>
                  </a:cubicBezTo>
                  <a:cubicBezTo>
                    <a:pt x="242769" y="10601"/>
                    <a:pt x="295298" y="6342"/>
                    <a:pt x="295298" y="6342"/>
                  </a:cubicBezTo>
                  <a:lnTo>
                    <a:pt x="295298" y="663"/>
                  </a:lnTo>
                  <a:cubicBezTo>
                    <a:pt x="295298" y="663"/>
                    <a:pt x="224313" y="-7855"/>
                    <a:pt x="181722" y="36156"/>
                  </a:cubicBezTo>
                  <a:cubicBezTo>
                    <a:pt x="139131" y="80167"/>
                    <a:pt x="141970" y="168188"/>
                    <a:pt x="85182" y="173867"/>
                  </a:cubicBezTo>
                  <a:cubicBezTo>
                    <a:pt x="28394" y="180966"/>
                    <a:pt x="0" y="224976"/>
                    <a:pt x="0" y="224976"/>
                  </a:cubicBezTo>
                  <a:lnTo>
                    <a:pt x="14197" y="295961"/>
                  </a:lnTo>
                  <a:close/>
                </a:path>
              </a:pathLst>
            </a:custGeom>
            <a:solidFill>
              <a:srgbClr val="F0E1D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>
              <a:extLst>
                <a:ext uri="{FF2B5EF4-FFF2-40B4-BE49-F238E27FC236}">
                  <a16:creationId xmlns:a16="http://schemas.microsoft.com/office/drawing/2014/main" id="{6FC19F7E-1B87-4E9A-BB55-A5931875E910}"/>
                </a:ext>
              </a:extLst>
            </p:cNvPr>
            <p:cNvSpPr/>
            <p:nvPr userDrawn="1"/>
          </p:nvSpPr>
          <p:spPr>
            <a:xfrm>
              <a:off x="10028314" y="3789710"/>
              <a:ext cx="1178353" cy="809230"/>
            </a:xfrm>
            <a:custGeom>
              <a:avLst/>
              <a:gdLst>
                <a:gd name="connsiteX0" fmla="*/ 114207 w 1178352"/>
                <a:gd name="connsiteY0" fmla="*/ 609610 h 809230"/>
                <a:gd name="connsiteX1" fmla="*/ 114207 w 1178352"/>
                <a:gd name="connsiteY1" fmla="*/ 287338 h 809230"/>
                <a:gd name="connsiteX2" fmla="*/ 398148 w 1178352"/>
                <a:gd name="connsiteY2" fmla="*/ 3397 h 809230"/>
                <a:gd name="connsiteX3" fmla="*/ 594066 w 1178352"/>
                <a:gd name="connsiteY3" fmla="*/ 239068 h 809230"/>
                <a:gd name="connsiteX4" fmla="*/ 808441 w 1178352"/>
                <a:gd name="connsiteY4" fmla="*/ 415111 h 809230"/>
                <a:gd name="connsiteX5" fmla="*/ 1002941 w 1178352"/>
                <a:gd name="connsiteY5" fmla="*/ 608190 h 809230"/>
                <a:gd name="connsiteX6" fmla="*/ 1152009 w 1178352"/>
                <a:gd name="connsiteY6" fmla="*/ 777135 h 809230"/>
                <a:gd name="connsiteX7" fmla="*/ 233462 w 1178352"/>
                <a:gd name="connsiteY7" fmla="*/ 801270 h 809230"/>
                <a:gd name="connsiteX8" fmla="*/ 114207 w 1178352"/>
                <a:gd name="connsiteY8" fmla="*/ 609610 h 8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8352" h="809230">
                  <a:moveTo>
                    <a:pt x="114207" y="609610"/>
                  </a:moveTo>
                  <a:cubicBezTo>
                    <a:pt x="114207" y="609610"/>
                    <a:pt x="-142759" y="373939"/>
                    <a:pt x="114207" y="287338"/>
                  </a:cubicBezTo>
                  <a:cubicBezTo>
                    <a:pt x="371173" y="200736"/>
                    <a:pt x="280313" y="-30676"/>
                    <a:pt x="398148" y="3397"/>
                  </a:cubicBezTo>
                  <a:cubicBezTo>
                    <a:pt x="515983" y="38890"/>
                    <a:pt x="446417" y="229130"/>
                    <a:pt x="594066" y="239068"/>
                  </a:cubicBezTo>
                  <a:cubicBezTo>
                    <a:pt x="741716" y="249006"/>
                    <a:pt x="805602" y="237648"/>
                    <a:pt x="808441" y="415111"/>
                  </a:cubicBezTo>
                  <a:cubicBezTo>
                    <a:pt x="811281" y="592574"/>
                    <a:pt x="849613" y="525848"/>
                    <a:pt x="1002941" y="608190"/>
                  </a:cubicBezTo>
                  <a:cubicBezTo>
                    <a:pt x="1156268" y="690533"/>
                    <a:pt x="1232932" y="721766"/>
                    <a:pt x="1152009" y="777135"/>
                  </a:cubicBezTo>
                  <a:cubicBezTo>
                    <a:pt x="1072506" y="831084"/>
                    <a:pt x="233462" y="801270"/>
                    <a:pt x="233462" y="801270"/>
                  </a:cubicBezTo>
                  <a:lnTo>
                    <a:pt x="114207" y="609610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>
              <a:extLst>
                <a:ext uri="{FF2B5EF4-FFF2-40B4-BE49-F238E27FC236}">
                  <a16:creationId xmlns:a16="http://schemas.microsoft.com/office/drawing/2014/main" id="{1D28C2A9-F46F-4F67-B12F-4ECE44BFD041}"/>
                </a:ext>
              </a:extLst>
            </p:cNvPr>
            <p:cNvSpPr/>
            <p:nvPr userDrawn="1"/>
          </p:nvSpPr>
          <p:spPr>
            <a:xfrm>
              <a:off x="5760542" y="4315090"/>
              <a:ext cx="1135762" cy="425911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>
              <a:extLst>
                <a:ext uri="{FF2B5EF4-FFF2-40B4-BE49-F238E27FC236}">
                  <a16:creationId xmlns:a16="http://schemas.microsoft.com/office/drawing/2014/main" id="{DB534980-D077-49A7-9CC5-51ED146703FF}"/>
                </a:ext>
              </a:extLst>
            </p:cNvPr>
            <p:cNvSpPr/>
            <p:nvPr userDrawn="1"/>
          </p:nvSpPr>
          <p:spPr>
            <a:xfrm>
              <a:off x="7270464" y="3382813"/>
              <a:ext cx="1334520" cy="1476490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>
              <a:extLst>
                <a:ext uri="{FF2B5EF4-FFF2-40B4-BE49-F238E27FC236}">
                  <a16:creationId xmlns:a16="http://schemas.microsoft.com/office/drawing/2014/main" id="{F9423F85-7230-4DAF-9606-8C97BFFBE334}"/>
                </a:ext>
              </a:extLst>
            </p:cNvPr>
            <p:cNvSpPr/>
            <p:nvPr userDrawn="1"/>
          </p:nvSpPr>
          <p:spPr>
            <a:xfrm>
              <a:off x="7614031" y="3382813"/>
              <a:ext cx="525290" cy="1476490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>
              <a:extLst>
                <a:ext uri="{FF2B5EF4-FFF2-40B4-BE49-F238E27FC236}">
                  <a16:creationId xmlns:a16="http://schemas.microsoft.com/office/drawing/2014/main" id="{0FAB4AA9-37C5-4565-9B0D-E9E8DA5F8B35}"/>
                </a:ext>
              </a:extLst>
            </p:cNvPr>
            <p:cNvSpPr/>
            <p:nvPr userDrawn="1"/>
          </p:nvSpPr>
          <p:spPr>
            <a:xfrm>
              <a:off x="5390778" y="3378554"/>
              <a:ext cx="2541267" cy="1476490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>
              <a:extLst>
                <a:ext uri="{FF2B5EF4-FFF2-40B4-BE49-F238E27FC236}">
                  <a16:creationId xmlns:a16="http://schemas.microsoft.com/office/drawing/2014/main" id="{84149901-F4B6-42DB-B6D2-D4D4BDEA911C}"/>
                </a:ext>
              </a:extLst>
            </p:cNvPr>
            <p:cNvSpPr/>
            <p:nvPr userDrawn="1"/>
          </p:nvSpPr>
          <p:spPr>
            <a:xfrm>
              <a:off x="7070286" y="3378554"/>
              <a:ext cx="866018" cy="1519081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>
              <a:extLst>
                <a:ext uri="{FF2B5EF4-FFF2-40B4-BE49-F238E27FC236}">
                  <a16:creationId xmlns:a16="http://schemas.microsoft.com/office/drawing/2014/main" id="{2642751A-D154-4F56-8424-B440BFD33C2C}"/>
                </a:ext>
              </a:extLst>
            </p:cNvPr>
            <p:cNvSpPr/>
            <p:nvPr userDrawn="1"/>
          </p:nvSpPr>
          <p:spPr>
            <a:xfrm>
              <a:off x="7936304" y="3378554"/>
              <a:ext cx="993791" cy="1490687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1" name="任意多边形: 形状 510">
              <a:extLst>
                <a:ext uri="{FF2B5EF4-FFF2-40B4-BE49-F238E27FC236}">
                  <a16:creationId xmlns:a16="http://schemas.microsoft.com/office/drawing/2014/main" id="{340B7BC1-AB27-46A0-8CE6-1BD5DCB0C873}"/>
                </a:ext>
              </a:extLst>
            </p:cNvPr>
            <p:cNvSpPr/>
            <p:nvPr userDrawn="1"/>
          </p:nvSpPr>
          <p:spPr>
            <a:xfrm>
              <a:off x="10409425" y="3294596"/>
              <a:ext cx="1782575" cy="1573226"/>
            </a:xfrm>
            <a:custGeom>
              <a:avLst/>
              <a:gdLst>
                <a:gd name="connsiteX0" fmla="*/ 412072 w 1782575"/>
                <a:gd name="connsiteY0" fmla="*/ 150 h 1573226"/>
                <a:gd name="connsiteX1" fmla="*/ 1720443 w 1782575"/>
                <a:gd name="connsiteY1" fmla="*/ 600871 h 1573226"/>
                <a:gd name="connsiteX2" fmla="*/ 1782575 w 1782575"/>
                <a:gd name="connsiteY2" fmla="*/ 682726 h 1573226"/>
                <a:gd name="connsiteX3" fmla="*/ 1782575 w 1782575"/>
                <a:gd name="connsiteY3" fmla="*/ 1573226 h 1573226"/>
                <a:gd name="connsiteX4" fmla="*/ 938423 w 1782575"/>
                <a:gd name="connsiteY4" fmla="*/ 1573226 h 1573226"/>
                <a:gd name="connsiteX5" fmla="*/ 0 w 1782575"/>
                <a:gd name="connsiteY5" fmla="*/ 38528 h 1573226"/>
                <a:gd name="connsiteX6" fmla="*/ 412072 w 1782575"/>
                <a:gd name="connsiteY6" fmla="*/ 150 h 157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2575" h="1573226">
                  <a:moveTo>
                    <a:pt x="412072" y="150"/>
                  </a:moveTo>
                  <a:cubicBezTo>
                    <a:pt x="778544" y="4556"/>
                    <a:pt x="1317269" y="108532"/>
                    <a:pt x="1720443" y="600871"/>
                  </a:cubicBezTo>
                  <a:lnTo>
                    <a:pt x="1782575" y="682726"/>
                  </a:lnTo>
                  <a:lnTo>
                    <a:pt x="1782575" y="1573226"/>
                  </a:lnTo>
                  <a:lnTo>
                    <a:pt x="938423" y="1573226"/>
                  </a:lnTo>
                  <a:lnTo>
                    <a:pt x="0" y="38528"/>
                  </a:lnTo>
                  <a:cubicBezTo>
                    <a:pt x="0" y="38528"/>
                    <a:pt x="167758" y="-2788"/>
                    <a:pt x="412072" y="150"/>
                  </a:cubicBezTo>
                  <a:close/>
                </a:path>
              </a:pathLst>
            </a:custGeom>
            <a:solidFill>
              <a:srgbClr val="F9DB5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>
              <a:extLst>
                <a:ext uri="{FF2B5EF4-FFF2-40B4-BE49-F238E27FC236}">
                  <a16:creationId xmlns:a16="http://schemas.microsoft.com/office/drawing/2014/main" id="{EE01689F-8AE1-4479-A103-53EE7E30A3CE}"/>
                </a:ext>
              </a:extLst>
            </p:cNvPr>
            <p:cNvSpPr/>
            <p:nvPr userDrawn="1"/>
          </p:nvSpPr>
          <p:spPr>
            <a:xfrm>
              <a:off x="9239590" y="3333124"/>
              <a:ext cx="2101159" cy="1533278"/>
            </a:xfrm>
            <a:custGeom>
              <a:avLst/>
              <a:gdLst>
                <a:gd name="connsiteX0" fmla="*/ 1169834 w 2101158"/>
                <a:gd name="connsiteY0" fmla="*/ 0 h 1533278"/>
                <a:gd name="connsiteX1" fmla="*/ 0 w 2101158"/>
                <a:gd name="connsiteY1" fmla="*/ 1534698 h 1533278"/>
                <a:gd name="connsiteX2" fmla="*/ 1169834 w 2101158"/>
                <a:gd name="connsiteY2" fmla="*/ 1534698 h 1533278"/>
                <a:gd name="connsiteX3" fmla="*/ 2108258 w 2101158"/>
                <a:gd name="connsiteY3" fmla="*/ 1534698 h 1533278"/>
                <a:gd name="connsiteX4" fmla="*/ 1169834 w 2101158"/>
                <a:gd name="connsiteY4" fmla="*/ 0 h 153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158" h="1533278">
                  <a:moveTo>
                    <a:pt x="1169834" y="0"/>
                  </a:moveTo>
                  <a:cubicBezTo>
                    <a:pt x="315174" y="354926"/>
                    <a:pt x="0" y="1534698"/>
                    <a:pt x="0" y="1534698"/>
                  </a:cubicBezTo>
                  <a:lnTo>
                    <a:pt x="1169834" y="1534698"/>
                  </a:lnTo>
                  <a:lnTo>
                    <a:pt x="2108258" y="1534698"/>
                  </a:lnTo>
                  <a:cubicBezTo>
                    <a:pt x="2108258" y="1534698"/>
                    <a:pt x="1973386" y="577819"/>
                    <a:pt x="1169834" y="0"/>
                  </a:cubicBezTo>
                  <a:close/>
                </a:path>
              </a:pathLst>
            </a:custGeom>
            <a:solidFill>
              <a:srgbClr val="F5BB1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>
              <a:extLst>
                <a:ext uri="{FF2B5EF4-FFF2-40B4-BE49-F238E27FC236}">
                  <a16:creationId xmlns:a16="http://schemas.microsoft.com/office/drawing/2014/main" id="{625125C8-824C-426B-8E9F-DC818B07E9FF}"/>
                </a:ext>
              </a:extLst>
            </p:cNvPr>
            <p:cNvSpPr/>
            <p:nvPr userDrawn="1"/>
          </p:nvSpPr>
          <p:spPr>
            <a:xfrm>
              <a:off x="9560443" y="3829388"/>
              <a:ext cx="1320323" cy="1036383"/>
            </a:xfrm>
            <a:custGeom>
              <a:avLst/>
              <a:gdLst>
                <a:gd name="connsiteX0" fmla="*/ 0 w 1320322"/>
                <a:gd name="connsiteY0" fmla="*/ 1038433 h 1036382"/>
                <a:gd name="connsiteX1" fmla="*/ 1327421 w 1320322"/>
                <a:gd name="connsiteY1" fmla="*/ 1038433 h 1036382"/>
                <a:gd name="connsiteX2" fmla="*/ 787935 w 1320322"/>
                <a:gd name="connsiteY2" fmla="*/ 631 h 1036382"/>
                <a:gd name="connsiteX3" fmla="*/ 742504 w 1320322"/>
                <a:gd name="connsiteY3" fmla="*/ 631 h 1036382"/>
                <a:gd name="connsiteX4" fmla="*/ 0 w 1320322"/>
                <a:gd name="connsiteY4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22" h="1036382">
                  <a:moveTo>
                    <a:pt x="0" y="1038433"/>
                  </a:moveTo>
                  <a:lnTo>
                    <a:pt x="1327421" y="1038433"/>
                  </a:lnTo>
                  <a:cubicBezTo>
                    <a:pt x="1327421" y="1038433"/>
                    <a:pt x="1327421" y="223524"/>
                    <a:pt x="787935" y="631"/>
                  </a:cubicBezTo>
                  <a:cubicBezTo>
                    <a:pt x="787935" y="631"/>
                    <a:pt x="770898" y="-789"/>
                    <a:pt x="742504" y="631"/>
                  </a:cubicBezTo>
                  <a:cubicBezTo>
                    <a:pt x="596275" y="7730"/>
                    <a:pt x="137711" y="108528"/>
                    <a:pt x="0" y="1038433"/>
                  </a:cubicBezTo>
                  <a:close/>
                </a:path>
              </a:pathLst>
            </a:custGeom>
            <a:solidFill>
              <a:srgbClr val="CC5C3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>
              <a:extLst>
                <a:ext uri="{FF2B5EF4-FFF2-40B4-BE49-F238E27FC236}">
                  <a16:creationId xmlns:a16="http://schemas.microsoft.com/office/drawing/2014/main" id="{00E891B0-D4C3-4AF7-B71E-7B95D3560DB6}"/>
                </a:ext>
              </a:extLst>
            </p:cNvPr>
            <p:cNvSpPr/>
            <p:nvPr userDrawn="1"/>
          </p:nvSpPr>
          <p:spPr>
            <a:xfrm>
              <a:off x="9087682" y="3238004"/>
              <a:ext cx="2370902" cy="1618460"/>
            </a:xfrm>
            <a:custGeom>
              <a:avLst/>
              <a:gdLst>
                <a:gd name="connsiteX0" fmla="*/ 5679 w 2370902"/>
                <a:gd name="connsiteY0" fmla="*/ 1629818 h 1618460"/>
                <a:gd name="connsiteX1" fmla="*/ 762380 w 2370902"/>
                <a:gd name="connsiteY1" fmla="*/ 346407 h 1618460"/>
                <a:gd name="connsiteX2" fmla="*/ 1320323 w 2370902"/>
                <a:gd name="connsiteY2" fmla="*/ 7099 h 1618460"/>
                <a:gd name="connsiteX3" fmla="*/ 2209056 w 2370902"/>
                <a:gd name="connsiteY3" fmla="*/ 1037802 h 1618460"/>
                <a:gd name="connsiteX4" fmla="*/ 2373742 w 2370902"/>
                <a:gd name="connsiteY4" fmla="*/ 1629818 h 1618460"/>
                <a:gd name="connsiteX5" fmla="*/ 2379420 w 2370902"/>
                <a:gd name="connsiteY5" fmla="*/ 1629818 h 1618460"/>
                <a:gd name="connsiteX6" fmla="*/ 2213315 w 2370902"/>
                <a:gd name="connsiteY6" fmla="*/ 1036383 h 1618460"/>
                <a:gd name="connsiteX7" fmla="*/ 1895302 w 2370902"/>
                <a:gd name="connsiteY7" fmla="*/ 503994 h 1618460"/>
                <a:gd name="connsiteX8" fmla="*/ 1323162 w 2370902"/>
                <a:gd name="connsiteY8" fmla="*/ 1420 h 1618460"/>
                <a:gd name="connsiteX9" fmla="*/ 1321742 w 2370902"/>
                <a:gd name="connsiteY9" fmla="*/ 0 h 1618460"/>
                <a:gd name="connsiteX10" fmla="*/ 1320323 w 2370902"/>
                <a:gd name="connsiteY10" fmla="*/ 0 h 1618460"/>
                <a:gd name="connsiteX11" fmla="*/ 758121 w 2370902"/>
                <a:gd name="connsiteY11" fmla="*/ 340729 h 1618460"/>
                <a:gd name="connsiteX12" fmla="*/ 316593 w 2370902"/>
                <a:gd name="connsiteY12" fmla="*/ 840464 h 1618460"/>
                <a:gd name="connsiteX13" fmla="*/ 0 w 2370902"/>
                <a:gd name="connsiteY13" fmla="*/ 1626979 h 1618460"/>
                <a:gd name="connsiteX14" fmla="*/ 5679 w 2370902"/>
                <a:gd name="connsiteY14" fmla="*/ 1629818 h 161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70902" h="1618460">
                  <a:moveTo>
                    <a:pt x="5679" y="1629818"/>
                  </a:moveTo>
                  <a:cubicBezTo>
                    <a:pt x="140550" y="979594"/>
                    <a:pt x="491217" y="572140"/>
                    <a:pt x="762380" y="346407"/>
                  </a:cubicBezTo>
                  <a:cubicBezTo>
                    <a:pt x="1044900" y="110737"/>
                    <a:pt x="1300447" y="15617"/>
                    <a:pt x="1320323" y="7099"/>
                  </a:cubicBezTo>
                  <a:cubicBezTo>
                    <a:pt x="1818638" y="309495"/>
                    <a:pt x="2078444" y="733986"/>
                    <a:pt x="2209056" y="1037802"/>
                  </a:cubicBezTo>
                  <a:cubicBezTo>
                    <a:pt x="2351026" y="1367173"/>
                    <a:pt x="2373742" y="1626979"/>
                    <a:pt x="2373742" y="1629818"/>
                  </a:cubicBezTo>
                  <a:lnTo>
                    <a:pt x="2379420" y="1629818"/>
                  </a:lnTo>
                  <a:cubicBezTo>
                    <a:pt x="2379420" y="1626979"/>
                    <a:pt x="2355286" y="1365753"/>
                    <a:pt x="2213315" y="1036383"/>
                  </a:cubicBezTo>
                  <a:cubicBezTo>
                    <a:pt x="2129553" y="843303"/>
                    <a:pt x="2023075" y="664421"/>
                    <a:pt x="1895302" y="503994"/>
                  </a:cubicBezTo>
                  <a:cubicBezTo>
                    <a:pt x="1737715" y="303816"/>
                    <a:pt x="1544636" y="134872"/>
                    <a:pt x="1323162" y="1420"/>
                  </a:cubicBezTo>
                  <a:lnTo>
                    <a:pt x="1321742" y="0"/>
                  </a:lnTo>
                  <a:lnTo>
                    <a:pt x="1320323" y="0"/>
                  </a:lnTo>
                  <a:cubicBezTo>
                    <a:pt x="1317483" y="1420"/>
                    <a:pt x="1051999" y="93700"/>
                    <a:pt x="758121" y="340729"/>
                  </a:cubicBezTo>
                  <a:cubicBezTo>
                    <a:pt x="584917" y="485538"/>
                    <a:pt x="437268" y="653063"/>
                    <a:pt x="316593" y="840464"/>
                  </a:cubicBezTo>
                  <a:cubicBezTo>
                    <a:pt x="166105" y="1074714"/>
                    <a:pt x="59627" y="1340199"/>
                    <a:pt x="0" y="1626979"/>
                  </a:cubicBezTo>
                  <a:lnTo>
                    <a:pt x="5679" y="1629818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2" name="任意多边形: 形状 511">
              <a:extLst>
                <a:ext uri="{FF2B5EF4-FFF2-40B4-BE49-F238E27FC236}">
                  <a16:creationId xmlns:a16="http://schemas.microsoft.com/office/drawing/2014/main" id="{2E3667D9-BDC5-4286-ACC5-05F8C6E1A81E}"/>
                </a:ext>
              </a:extLst>
            </p:cNvPr>
            <p:cNvSpPr/>
            <p:nvPr userDrawn="1"/>
          </p:nvSpPr>
          <p:spPr>
            <a:xfrm>
              <a:off x="10406585" y="3216857"/>
              <a:ext cx="1785415" cy="573525"/>
            </a:xfrm>
            <a:custGeom>
              <a:avLst/>
              <a:gdLst>
                <a:gd name="connsiteX0" fmla="*/ 312512 w 1785415"/>
                <a:gd name="connsiteY0" fmla="*/ 29 h 573525"/>
                <a:gd name="connsiteX1" fmla="*/ 1013667 w 1785415"/>
                <a:gd name="connsiteY1" fmla="*/ 97811 h 573525"/>
                <a:gd name="connsiteX2" fmla="*/ 1624183 w 1785415"/>
                <a:gd name="connsiteY2" fmla="*/ 413451 h 573525"/>
                <a:gd name="connsiteX3" fmla="*/ 1785415 w 1785415"/>
                <a:gd name="connsiteY3" fmla="*/ 561757 h 573525"/>
                <a:gd name="connsiteX4" fmla="*/ 1785415 w 1785415"/>
                <a:gd name="connsiteY4" fmla="*/ 573525 h 573525"/>
                <a:gd name="connsiteX5" fmla="*/ 1765755 w 1785415"/>
                <a:gd name="connsiteY5" fmla="*/ 551938 h 573525"/>
                <a:gd name="connsiteX6" fmla="*/ 1012247 w 1785415"/>
                <a:gd name="connsiteY6" fmla="*/ 103490 h 573525"/>
                <a:gd name="connsiteX7" fmla="*/ 1420 w 1785415"/>
                <a:gd name="connsiteY7" fmla="*/ 28246 h 573525"/>
                <a:gd name="connsiteX8" fmla="*/ 0 w 1785415"/>
                <a:gd name="connsiteY8" fmla="*/ 22567 h 573525"/>
                <a:gd name="connsiteX9" fmla="*/ 312512 w 1785415"/>
                <a:gd name="connsiteY9" fmla="*/ 29 h 5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5415" h="573525">
                  <a:moveTo>
                    <a:pt x="312512" y="29"/>
                  </a:moveTo>
                  <a:cubicBezTo>
                    <a:pt x="499735" y="-859"/>
                    <a:pt x="751732" y="18308"/>
                    <a:pt x="1013667" y="97811"/>
                  </a:cubicBezTo>
                  <a:cubicBezTo>
                    <a:pt x="1244724" y="168086"/>
                    <a:pt x="1449427" y="273499"/>
                    <a:pt x="1624183" y="413451"/>
                  </a:cubicBezTo>
                  <a:lnTo>
                    <a:pt x="1785415" y="561757"/>
                  </a:lnTo>
                  <a:lnTo>
                    <a:pt x="1785415" y="573525"/>
                  </a:lnTo>
                  <a:lnTo>
                    <a:pt x="1765755" y="551938"/>
                  </a:lnTo>
                  <a:cubicBezTo>
                    <a:pt x="1527955" y="310057"/>
                    <a:pt x="1253597" y="176605"/>
                    <a:pt x="1012247" y="103490"/>
                  </a:cubicBezTo>
                  <a:cubicBezTo>
                    <a:pt x="489797" y="-55517"/>
                    <a:pt x="5679" y="26826"/>
                    <a:pt x="1420" y="28246"/>
                  </a:cubicBezTo>
                  <a:lnTo>
                    <a:pt x="0" y="22567"/>
                  </a:lnTo>
                  <a:cubicBezTo>
                    <a:pt x="2840" y="21857"/>
                    <a:pt x="125289" y="916"/>
                    <a:pt x="312512" y="29"/>
                  </a:cubicBez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>
              <a:extLst>
                <a:ext uri="{FF2B5EF4-FFF2-40B4-BE49-F238E27FC236}">
                  <a16:creationId xmlns:a16="http://schemas.microsoft.com/office/drawing/2014/main" id="{A28A4F28-C40C-4920-B1E3-D221081AF86E}"/>
                </a:ext>
              </a:extLst>
            </p:cNvPr>
            <p:cNvSpPr/>
            <p:nvPr userDrawn="1"/>
          </p:nvSpPr>
          <p:spPr>
            <a:xfrm>
              <a:off x="10135422" y="3829388"/>
              <a:ext cx="212955" cy="1036383"/>
            </a:xfrm>
            <a:custGeom>
              <a:avLst/>
              <a:gdLst>
                <a:gd name="connsiteX0" fmla="*/ 0 w 212955"/>
                <a:gd name="connsiteY0" fmla="*/ 1038433 h 1036382"/>
                <a:gd name="connsiteX1" fmla="*/ 144810 w 212955"/>
                <a:gd name="connsiteY1" fmla="*/ 1038433 h 1036382"/>
                <a:gd name="connsiteX2" fmla="*/ 214375 w 212955"/>
                <a:gd name="connsiteY2" fmla="*/ 631 h 1036382"/>
                <a:gd name="connsiteX3" fmla="*/ 168944 w 212955"/>
                <a:gd name="connsiteY3" fmla="*/ 631 h 1036382"/>
                <a:gd name="connsiteX4" fmla="*/ 168944 w 212955"/>
                <a:gd name="connsiteY4" fmla="*/ 631 h 1036382"/>
                <a:gd name="connsiteX5" fmla="*/ 0 w 212955"/>
                <a:gd name="connsiteY5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1036382">
                  <a:moveTo>
                    <a:pt x="0" y="1038433"/>
                  </a:moveTo>
                  <a:lnTo>
                    <a:pt x="144810" y="1038433"/>
                  </a:lnTo>
                  <a:lnTo>
                    <a:pt x="214375" y="631"/>
                  </a:lnTo>
                  <a:cubicBezTo>
                    <a:pt x="214375" y="631"/>
                    <a:pt x="197339" y="-789"/>
                    <a:pt x="168944" y="631"/>
                  </a:cubicBezTo>
                  <a:cubicBezTo>
                    <a:pt x="168944" y="631"/>
                    <a:pt x="168944" y="631"/>
                    <a:pt x="168944" y="631"/>
                  </a:cubicBezTo>
                  <a:cubicBezTo>
                    <a:pt x="161846" y="11989"/>
                    <a:pt x="29814" y="849613"/>
                    <a:pt x="0" y="1038433"/>
                  </a:cubicBezTo>
                  <a:close/>
                </a:path>
              </a:pathLst>
            </a:custGeom>
            <a:solidFill>
              <a:srgbClr val="A6433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>
              <a:extLst>
                <a:ext uri="{FF2B5EF4-FFF2-40B4-BE49-F238E27FC236}">
                  <a16:creationId xmlns:a16="http://schemas.microsoft.com/office/drawing/2014/main" id="{EC9F0C81-DD86-4441-A55C-04994A2CF112}"/>
                </a:ext>
              </a:extLst>
            </p:cNvPr>
            <p:cNvSpPr/>
            <p:nvPr userDrawn="1"/>
          </p:nvSpPr>
          <p:spPr>
            <a:xfrm>
              <a:off x="7065222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>
              <a:extLst>
                <a:ext uri="{FF2B5EF4-FFF2-40B4-BE49-F238E27FC236}">
                  <a16:creationId xmlns:a16="http://schemas.microsoft.com/office/drawing/2014/main" id="{C69D5B6A-E0F6-4CFE-8D9F-B6A5B5D885FE}"/>
                </a:ext>
              </a:extLst>
            </p:cNvPr>
            <p:cNvSpPr/>
            <p:nvPr userDrawn="1"/>
          </p:nvSpPr>
          <p:spPr>
            <a:xfrm>
              <a:off x="8916162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>
              <a:extLst>
                <a:ext uri="{FF2B5EF4-FFF2-40B4-BE49-F238E27FC236}">
                  <a16:creationId xmlns:a16="http://schemas.microsoft.com/office/drawing/2014/main" id="{4DF759C0-7E56-4118-B57D-B1A88F06E092}"/>
                </a:ext>
              </a:extLst>
            </p:cNvPr>
            <p:cNvSpPr/>
            <p:nvPr userDrawn="1"/>
          </p:nvSpPr>
          <p:spPr>
            <a:xfrm>
              <a:off x="9077375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>
              <a:extLst>
                <a:ext uri="{FF2B5EF4-FFF2-40B4-BE49-F238E27FC236}">
                  <a16:creationId xmlns:a16="http://schemas.microsoft.com/office/drawing/2014/main" id="{D2184CC0-139E-4D70-8C50-3BC7A6D8FE31}"/>
                </a:ext>
              </a:extLst>
            </p:cNvPr>
            <p:cNvSpPr/>
            <p:nvPr userDrawn="1"/>
          </p:nvSpPr>
          <p:spPr>
            <a:xfrm>
              <a:off x="5146402" y="47476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>
              <a:extLst>
                <a:ext uri="{FF2B5EF4-FFF2-40B4-BE49-F238E27FC236}">
                  <a16:creationId xmlns:a16="http://schemas.microsoft.com/office/drawing/2014/main" id="{C02446E9-8C0E-47BE-912E-D8F3A47986F7}"/>
                </a:ext>
              </a:extLst>
            </p:cNvPr>
            <p:cNvSpPr/>
            <p:nvPr userDrawn="1"/>
          </p:nvSpPr>
          <p:spPr>
            <a:xfrm>
              <a:off x="7482713" y="4742888"/>
              <a:ext cx="99379" cy="141970"/>
            </a:xfrm>
            <a:custGeom>
              <a:avLst/>
              <a:gdLst>
                <a:gd name="connsiteX0" fmla="*/ 3545 w 99379"/>
                <a:gd name="connsiteY0" fmla="*/ 123514 h 141970"/>
                <a:gd name="connsiteX1" fmla="*/ 23421 w 99379"/>
                <a:gd name="connsiteY1" fmla="*/ 0 h 141970"/>
                <a:gd name="connsiteX2" fmla="*/ 23421 w 99379"/>
                <a:gd name="connsiteY2" fmla="*/ 97959 h 141970"/>
                <a:gd name="connsiteX3" fmla="*/ 48976 w 99379"/>
                <a:gd name="connsiteY3" fmla="*/ 62467 h 141970"/>
                <a:gd name="connsiteX4" fmla="*/ 39038 w 99379"/>
                <a:gd name="connsiteY4" fmla="*/ 124934 h 141970"/>
                <a:gd name="connsiteX5" fmla="*/ 97246 w 99379"/>
                <a:gd name="connsiteY5" fmla="*/ 7099 h 141970"/>
                <a:gd name="connsiteX6" fmla="*/ 50395 w 99379"/>
                <a:gd name="connsiteY6" fmla="*/ 144810 h 141970"/>
                <a:gd name="connsiteX7" fmla="*/ 3545 w 99379"/>
                <a:gd name="connsiteY7" fmla="*/ 123514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379" h="141970">
                  <a:moveTo>
                    <a:pt x="3545" y="123514"/>
                  </a:moveTo>
                  <a:cubicBezTo>
                    <a:pt x="3545" y="123514"/>
                    <a:pt x="-12071" y="66726"/>
                    <a:pt x="23421" y="0"/>
                  </a:cubicBezTo>
                  <a:cubicBezTo>
                    <a:pt x="23421" y="0"/>
                    <a:pt x="4965" y="59627"/>
                    <a:pt x="23421" y="97959"/>
                  </a:cubicBezTo>
                  <a:cubicBezTo>
                    <a:pt x="23421" y="97959"/>
                    <a:pt x="36198" y="105058"/>
                    <a:pt x="48976" y="62467"/>
                  </a:cubicBezTo>
                  <a:cubicBezTo>
                    <a:pt x="48976" y="62467"/>
                    <a:pt x="50395" y="105058"/>
                    <a:pt x="39038" y="124934"/>
                  </a:cubicBezTo>
                  <a:cubicBezTo>
                    <a:pt x="27680" y="144810"/>
                    <a:pt x="95826" y="100799"/>
                    <a:pt x="97246" y="7099"/>
                  </a:cubicBezTo>
                  <a:cubicBezTo>
                    <a:pt x="97246" y="7099"/>
                    <a:pt x="115702" y="117835"/>
                    <a:pt x="50395" y="144810"/>
                  </a:cubicBezTo>
                  <a:cubicBezTo>
                    <a:pt x="-19170" y="171784"/>
                    <a:pt x="3545" y="123514"/>
                    <a:pt x="3545" y="123514"/>
                  </a:cubicBezTo>
                  <a:close/>
                </a:path>
              </a:pathLst>
            </a:custGeom>
            <a:solidFill>
              <a:schemeClr val="bg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>
              <a:extLst>
                <a:ext uri="{FF2B5EF4-FFF2-40B4-BE49-F238E27FC236}">
                  <a16:creationId xmlns:a16="http://schemas.microsoft.com/office/drawing/2014/main" id="{C09B5D9F-0941-4B7A-9D81-A28CA959D40B}"/>
                </a:ext>
              </a:extLst>
            </p:cNvPr>
            <p:cNvSpPr/>
            <p:nvPr userDrawn="1"/>
          </p:nvSpPr>
          <p:spPr>
            <a:xfrm>
              <a:off x="6571970" y="5542180"/>
              <a:ext cx="42591" cy="56788"/>
            </a:xfrm>
            <a:custGeom>
              <a:avLst/>
              <a:gdLst>
                <a:gd name="connsiteX0" fmla="*/ 0 w 42591"/>
                <a:gd name="connsiteY0" fmla="*/ 52529 h 56788"/>
                <a:gd name="connsiteX1" fmla="*/ 0 w 42591"/>
                <a:gd name="connsiteY1" fmla="*/ 4259 h 56788"/>
                <a:gd name="connsiteX2" fmla="*/ 48270 w 42591"/>
                <a:gd name="connsiteY2" fmla="*/ 0 h 56788"/>
                <a:gd name="connsiteX3" fmla="*/ 55368 w 42591"/>
                <a:gd name="connsiteY3" fmla="*/ 55368 h 56788"/>
                <a:gd name="connsiteX4" fmla="*/ 0 w 42591"/>
                <a:gd name="connsiteY4" fmla="*/ 52529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56788">
                  <a:moveTo>
                    <a:pt x="0" y="52529"/>
                  </a:moveTo>
                  <a:cubicBezTo>
                    <a:pt x="0" y="52529"/>
                    <a:pt x="0" y="9938"/>
                    <a:pt x="0" y="4259"/>
                  </a:cubicBezTo>
                  <a:cubicBezTo>
                    <a:pt x="0" y="0"/>
                    <a:pt x="48270" y="0"/>
                    <a:pt x="48270" y="0"/>
                  </a:cubicBezTo>
                  <a:cubicBezTo>
                    <a:pt x="48270" y="0"/>
                    <a:pt x="51109" y="46850"/>
                    <a:pt x="55368" y="55368"/>
                  </a:cubicBezTo>
                  <a:cubicBezTo>
                    <a:pt x="56788" y="65306"/>
                    <a:pt x="0" y="52529"/>
                    <a:pt x="0" y="5252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>
              <a:extLst>
                <a:ext uri="{FF2B5EF4-FFF2-40B4-BE49-F238E27FC236}">
                  <a16:creationId xmlns:a16="http://schemas.microsoft.com/office/drawing/2014/main" id="{51F585B3-B968-4BA1-B295-CEB53083453A}"/>
                </a:ext>
              </a:extLst>
            </p:cNvPr>
            <p:cNvSpPr/>
            <p:nvPr userDrawn="1"/>
          </p:nvSpPr>
          <p:spPr>
            <a:xfrm>
              <a:off x="6483750" y="5580137"/>
              <a:ext cx="156167" cy="127773"/>
            </a:xfrm>
            <a:custGeom>
              <a:avLst/>
              <a:gdLst>
                <a:gd name="connsiteX0" fmla="*/ 122293 w 156167"/>
                <a:gd name="connsiteY0" fmla="*/ 11733 h 127773"/>
                <a:gd name="connsiteX1" fmla="*/ 89640 w 156167"/>
                <a:gd name="connsiteY1" fmla="*/ 3215 h 127773"/>
                <a:gd name="connsiteX2" fmla="*/ 75443 w 156167"/>
                <a:gd name="connsiteY2" fmla="*/ 15992 h 127773"/>
                <a:gd name="connsiteX3" fmla="*/ 34271 w 156167"/>
                <a:gd name="connsiteY3" fmla="*/ 74200 h 127773"/>
                <a:gd name="connsiteX4" fmla="*/ 199 w 156167"/>
                <a:gd name="connsiteY4" fmla="*/ 111112 h 127773"/>
                <a:gd name="connsiteX5" fmla="*/ 86800 w 156167"/>
                <a:gd name="connsiteY5" fmla="*/ 133827 h 127773"/>
                <a:gd name="connsiteX6" fmla="*/ 162045 w 156167"/>
                <a:gd name="connsiteY6" fmla="*/ 75620 h 127773"/>
                <a:gd name="connsiteX7" fmla="*/ 137910 w 156167"/>
                <a:gd name="connsiteY7" fmla="*/ 375 h 127773"/>
                <a:gd name="connsiteX8" fmla="*/ 122293 w 156167"/>
                <a:gd name="connsiteY8" fmla="*/ 1173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167" h="127773">
                  <a:moveTo>
                    <a:pt x="122293" y="11733"/>
                  </a:moveTo>
                  <a:cubicBezTo>
                    <a:pt x="122293" y="11733"/>
                    <a:pt x="102417" y="3215"/>
                    <a:pt x="89640" y="3215"/>
                  </a:cubicBezTo>
                  <a:cubicBezTo>
                    <a:pt x="76863" y="3215"/>
                    <a:pt x="78282" y="11733"/>
                    <a:pt x="75443" y="15992"/>
                  </a:cubicBezTo>
                  <a:cubicBezTo>
                    <a:pt x="72603" y="20251"/>
                    <a:pt x="41370" y="67101"/>
                    <a:pt x="34271" y="74200"/>
                  </a:cubicBezTo>
                  <a:cubicBezTo>
                    <a:pt x="25753" y="82718"/>
                    <a:pt x="-2641" y="91236"/>
                    <a:pt x="199" y="111112"/>
                  </a:cubicBezTo>
                  <a:cubicBezTo>
                    <a:pt x="4458" y="132408"/>
                    <a:pt x="41370" y="139506"/>
                    <a:pt x="86800" y="133827"/>
                  </a:cubicBezTo>
                  <a:cubicBezTo>
                    <a:pt x="132231" y="128149"/>
                    <a:pt x="154946" y="85558"/>
                    <a:pt x="162045" y="75620"/>
                  </a:cubicBezTo>
                  <a:cubicBezTo>
                    <a:pt x="169143" y="65682"/>
                    <a:pt x="145008" y="4635"/>
                    <a:pt x="137910" y="375"/>
                  </a:cubicBezTo>
                  <a:cubicBezTo>
                    <a:pt x="130811" y="-2464"/>
                    <a:pt x="122293" y="11733"/>
                    <a:pt x="122293" y="11733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>
              <a:extLst>
                <a:ext uri="{FF2B5EF4-FFF2-40B4-BE49-F238E27FC236}">
                  <a16:creationId xmlns:a16="http://schemas.microsoft.com/office/drawing/2014/main" id="{7EA47A70-8146-42B5-A319-F4E0478786C9}"/>
                </a:ext>
              </a:extLst>
            </p:cNvPr>
            <p:cNvSpPr/>
            <p:nvPr userDrawn="1"/>
          </p:nvSpPr>
          <p:spPr>
            <a:xfrm>
              <a:off x="6174454" y="5547859"/>
              <a:ext cx="56788" cy="56788"/>
            </a:xfrm>
            <a:custGeom>
              <a:avLst/>
              <a:gdLst>
                <a:gd name="connsiteX0" fmla="*/ 0 w 56788"/>
                <a:gd name="connsiteY0" fmla="*/ 39752 h 56788"/>
                <a:gd name="connsiteX1" fmla="*/ 11358 w 56788"/>
                <a:gd name="connsiteY1" fmla="*/ 0 h 56788"/>
                <a:gd name="connsiteX2" fmla="*/ 62467 w 56788"/>
                <a:gd name="connsiteY2" fmla="*/ 7099 h 56788"/>
                <a:gd name="connsiteX3" fmla="*/ 53949 w 56788"/>
                <a:gd name="connsiteY3" fmla="*/ 68146 h 56788"/>
                <a:gd name="connsiteX4" fmla="*/ 0 w 56788"/>
                <a:gd name="connsiteY4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0" y="39752"/>
                  </a:moveTo>
                  <a:lnTo>
                    <a:pt x="11358" y="0"/>
                  </a:lnTo>
                  <a:lnTo>
                    <a:pt x="62467" y="7099"/>
                  </a:lnTo>
                  <a:cubicBezTo>
                    <a:pt x="62467" y="7099"/>
                    <a:pt x="51109" y="61047"/>
                    <a:pt x="53949" y="68146"/>
                  </a:cubicBezTo>
                  <a:cubicBezTo>
                    <a:pt x="55368" y="73824"/>
                    <a:pt x="0" y="39752"/>
                    <a:pt x="0" y="3975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>
              <a:extLst>
                <a:ext uri="{FF2B5EF4-FFF2-40B4-BE49-F238E27FC236}">
                  <a16:creationId xmlns:a16="http://schemas.microsoft.com/office/drawing/2014/main" id="{199A6AF9-8FCF-456A-9524-553BB79A30C8}"/>
                </a:ext>
              </a:extLst>
            </p:cNvPr>
            <p:cNvSpPr/>
            <p:nvPr userDrawn="1"/>
          </p:nvSpPr>
          <p:spPr>
            <a:xfrm>
              <a:off x="6296548" y="3990446"/>
              <a:ext cx="156167" cy="653063"/>
            </a:xfrm>
            <a:custGeom>
              <a:avLst/>
              <a:gdLst>
                <a:gd name="connsiteX0" fmla="*/ 28394 w 156167"/>
                <a:gd name="connsiteY0" fmla="*/ 0 h 653062"/>
                <a:gd name="connsiteX1" fmla="*/ 15617 w 156167"/>
                <a:gd name="connsiteY1" fmla="*/ 288200 h 653062"/>
                <a:gd name="connsiteX2" fmla="*/ 0 w 156167"/>
                <a:gd name="connsiteY2" fmla="*/ 661581 h 653062"/>
                <a:gd name="connsiteX3" fmla="*/ 161846 w 156167"/>
                <a:gd name="connsiteY3" fmla="*/ 424491 h 653062"/>
                <a:gd name="connsiteX4" fmla="*/ 28394 w 156167"/>
                <a:gd name="connsiteY4" fmla="*/ 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167" h="653062">
                  <a:moveTo>
                    <a:pt x="28394" y="0"/>
                  </a:moveTo>
                  <a:cubicBezTo>
                    <a:pt x="28394" y="0"/>
                    <a:pt x="-1420" y="144810"/>
                    <a:pt x="15617" y="288200"/>
                  </a:cubicBezTo>
                  <a:cubicBezTo>
                    <a:pt x="32653" y="431589"/>
                    <a:pt x="0" y="661581"/>
                    <a:pt x="0" y="661581"/>
                  </a:cubicBezTo>
                  <a:lnTo>
                    <a:pt x="161846" y="424491"/>
                  </a:lnTo>
                  <a:lnTo>
                    <a:pt x="28394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>
              <a:extLst>
                <a:ext uri="{FF2B5EF4-FFF2-40B4-BE49-F238E27FC236}">
                  <a16:creationId xmlns:a16="http://schemas.microsoft.com/office/drawing/2014/main" id="{FA33CCE8-E597-4E80-A6E6-A5EBDF03951F}"/>
                </a:ext>
              </a:extLst>
            </p:cNvPr>
            <p:cNvSpPr/>
            <p:nvPr userDrawn="1"/>
          </p:nvSpPr>
          <p:spPr>
            <a:xfrm>
              <a:off x="6160257" y="4422685"/>
              <a:ext cx="511093" cy="1135762"/>
            </a:xfrm>
            <a:custGeom>
              <a:avLst/>
              <a:gdLst>
                <a:gd name="connsiteX0" fmla="*/ 187401 w 511092"/>
                <a:gd name="connsiteY0" fmla="*/ 132802 h 1135761"/>
                <a:gd name="connsiteX1" fmla="*/ 139131 w 511092"/>
                <a:gd name="connsiteY1" fmla="*/ 361374 h 1135761"/>
                <a:gd name="connsiteX2" fmla="*/ 102219 w 511092"/>
                <a:gd name="connsiteY2" fmla="*/ 666610 h 1135761"/>
                <a:gd name="connsiteX3" fmla="*/ 62467 w 511092"/>
                <a:gd name="connsiteY3" fmla="*/ 859689 h 1135761"/>
                <a:gd name="connsiteX4" fmla="*/ 0 w 511092"/>
                <a:gd name="connsiteY4" fmla="*/ 1140790 h 1135761"/>
                <a:gd name="connsiteX5" fmla="*/ 86602 w 511092"/>
                <a:gd name="connsiteY5" fmla="*/ 1142210 h 1135761"/>
                <a:gd name="connsiteX6" fmla="*/ 176043 w 511092"/>
                <a:gd name="connsiteY6" fmla="*/ 825617 h 1135761"/>
                <a:gd name="connsiteX7" fmla="*/ 238510 w 511092"/>
                <a:gd name="connsiteY7" fmla="*/ 589946 h 1135761"/>
                <a:gd name="connsiteX8" fmla="*/ 342148 w 511092"/>
                <a:gd name="connsiteY8" fmla="*/ 318783 h 1135761"/>
                <a:gd name="connsiteX9" fmla="*/ 347827 w 511092"/>
                <a:gd name="connsiteY9" fmla="*/ 364213 h 1135761"/>
                <a:gd name="connsiteX10" fmla="*/ 379060 w 511092"/>
                <a:gd name="connsiteY10" fmla="*/ 659511 h 1135761"/>
                <a:gd name="connsiteX11" fmla="*/ 384739 w 511092"/>
                <a:gd name="connsiteY11" fmla="*/ 845492 h 1135761"/>
                <a:gd name="connsiteX12" fmla="*/ 397517 w 511092"/>
                <a:gd name="connsiteY12" fmla="*/ 1135111 h 1135761"/>
                <a:gd name="connsiteX13" fmla="*/ 478440 w 511092"/>
                <a:gd name="connsiteY13" fmla="*/ 1126593 h 1135761"/>
                <a:gd name="connsiteX14" fmla="*/ 484118 w 511092"/>
                <a:gd name="connsiteY14" fmla="*/ 808580 h 1135761"/>
                <a:gd name="connsiteX15" fmla="*/ 488377 w 511092"/>
                <a:gd name="connsiteY15" fmla="*/ 633957 h 1135761"/>
                <a:gd name="connsiteX16" fmla="*/ 481279 w 511092"/>
                <a:gd name="connsiteY16" fmla="*/ 158356 h 1135761"/>
                <a:gd name="connsiteX17" fmla="*/ 187401 w 511092"/>
                <a:gd name="connsiteY17" fmla="*/ 132802 h 11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092" h="1135761">
                  <a:moveTo>
                    <a:pt x="187401" y="132802"/>
                  </a:moveTo>
                  <a:cubicBezTo>
                    <a:pt x="187401" y="132802"/>
                    <a:pt x="147649" y="314524"/>
                    <a:pt x="139131" y="361374"/>
                  </a:cubicBezTo>
                  <a:cubicBezTo>
                    <a:pt x="130613" y="406804"/>
                    <a:pt x="105058" y="629698"/>
                    <a:pt x="102219" y="666610"/>
                  </a:cubicBezTo>
                  <a:cubicBezTo>
                    <a:pt x="99379" y="704942"/>
                    <a:pt x="61047" y="846912"/>
                    <a:pt x="62467" y="859689"/>
                  </a:cubicBezTo>
                  <a:cubicBezTo>
                    <a:pt x="63887" y="873886"/>
                    <a:pt x="0" y="1140790"/>
                    <a:pt x="0" y="1140790"/>
                  </a:cubicBezTo>
                  <a:cubicBezTo>
                    <a:pt x="0" y="1140790"/>
                    <a:pt x="68146" y="1149308"/>
                    <a:pt x="86602" y="1142210"/>
                  </a:cubicBezTo>
                  <a:cubicBezTo>
                    <a:pt x="99379" y="1137951"/>
                    <a:pt x="176043" y="892342"/>
                    <a:pt x="176043" y="825617"/>
                  </a:cubicBezTo>
                  <a:cubicBezTo>
                    <a:pt x="176043" y="731916"/>
                    <a:pt x="231411" y="611241"/>
                    <a:pt x="238510" y="589946"/>
                  </a:cubicBezTo>
                  <a:cubicBezTo>
                    <a:pt x="316594" y="381250"/>
                    <a:pt x="330791" y="331560"/>
                    <a:pt x="342148" y="318783"/>
                  </a:cubicBezTo>
                  <a:cubicBezTo>
                    <a:pt x="342148" y="318783"/>
                    <a:pt x="343568" y="335819"/>
                    <a:pt x="347827" y="364213"/>
                  </a:cubicBezTo>
                  <a:cubicBezTo>
                    <a:pt x="352086" y="396866"/>
                    <a:pt x="370542" y="629698"/>
                    <a:pt x="379060" y="659511"/>
                  </a:cubicBezTo>
                  <a:cubicBezTo>
                    <a:pt x="387579" y="690745"/>
                    <a:pt x="380480" y="792963"/>
                    <a:pt x="384739" y="845492"/>
                  </a:cubicBezTo>
                  <a:cubicBezTo>
                    <a:pt x="388998" y="898021"/>
                    <a:pt x="397517" y="1135111"/>
                    <a:pt x="397517" y="1135111"/>
                  </a:cubicBezTo>
                  <a:cubicBezTo>
                    <a:pt x="397517" y="1135111"/>
                    <a:pt x="459983" y="1136531"/>
                    <a:pt x="478440" y="1126593"/>
                  </a:cubicBezTo>
                  <a:cubicBezTo>
                    <a:pt x="484118" y="1123754"/>
                    <a:pt x="484118" y="871047"/>
                    <a:pt x="484118" y="808580"/>
                  </a:cubicBezTo>
                  <a:cubicBezTo>
                    <a:pt x="485538" y="746113"/>
                    <a:pt x="485538" y="660931"/>
                    <a:pt x="488377" y="633957"/>
                  </a:cubicBezTo>
                  <a:cubicBezTo>
                    <a:pt x="505414" y="376991"/>
                    <a:pt x="546585" y="340078"/>
                    <a:pt x="481279" y="158356"/>
                  </a:cubicBezTo>
                  <a:cubicBezTo>
                    <a:pt x="359185" y="-182372"/>
                    <a:pt x="187401" y="132802"/>
                    <a:pt x="187401" y="132802"/>
                  </a:cubicBezTo>
                  <a:close/>
                </a:path>
              </a:pathLst>
            </a:custGeom>
            <a:solidFill>
              <a:schemeClr val="tx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>
              <a:extLst>
                <a:ext uri="{FF2B5EF4-FFF2-40B4-BE49-F238E27FC236}">
                  <a16:creationId xmlns:a16="http://schemas.microsoft.com/office/drawing/2014/main" id="{FEEE20FC-AB59-4A21-890F-09731CE65116}"/>
                </a:ext>
              </a:extLst>
            </p:cNvPr>
            <p:cNvSpPr/>
            <p:nvPr userDrawn="1"/>
          </p:nvSpPr>
          <p:spPr>
            <a:xfrm>
              <a:off x="6282268" y="3940978"/>
              <a:ext cx="369123" cy="653063"/>
            </a:xfrm>
            <a:custGeom>
              <a:avLst/>
              <a:gdLst>
                <a:gd name="connsiteX0" fmla="*/ 34156 w 369122"/>
                <a:gd name="connsiteY0" fmla="*/ 82120 h 653062"/>
                <a:gd name="connsiteX1" fmla="*/ 1503 w 369122"/>
                <a:gd name="connsiteY1" fmla="*/ 287977 h 653062"/>
                <a:gd name="connsiteX2" fmla="*/ 62550 w 369122"/>
                <a:gd name="connsiteY2" fmla="*/ 360382 h 653062"/>
                <a:gd name="connsiteX3" fmla="*/ 95204 w 369122"/>
                <a:gd name="connsiteY3" fmla="*/ 481057 h 653062"/>
                <a:gd name="connsiteX4" fmla="*/ 65390 w 369122"/>
                <a:gd name="connsiteY4" fmla="*/ 614509 h 653062"/>
                <a:gd name="connsiteX5" fmla="*/ 373465 w 369122"/>
                <a:gd name="connsiteY5" fmla="*/ 581856 h 653062"/>
                <a:gd name="connsiteX6" fmla="*/ 316677 w 369122"/>
                <a:gd name="connsiteY6" fmla="*/ 404393 h 653062"/>
                <a:gd name="connsiteX7" fmla="*/ 316677 w 369122"/>
                <a:gd name="connsiteY7" fmla="*/ 248226 h 653062"/>
                <a:gd name="connsiteX8" fmla="*/ 325195 w 369122"/>
                <a:gd name="connsiteY8" fmla="*/ 69343 h 653062"/>
                <a:gd name="connsiteX9" fmla="*/ 176127 w 369122"/>
                <a:gd name="connsiteY9" fmla="*/ 1197 h 653062"/>
                <a:gd name="connsiteX10" fmla="*/ 34156 w 369122"/>
                <a:gd name="connsiteY10" fmla="*/ 8212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122" h="653062">
                  <a:moveTo>
                    <a:pt x="34156" y="82120"/>
                  </a:moveTo>
                  <a:cubicBezTo>
                    <a:pt x="34156" y="82120"/>
                    <a:pt x="-8435" y="253904"/>
                    <a:pt x="1503" y="287977"/>
                  </a:cubicBezTo>
                  <a:cubicBezTo>
                    <a:pt x="11441" y="322050"/>
                    <a:pt x="61131" y="356123"/>
                    <a:pt x="62550" y="360382"/>
                  </a:cubicBezTo>
                  <a:cubicBezTo>
                    <a:pt x="63970" y="364641"/>
                    <a:pt x="95204" y="464020"/>
                    <a:pt x="95204" y="481057"/>
                  </a:cubicBezTo>
                  <a:cubicBezTo>
                    <a:pt x="93784" y="498093"/>
                    <a:pt x="65390" y="614509"/>
                    <a:pt x="65390" y="614509"/>
                  </a:cubicBezTo>
                  <a:cubicBezTo>
                    <a:pt x="65390" y="614509"/>
                    <a:pt x="214458" y="722406"/>
                    <a:pt x="373465" y="581856"/>
                  </a:cubicBezTo>
                  <a:cubicBezTo>
                    <a:pt x="373465" y="581856"/>
                    <a:pt x="318097" y="420009"/>
                    <a:pt x="316677" y="404393"/>
                  </a:cubicBezTo>
                  <a:cubicBezTo>
                    <a:pt x="315257" y="387356"/>
                    <a:pt x="310998" y="263842"/>
                    <a:pt x="316677" y="248226"/>
                  </a:cubicBezTo>
                  <a:cubicBezTo>
                    <a:pt x="322356" y="232609"/>
                    <a:pt x="332294" y="83540"/>
                    <a:pt x="325195" y="69343"/>
                  </a:cubicBezTo>
                  <a:cubicBezTo>
                    <a:pt x="318097" y="55146"/>
                    <a:pt x="237174" y="13975"/>
                    <a:pt x="176127" y="1197"/>
                  </a:cubicBezTo>
                  <a:cubicBezTo>
                    <a:pt x="115079" y="-11580"/>
                    <a:pt x="34156" y="82120"/>
                    <a:pt x="34156" y="82120"/>
                  </a:cubicBezTo>
                  <a:close/>
                </a:path>
              </a:pathLst>
            </a:custGeom>
            <a:solidFill>
              <a:srgbClr val="FFF8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>
              <a:extLst>
                <a:ext uri="{FF2B5EF4-FFF2-40B4-BE49-F238E27FC236}">
                  <a16:creationId xmlns:a16="http://schemas.microsoft.com/office/drawing/2014/main" id="{A19A72A4-512C-4AC3-A710-30793735B514}"/>
                </a:ext>
              </a:extLst>
            </p:cNvPr>
            <p:cNvSpPr/>
            <p:nvPr userDrawn="1"/>
          </p:nvSpPr>
          <p:spPr>
            <a:xfrm>
              <a:off x="6462383" y="3945015"/>
              <a:ext cx="269743" cy="837624"/>
            </a:xfrm>
            <a:custGeom>
              <a:avLst/>
              <a:gdLst>
                <a:gd name="connsiteX0" fmla="*/ 245879 w 269743"/>
                <a:gd name="connsiteY0" fmla="*/ 848982 h 837624"/>
                <a:gd name="connsiteX1" fmla="*/ 176313 w 269743"/>
                <a:gd name="connsiteY1" fmla="*/ 667260 h 837624"/>
                <a:gd name="connsiteX2" fmla="*/ 149339 w 269743"/>
                <a:gd name="connsiteY2" fmla="*/ 609052 h 837624"/>
                <a:gd name="connsiteX3" fmla="*/ 128043 w 269743"/>
                <a:gd name="connsiteY3" fmla="*/ 563622 h 837624"/>
                <a:gd name="connsiteX4" fmla="*/ 17307 w 269743"/>
                <a:gd name="connsiteY4" fmla="*/ 303816 h 837624"/>
                <a:gd name="connsiteX5" fmla="*/ 18726 w 269743"/>
                <a:gd name="connsiteY5" fmla="*/ 0 h 837624"/>
                <a:gd name="connsiteX6" fmla="*/ 18726 w 269743"/>
                <a:gd name="connsiteY6" fmla="*/ 0 h 837624"/>
                <a:gd name="connsiteX7" fmla="*/ 143660 w 269743"/>
                <a:gd name="connsiteY7" fmla="*/ 53949 h 837624"/>
                <a:gd name="connsiteX8" fmla="*/ 143660 w 269743"/>
                <a:gd name="connsiteY8" fmla="*/ 53949 h 837624"/>
                <a:gd name="connsiteX9" fmla="*/ 145080 w 269743"/>
                <a:gd name="connsiteY9" fmla="*/ 56788 h 837624"/>
                <a:gd name="connsiteX10" fmla="*/ 180572 w 269743"/>
                <a:gd name="connsiteY10" fmla="*/ 140551 h 837624"/>
                <a:gd name="connsiteX11" fmla="*/ 143660 w 269743"/>
                <a:gd name="connsiteY11" fmla="*/ 191660 h 837624"/>
                <a:gd name="connsiteX12" fmla="*/ 132303 w 269743"/>
                <a:gd name="connsiteY12" fmla="*/ 238510 h 837624"/>
                <a:gd name="connsiteX13" fmla="*/ 133722 w 269743"/>
                <a:gd name="connsiteY13" fmla="*/ 259805 h 837624"/>
                <a:gd name="connsiteX14" fmla="*/ 135142 w 269743"/>
                <a:gd name="connsiteY14" fmla="*/ 266904 h 837624"/>
                <a:gd name="connsiteX15" fmla="*/ 176313 w 269743"/>
                <a:gd name="connsiteY15" fmla="*/ 396097 h 837624"/>
                <a:gd name="connsiteX16" fmla="*/ 179153 w 269743"/>
                <a:gd name="connsiteY16" fmla="*/ 414553 h 837624"/>
                <a:gd name="connsiteX17" fmla="*/ 179153 w 269743"/>
                <a:gd name="connsiteY17" fmla="*/ 414553 h 837624"/>
                <a:gd name="connsiteX18" fmla="*/ 179153 w 269743"/>
                <a:gd name="connsiteY18" fmla="*/ 414553 h 837624"/>
                <a:gd name="connsiteX19" fmla="*/ 193350 w 269743"/>
                <a:gd name="connsiteY19" fmla="*/ 458564 h 837624"/>
                <a:gd name="connsiteX20" fmla="*/ 196189 w 269743"/>
                <a:gd name="connsiteY20" fmla="*/ 464243 h 837624"/>
                <a:gd name="connsiteX21" fmla="*/ 196189 w 269743"/>
                <a:gd name="connsiteY21" fmla="*/ 464243 h 837624"/>
                <a:gd name="connsiteX22" fmla="*/ 234521 w 269743"/>
                <a:gd name="connsiteY22" fmla="*/ 549425 h 837624"/>
                <a:gd name="connsiteX23" fmla="*/ 282791 w 269743"/>
                <a:gd name="connsiteY23" fmla="*/ 685716 h 837624"/>
                <a:gd name="connsiteX24" fmla="*/ 245879 w 269743"/>
                <a:gd name="connsiteY24" fmla="*/ 848982 h 83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9743" h="837624">
                  <a:moveTo>
                    <a:pt x="245879" y="848982"/>
                  </a:moveTo>
                  <a:cubicBezTo>
                    <a:pt x="244459" y="819168"/>
                    <a:pt x="214645" y="749603"/>
                    <a:pt x="176313" y="667260"/>
                  </a:cubicBezTo>
                  <a:cubicBezTo>
                    <a:pt x="167795" y="648804"/>
                    <a:pt x="157857" y="628928"/>
                    <a:pt x="149339" y="609052"/>
                  </a:cubicBezTo>
                  <a:cubicBezTo>
                    <a:pt x="142241" y="593435"/>
                    <a:pt x="135142" y="579238"/>
                    <a:pt x="128043" y="563622"/>
                  </a:cubicBezTo>
                  <a:cubicBezTo>
                    <a:pt x="81193" y="464243"/>
                    <a:pt x="34343" y="364863"/>
                    <a:pt x="17307" y="303816"/>
                  </a:cubicBezTo>
                  <a:cubicBezTo>
                    <a:pt x="-22445" y="167525"/>
                    <a:pt x="18726" y="0"/>
                    <a:pt x="18726" y="0"/>
                  </a:cubicBezTo>
                  <a:cubicBezTo>
                    <a:pt x="18726" y="0"/>
                    <a:pt x="18726" y="0"/>
                    <a:pt x="18726" y="0"/>
                  </a:cubicBezTo>
                  <a:cubicBezTo>
                    <a:pt x="64157" y="8518"/>
                    <a:pt x="128043" y="34073"/>
                    <a:pt x="143660" y="53949"/>
                  </a:cubicBezTo>
                  <a:cubicBezTo>
                    <a:pt x="143660" y="53949"/>
                    <a:pt x="143660" y="53949"/>
                    <a:pt x="143660" y="53949"/>
                  </a:cubicBezTo>
                  <a:cubicBezTo>
                    <a:pt x="143660" y="55368"/>
                    <a:pt x="145080" y="55368"/>
                    <a:pt x="145080" y="56788"/>
                  </a:cubicBezTo>
                  <a:cubicBezTo>
                    <a:pt x="150759" y="66726"/>
                    <a:pt x="164956" y="109317"/>
                    <a:pt x="180572" y="140551"/>
                  </a:cubicBezTo>
                  <a:cubicBezTo>
                    <a:pt x="180572" y="140551"/>
                    <a:pt x="159277" y="156167"/>
                    <a:pt x="143660" y="191660"/>
                  </a:cubicBezTo>
                  <a:cubicBezTo>
                    <a:pt x="137981" y="205857"/>
                    <a:pt x="132303" y="222893"/>
                    <a:pt x="132303" y="238510"/>
                  </a:cubicBezTo>
                  <a:cubicBezTo>
                    <a:pt x="132303" y="245608"/>
                    <a:pt x="132303" y="252707"/>
                    <a:pt x="133722" y="259805"/>
                  </a:cubicBezTo>
                  <a:cubicBezTo>
                    <a:pt x="133722" y="262645"/>
                    <a:pt x="135142" y="264065"/>
                    <a:pt x="135142" y="266904"/>
                  </a:cubicBezTo>
                  <a:cubicBezTo>
                    <a:pt x="155018" y="327951"/>
                    <a:pt x="176313" y="396097"/>
                    <a:pt x="176313" y="396097"/>
                  </a:cubicBezTo>
                  <a:cubicBezTo>
                    <a:pt x="176313" y="401776"/>
                    <a:pt x="177733" y="408874"/>
                    <a:pt x="179153" y="414553"/>
                  </a:cubicBezTo>
                  <a:cubicBezTo>
                    <a:pt x="179153" y="414553"/>
                    <a:pt x="179153" y="414553"/>
                    <a:pt x="179153" y="414553"/>
                  </a:cubicBezTo>
                  <a:lnTo>
                    <a:pt x="179153" y="414553"/>
                  </a:lnTo>
                  <a:cubicBezTo>
                    <a:pt x="181992" y="428750"/>
                    <a:pt x="187671" y="442947"/>
                    <a:pt x="193350" y="458564"/>
                  </a:cubicBezTo>
                  <a:cubicBezTo>
                    <a:pt x="194769" y="459983"/>
                    <a:pt x="194769" y="462823"/>
                    <a:pt x="196189" y="464243"/>
                  </a:cubicBezTo>
                  <a:cubicBezTo>
                    <a:pt x="196189" y="464243"/>
                    <a:pt x="196189" y="464243"/>
                    <a:pt x="196189" y="464243"/>
                  </a:cubicBezTo>
                  <a:cubicBezTo>
                    <a:pt x="207547" y="491217"/>
                    <a:pt x="221744" y="519611"/>
                    <a:pt x="234521" y="549425"/>
                  </a:cubicBezTo>
                  <a:cubicBezTo>
                    <a:pt x="257236" y="597695"/>
                    <a:pt x="278532" y="645965"/>
                    <a:pt x="282791" y="685716"/>
                  </a:cubicBezTo>
                  <a:cubicBezTo>
                    <a:pt x="289889" y="777997"/>
                    <a:pt x="245879" y="848982"/>
                    <a:pt x="245879" y="848982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>
              <a:extLst>
                <a:ext uri="{FF2B5EF4-FFF2-40B4-BE49-F238E27FC236}">
                  <a16:creationId xmlns:a16="http://schemas.microsoft.com/office/drawing/2014/main" id="{0D51F4BD-2908-4DB5-9C98-5FA267F2995A}"/>
                </a:ext>
              </a:extLst>
            </p:cNvPr>
            <p:cNvSpPr/>
            <p:nvPr userDrawn="1"/>
          </p:nvSpPr>
          <p:spPr>
            <a:xfrm>
              <a:off x="6563452" y="4166310"/>
              <a:ext cx="85182" cy="241349"/>
            </a:xfrm>
            <a:custGeom>
              <a:avLst/>
              <a:gdLst>
                <a:gd name="connsiteX0" fmla="*/ 93700 w 85182"/>
                <a:gd name="connsiteY0" fmla="*/ 245788 h 241349"/>
                <a:gd name="connsiteX1" fmla="*/ 0 w 85182"/>
                <a:gd name="connsiteY1" fmla="*/ 179 h 241349"/>
                <a:gd name="connsiteX2" fmla="*/ 29814 w 85182"/>
                <a:gd name="connsiteY2" fmla="*/ 18635 h 241349"/>
                <a:gd name="connsiteX3" fmla="*/ 76664 w 85182"/>
                <a:gd name="connsiteY3" fmla="*/ 196098 h 241349"/>
                <a:gd name="connsiteX4" fmla="*/ 76664 w 85182"/>
                <a:gd name="connsiteY4" fmla="*/ 196098 h 241349"/>
                <a:gd name="connsiteX5" fmla="*/ 76664 w 85182"/>
                <a:gd name="connsiteY5" fmla="*/ 196098 h 241349"/>
                <a:gd name="connsiteX6" fmla="*/ 90861 w 85182"/>
                <a:gd name="connsiteY6" fmla="*/ 240109 h 241349"/>
                <a:gd name="connsiteX7" fmla="*/ 93700 w 85182"/>
                <a:gd name="connsiteY7" fmla="*/ 245788 h 241349"/>
                <a:gd name="connsiteX8" fmla="*/ 93700 w 85182"/>
                <a:gd name="connsiteY8" fmla="*/ 24578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241349">
                  <a:moveTo>
                    <a:pt x="93700" y="245788"/>
                  </a:moveTo>
                  <a:cubicBezTo>
                    <a:pt x="53949" y="203196"/>
                    <a:pt x="0" y="179"/>
                    <a:pt x="0" y="179"/>
                  </a:cubicBezTo>
                  <a:cubicBezTo>
                    <a:pt x="11358" y="-1241"/>
                    <a:pt x="21296" y="5858"/>
                    <a:pt x="29814" y="18635"/>
                  </a:cubicBezTo>
                  <a:cubicBezTo>
                    <a:pt x="62467" y="65485"/>
                    <a:pt x="76664" y="190419"/>
                    <a:pt x="76664" y="196098"/>
                  </a:cubicBezTo>
                  <a:cubicBezTo>
                    <a:pt x="76664" y="196098"/>
                    <a:pt x="76664" y="196098"/>
                    <a:pt x="76664" y="196098"/>
                  </a:cubicBezTo>
                  <a:lnTo>
                    <a:pt x="76664" y="196098"/>
                  </a:lnTo>
                  <a:cubicBezTo>
                    <a:pt x="79503" y="210295"/>
                    <a:pt x="85182" y="224492"/>
                    <a:pt x="90861" y="240109"/>
                  </a:cubicBezTo>
                  <a:cubicBezTo>
                    <a:pt x="90861" y="241528"/>
                    <a:pt x="92281" y="242948"/>
                    <a:pt x="93700" y="245788"/>
                  </a:cubicBezTo>
                  <a:cubicBezTo>
                    <a:pt x="93700" y="245788"/>
                    <a:pt x="93700" y="245788"/>
                    <a:pt x="93700" y="245788"/>
                  </a:cubicBez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>
              <a:extLst>
                <a:ext uri="{FF2B5EF4-FFF2-40B4-BE49-F238E27FC236}">
                  <a16:creationId xmlns:a16="http://schemas.microsoft.com/office/drawing/2014/main" id="{1683A0F0-DF3B-4864-97FE-B6C40C2B0189}"/>
                </a:ext>
              </a:extLst>
            </p:cNvPr>
            <p:cNvSpPr/>
            <p:nvPr userDrawn="1"/>
          </p:nvSpPr>
          <p:spPr>
            <a:xfrm>
              <a:off x="6840294" y="4406906"/>
              <a:ext cx="99379" cy="127773"/>
            </a:xfrm>
            <a:custGeom>
              <a:avLst/>
              <a:gdLst>
                <a:gd name="connsiteX0" fmla="*/ 18456 w 99379"/>
                <a:gd name="connsiteY0" fmla="*/ 46363 h 127773"/>
                <a:gd name="connsiteX1" fmla="*/ 51109 w 99379"/>
                <a:gd name="connsiteY1" fmla="*/ 43524 h 127773"/>
                <a:gd name="connsiteX2" fmla="*/ 75244 w 99379"/>
                <a:gd name="connsiteY2" fmla="*/ 15130 h 127773"/>
                <a:gd name="connsiteX3" fmla="*/ 92281 w 99379"/>
                <a:gd name="connsiteY3" fmla="*/ 2352 h 127773"/>
                <a:gd name="connsiteX4" fmla="*/ 75244 w 99379"/>
                <a:gd name="connsiteY4" fmla="*/ 54881 h 127773"/>
                <a:gd name="connsiteX5" fmla="*/ 106478 w 99379"/>
                <a:gd name="connsiteY5" fmla="*/ 73337 h 127773"/>
                <a:gd name="connsiteX6" fmla="*/ 72405 w 99379"/>
                <a:gd name="connsiteY6" fmla="*/ 127286 h 127773"/>
                <a:gd name="connsiteX7" fmla="*/ 31234 w 99379"/>
                <a:gd name="connsiteY7" fmla="*/ 94633 h 127773"/>
                <a:gd name="connsiteX8" fmla="*/ 0 w 99379"/>
                <a:gd name="connsiteY8" fmla="*/ 81856 h 127773"/>
                <a:gd name="connsiteX9" fmla="*/ 18456 w 99379"/>
                <a:gd name="connsiteY9" fmla="*/ 4636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79" h="127773">
                  <a:moveTo>
                    <a:pt x="18456" y="46363"/>
                  </a:moveTo>
                  <a:cubicBezTo>
                    <a:pt x="18456" y="46363"/>
                    <a:pt x="41171" y="54881"/>
                    <a:pt x="51109" y="43524"/>
                  </a:cubicBezTo>
                  <a:cubicBezTo>
                    <a:pt x="59628" y="35005"/>
                    <a:pt x="73825" y="19389"/>
                    <a:pt x="75244" y="15130"/>
                  </a:cubicBezTo>
                  <a:cubicBezTo>
                    <a:pt x="76664" y="10870"/>
                    <a:pt x="89441" y="-6166"/>
                    <a:pt x="92281" y="2352"/>
                  </a:cubicBezTo>
                  <a:cubicBezTo>
                    <a:pt x="95120" y="10870"/>
                    <a:pt x="80923" y="49202"/>
                    <a:pt x="75244" y="54881"/>
                  </a:cubicBezTo>
                  <a:cubicBezTo>
                    <a:pt x="69566" y="59140"/>
                    <a:pt x="102219" y="67659"/>
                    <a:pt x="106478" y="73337"/>
                  </a:cubicBezTo>
                  <a:cubicBezTo>
                    <a:pt x="110737" y="79016"/>
                    <a:pt x="93700" y="135804"/>
                    <a:pt x="72405" y="127286"/>
                  </a:cubicBezTo>
                  <a:cubicBezTo>
                    <a:pt x="51109" y="118768"/>
                    <a:pt x="34073" y="96053"/>
                    <a:pt x="31234" y="94633"/>
                  </a:cubicBezTo>
                  <a:cubicBezTo>
                    <a:pt x="25555" y="91794"/>
                    <a:pt x="0" y="81856"/>
                    <a:pt x="0" y="81856"/>
                  </a:cubicBezTo>
                  <a:lnTo>
                    <a:pt x="18456" y="46363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>
              <a:extLst>
                <a:ext uri="{FF2B5EF4-FFF2-40B4-BE49-F238E27FC236}">
                  <a16:creationId xmlns:a16="http://schemas.microsoft.com/office/drawing/2014/main" id="{9E104D57-632A-4F56-904D-A195701076CF}"/>
                </a:ext>
              </a:extLst>
            </p:cNvPr>
            <p:cNvSpPr/>
            <p:nvPr userDrawn="1"/>
          </p:nvSpPr>
          <p:spPr>
            <a:xfrm>
              <a:off x="6914119" y="4477403"/>
              <a:ext cx="99379" cy="85182"/>
            </a:xfrm>
            <a:custGeom>
              <a:avLst/>
              <a:gdLst>
                <a:gd name="connsiteX0" fmla="*/ 26974 w 99379"/>
                <a:gd name="connsiteY0" fmla="*/ 0 h 85182"/>
                <a:gd name="connsiteX1" fmla="*/ 95120 w 99379"/>
                <a:gd name="connsiteY1" fmla="*/ 35493 h 85182"/>
                <a:gd name="connsiteX2" fmla="*/ 89441 w 99379"/>
                <a:gd name="connsiteY2" fmla="*/ 42591 h 85182"/>
                <a:gd name="connsiteX3" fmla="*/ 25554 w 99379"/>
                <a:gd name="connsiteY3" fmla="*/ 15617 h 85182"/>
                <a:gd name="connsiteX4" fmla="*/ 100799 w 99379"/>
                <a:gd name="connsiteY4" fmla="*/ 68146 h 85182"/>
                <a:gd name="connsiteX5" fmla="*/ 96540 w 99379"/>
                <a:gd name="connsiteY5" fmla="*/ 76664 h 85182"/>
                <a:gd name="connsiteX6" fmla="*/ 19876 w 99379"/>
                <a:gd name="connsiteY6" fmla="*/ 32653 h 85182"/>
                <a:gd name="connsiteX7" fmla="*/ 88021 w 99379"/>
                <a:gd name="connsiteY7" fmla="*/ 82343 h 85182"/>
                <a:gd name="connsiteX8" fmla="*/ 79503 w 99379"/>
                <a:gd name="connsiteY8" fmla="*/ 89441 h 85182"/>
                <a:gd name="connsiteX9" fmla="*/ 9938 w 99379"/>
                <a:gd name="connsiteY9" fmla="*/ 48270 h 85182"/>
                <a:gd name="connsiteX10" fmla="*/ 55368 w 99379"/>
                <a:gd name="connsiteY10" fmla="*/ 89441 h 85182"/>
                <a:gd name="connsiteX11" fmla="*/ 41171 w 99379"/>
                <a:gd name="connsiteY11" fmla="*/ 89441 h 85182"/>
                <a:gd name="connsiteX12" fmla="*/ 0 w 99379"/>
                <a:gd name="connsiteY12" fmla="*/ 59627 h 85182"/>
                <a:gd name="connsiteX13" fmla="*/ 26974 w 99379"/>
                <a:gd name="connsiteY1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379" h="85182">
                  <a:moveTo>
                    <a:pt x="26974" y="0"/>
                  </a:moveTo>
                  <a:cubicBezTo>
                    <a:pt x="26974" y="0"/>
                    <a:pt x="92281" y="29814"/>
                    <a:pt x="95120" y="35493"/>
                  </a:cubicBezTo>
                  <a:cubicBezTo>
                    <a:pt x="97959" y="41171"/>
                    <a:pt x="96540" y="45430"/>
                    <a:pt x="89441" y="42591"/>
                  </a:cubicBezTo>
                  <a:cubicBezTo>
                    <a:pt x="83762" y="39752"/>
                    <a:pt x="25554" y="15617"/>
                    <a:pt x="25554" y="15617"/>
                  </a:cubicBezTo>
                  <a:cubicBezTo>
                    <a:pt x="25554" y="15617"/>
                    <a:pt x="96540" y="63887"/>
                    <a:pt x="100799" y="68146"/>
                  </a:cubicBezTo>
                  <a:cubicBezTo>
                    <a:pt x="102219" y="70985"/>
                    <a:pt x="99379" y="78084"/>
                    <a:pt x="96540" y="76664"/>
                  </a:cubicBezTo>
                  <a:cubicBezTo>
                    <a:pt x="93700" y="75244"/>
                    <a:pt x="19876" y="32653"/>
                    <a:pt x="19876" y="32653"/>
                  </a:cubicBezTo>
                  <a:cubicBezTo>
                    <a:pt x="19876" y="32653"/>
                    <a:pt x="86602" y="78084"/>
                    <a:pt x="88021" y="82343"/>
                  </a:cubicBezTo>
                  <a:cubicBezTo>
                    <a:pt x="89441" y="86602"/>
                    <a:pt x="85182" y="92281"/>
                    <a:pt x="79503" y="89441"/>
                  </a:cubicBezTo>
                  <a:cubicBezTo>
                    <a:pt x="73824" y="86602"/>
                    <a:pt x="9938" y="48270"/>
                    <a:pt x="9938" y="48270"/>
                  </a:cubicBezTo>
                  <a:cubicBezTo>
                    <a:pt x="9938" y="48270"/>
                    <a:pt x="55368" y="83762"/>
                    <a:pt x="55368" y="89441"/>
                  </a:cubicBezTo>
                  <a:cubicBezTo>
                    <a:pt x="55368" y="93700"/>
                    <a:pt x="52529" y="97959"/>
                    <a:pt x="41171" y="89441"/>
                  </a:cubicBezTo>
                  <a:cubicBezTo>
                    <a:pt x="29814" y="79503"/>
                    <a:pt x="0" y="59627"/>
                    <a:pt x="0" y="59627"/>
                  </a:cubicBezTo>
                  <a:lnTo>
                    <a:pt x="26974" y="0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>
              <a:extLst>
                <a:ext uri="{FF2B5EF4-FFF2-40B4-BE49-F238E27FC236}">
                  <a16:creationId xmlns:a16="http://schemas.microsoft.com/office/drawing/2014/main" id="{66452032-0EF7-438A-9AAD-343B1A8F6A86}"/>
                </a:ext>
              </a:extLst>
            </p:cNvPr>
            <p:cNvSpPr/>
            <p:nvPr userDrawn="1"/>
          </p:nvSpPr>
          <p:spPr>
            <a:xfrm>
              <a:off x="6527959" y="3979973"/>
              <a:ext cx="340728" cy="511093"/>
            </a:xfrm>
            <a:custGeom>
              <a:avLst/>
              <a:gdLst>
                <a:gd name="connsiteX0" fmla="*/ 134872 w 340728"/>
                <a:gd name="connsiteY0" fmla="*/ 179417 h 511092"/>
                <a:gd name="connsiteX1" fmla="*/ 178883 w 340728"/>
                <a:gd name="connsiteY1" fmla="*/ 344102 h 511092"/>
                <a:gd name="connsiteX2" fmla="*/ 207277 w 340728"/>
                <a:gd name="connsiteY2" fmla="*/ 369657 h 511092"/>
                <a:gd name="connsiteX3" fmla="*/ 349247 w 340728"/>
                <a:gd name="connsiteY3" fmla="*/ 473295 h 511092"/>
                <a:gd name="connsiteX4" fmla="*/ 320853 w 340728"/>
                <a:gd name="connsiteY4" fmla="*/ 524404 h 511092"/>
                <a:gd name="connsiteX5" fmla="*/ 217214 w 340728"/>
                <a:gd name="connsiteY5" fmla="*/ 464777 h 511092"/>
                <a:gd name="connsiteX6" fmla="*/ 120675 w 340728"/>
                <a:gd name="connsiteY6" fmla="*/ 396631 h 511092"/>
                <a:gd name="connsiteX7" fmla="*/ 29814 w 340728"/>
                <a:gd name="connsiteY7" fmla="*/ 168059 h 511092"/>
                <a:gd name="connsiteX8" fmla="*/ 14197 w 340728"/>
                <a:gd name="connsiteY8" fmla="*/ 99914 h 511092"/>
                <a:gd name="connsiteX9" fmla="*/ 0 w 340728"/>
                <a:gd name="connsiteY9" fmla="*/ 18991 h 511092"/>
                <a:gd name="connsiteX10" fmla="*/ 0 w 340728"/>
                <a:gd name="connsiteY10" fmla="*/ 14731 h 511092"/>
                <a:gd name="connsiteX11" fmla="*/ 0 w 340728"/>
                <a:gd name="connsiteY11" fmla="*/ 14731 h 511092"/>
                <a:gd name="connsiteX12" fmla="*/ 73825 w 340728"/>
                <a:gd name="connsiteY12" fmla="*/ 16151 h 511092"/>
                <a:gd name="connsiteX13" fmla="*/ 134872 w 340728"/>
                <a:gd name="connsiteY13" fmla="*/ 17941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0728" h="511092">
                  <a:moveTo>
                    <a:pt x="134872" y="179417"/>
                  </a:moveTo>
                  <a:cubicBezTo>
                    <a:pt x="147649" y="241884"/>
                    <a:pt x="173204" y="332745"/>
                    <a:pt x="178883" y="344102"/>
                  </a:cubicBezTo>
                  <a:cubicBezTo>
                    <a:pt x="181722" y="349781"/>
                    <a:pt x="193080" y="358299"/>
                    <a:pt x="207277" y="369657"/>
                  </a:cubicBezTo>
                  <a:cubicBezTo>
                    <a:pt x="228572" y="388113"/>
                    <a:pt x="349247" y="473295"/>
                    <a:pt x="349247" y="473295"/>
                  </a:cubicBezTo>
                  <a:cubicBezTo>
                    <a:pt x="349247" y="494591"/>
                    <a:pt x="320853" y="524404"/>
                    <a:pt x="320853" y="524404"/>
                  </a:cubicBezTo>
                  <a:cubicBezTo>
                    <a:pt x="300977" y="511627"/>
                    <a:pt x="261225" y="488912"/>
                    <a:pt x="217214" y="464777"/>
                  </a:cubicBezTo>
                  <a:cubicBezTo>
                    <a:pt x="167525" y="437803"/>
                    <a:pt x="130613" y="410828"/>
                    <a:pt x="120675" y="396631"/>
                  </a:cubicBezTo>
                  <a:cubicBezTo>
                    <a:pt x="103638" y="369657"/>
                    <a:pt x="41171" y="207811"/>
                    <a:pt x="29814" y="168059"/>
                  </a:cubicBezTo>
                  <a:cubicBezTo>
                    <a:pt x="25555" y="152443"/>
                    <a:pt x="19876" y="125468"/>
                    <a:pt x="14197" y="99914"/>
                  </a:cubicBezTo>
                  <a:cubicBezTo>
                    <a:pt x="8518" y="65841"/>
                    <a:pt x="2840" y="30348"/>
                    <a:pt x="0" y="18991"/>
                  </a:cubicBezTo>
                  <a:cubicBezTo>
                    <a:pt x="0" y="16151"/>
                    <a:pt x="0" y="16151"/>
                    <a:pt x="0" y="14731"/>
                  </a:cubicBezTo>
                  <a:cubicBezTo>
                    <a:pt x="0" y="14731"/>
                    <a:pt x="0" y="14731"/>
                    <a:pt x="0" y="14731"/>
                  </a:cubicBezTo>
                  <a:cubicBezTo>
                    <a:pt x="0" y="14731"/>
                    <a:pt x="25555" y="-19341"/>
                    <a:pt x="73825" y="16151"/>
                  </a:cubicBezTo>
                  <a:cubicBezTo>
                    <a:pt x="73825" y="16151"/>
                    <a:pt x="107897" y="50224"/>
                    <a:pt x="134872" y="179417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>
              <a:extLst>
                <a:ext uri="{FF2B5EF4-FFF2-40B4-BE49-F238E27FC236}">
                  <a16:creationId xmlns:a16="http://schemas.microsoft.com/office/drawing/2014/main" id="{26E708A0-2D9B-4D26-9275-F9DCCDF74DF6}"/>
                </a:ext>
              </a:extLst>
            </p:cNvPr>
            <p:cNvSpPr/>
            <p:nvPr userDrawn="1"/>
          </p:nvSpPr>
          <p:spPr>
            <a:xfrm>
              <a:off x="6689806" y="5229846"/>
              <a:ext cx="127773" cy="113576"/>
            </a:xfrm>
            <a:custGeom>
              <a:avLst/>
              <a:gdLst>
                <a:gd name="connsiteX0" fmla="*/ 68146 w 127773"/>
                <a:gd name="connsiteY0" fmla="*/ 124934 h 113576"/>
                <a:gd name="connsiteX1" fmla="*/ 0 w 127773"/>
                <a:gd name="connsiteY1" fmla="*/ 62467 h 113576"/>
                <a:gd name="connsiteX2" fmla="*/ 68146 w 127773"/>
                <a:gd name="connsiteY2" fmla="*/ 0 h 113576"/>
                <a:gd name="connsiteX3" fmla="*/ 136291 w 127773"/>
                <a:gd name="connsiteY3" fmla="*/ 62467 h 113576"/>
                <a:gd name="connsiteX4" fmla="*/ 68146 w 127773"/>
                <a:gd name="connsiteY4" fmla="*/ 124934 h 113576"/>
                <a:gd name="connsiteX5" fmla="*/ 68146 w 127773"/>
                <a:gd name="connsiteY5" fmla="*/ 14197 h 113576"/>
                <a:gd name="connsiteX6" fmla="*/ 15617 w 127773"/>
                <a:gd name="connsiteY6" fmla="*/ 62467 h 113576"/>
                <a:gd name="connsiteX7" fmla="*/ 68146 w 127773"/>
                <a:gd name="connsiteY7" fmla="*/ 110737 h 113576"/>
                <a:gd name="connsiteX8" fmla="*/ 120675 w 127773"/>
                <a:gd name="connsiteY8" fmla="*/ 62467 h 113576"/>
                <a:gd name="connsiteX9" fmla="*/ 68146 w 127773"/>
                <a:gd name="connsiteY9" fmla="*/ 14197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773" h="113576">
                  <a:moveTo>
                    <a:pt x="68146" y="124934"/>
                  </a:moveTo>
                  <a:cubicBezTo>
                    <a:pt x="31233" y="124934"/>
                    <a:pt x="0" y="96540"/>
                    <a:pt x="0" y="62467"/>
                  </a:cubicBezTo>
                  <a:cubicBezTo>
                    <a:pt x="0" y="28394"/>
                    <a:pt x="29814" y="0"/>
                    <a:pt x="68146" y="0"/>
                  </a:cubicBezTo>
                  <a:cubicBezTo>
                    <a:pt x="105058" y="0"/>
                    <a:pt x="136291" y="28394"/>
                    <a:pt x="136291" y="62467"/>
                  </a:cubicBezTo>
                  <a:cubicBezTo>
                    <a:pt x="136291" y="97959"/>
                    <a:pt x="105058" y="124934"/>
                    <a:pt x="68146" y="124934"/>
                  </a:cubicBezTo>
                  <a:close/>
                  <a:moveTo>
                    <a:pt x="68146" y="14197"/>
                  </a:moveTo>
                  <a:cubicBezTo>
                    <a:pt x="39752" y="14197"/>
                    <a:pt x="15617" y="35493"/>
                    <a:pt x="15617" y="62467"/>
                  </a:cubicBezTo>
                  <a:cubicBezTo>
                    <a:pt x="15617" y="89441"/>
                    <a:pt x="39752" y="110737"/>
                    <a:pt x="68146" y="110737"/>
                  </a:cubicBezTo>
                  <a:cubicBezTo>
                    <a:pt x="96540" y="110737"/>
                    <a:pt x="120675" y="89441"/>
                    <a:pt x="120675" y="62467"/>
                  </a:cubicBezTo>
                  <a:cubicBezTo>
                    <a:pt x="120675" y="35493"/>
                    <a:pt x="96540" y="14197"/>
                    <a:pt x="68146" y="14197"/>
                  </a:cubicBezTo>
                  <a:close/>
                </a:path>
              </a:pathLst>
            </a:custGeom>
            <a:solidFill>
              <a:srgbClr val="E8586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>
              <a:extLst>
                <a:ext uri="{FF2B5EF4-FFF2-40B4-BE49-F238E27FC236}">
                  <a16:creationId xmlns:a16="http://schemas.microsoft.com/office/drawing/2014/main" id="{99CB4295-FCD6-438E-96D6-1DD530F6E819}"/>
                </a:ext>
              </a:extLst>
            </p:cNvPr>
            <p:cNvSpPr/>
            <p:nvPr userDrawn="1"/>
          </p:nvSpPr>
          <p:spPr>
            <a:xfrm>
              <a:off x="6587587" y="5513786"/>
              <a:ext cx="326531" cy="156167"/>
            </a:xfrm>
            <a:custGeom>
              <a:avLst/>
              <a:gdLst>
                <a:gd name="connsiteX0" fmla="*/ 0 w 326531"/>
                <a:gd name="connsiteY0" fmla="*/ 0 h 156167"/>
                <a:gd name="connsiteX1" fmla="*/ 339309 w 326531"/>
                <a:gd name="connsiteY1" fmla="*/ 0 h 156167"/>
                <a:gd name="connsiteX2" fmla="*/ 339309 w 326531"/>
                <a:gd name="connsiteY2" fmla="*/ 168945 h 156167"/>
                <a:gd name="connsiteX3" fmla="*/ 0 w 326531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31" h="156167">
                  <a:moveTo>
                    <a:pt x="0" y="0"/>
                  </a:moveTo>
                  <a:lnTo>
                    <a:pt x="339309" y="0"/>
                  </a:lnTo>
                  <a:lnTo>
                    <a:pt x="33930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AD425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>
              <a:extLst>
                <a:ext uri="{FF2B5EF4-FFF2-40B4-BE49-F238E27FC236}">
                  <a16:creationId xmlns:a16="http://schemas.microsoft.com/office/drawing/2014/main" id="{49341469-EFE4-4AE9-9595-1FB06351FD54}"/>
                </a:ext>
              </a:extLst>
            </p:cNvPr>
            <p:cNvSpPr/>
            <p:nvPr userDrawn="1"/>
          </p:nvSpPr>
          <p:spPr>
            <a:xfrm>
              <a:off x="6602573" y="5263912"/>
              <a:ext cx="312334" cy="440108"/>
            </a:xfrm>
            <a:custGeom>
              <a:avLst/>
              <a:gdLst>
                <a:gd name="connsiteX0" fmla="*/ 631 w 312334"/>
                <a:gd name="connsiteY0" fmla="*/ 451472 h 440107"/>
                <a:gd name="connsiteX1" fmla="*/ 631 w 312334"/>
                <a:gd name="connsiteY1" fmla="*/ 208702 h 440107"/>
                <a:gd name="connsiteX2" fmla="*/ 156798 w 312334"/>
                <a:gd name="connsiteY2" fmla="*/ 6 h 440107"/>
                <a:gd name="connsiteX3" fmla="*/ 312965 w 312334"/>
                <a:gd name="connsiteY3" fmla="*/ 208702 h 440107"/>
                <a:gd name="connsiteX4" fmla="*/ 312965 w 312334"/>
                <a:gd name="connsiteY4" fmla="*/ 451472 h 440107"/>
                <a:gd name="connsiteX5" fmla="*/ 631 w 312334"/>
                <a:gd name="connsiteY5" fmla="*/ 45147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34" h="440107">
                  <a:moveTo>
                    <a:pt x="631" y="451472"/>
                  </a:moveTo>
                  <a:cubicBezTo>
                    <a:pt x="631" y="451472"/>
                    <a:pt x="-789" y="413140"/>
                    <a:pt x="631" y="208702"/>
                  </a:cubicBezTo>
                  <a:cubicBezTo>
                    <a:pt x="2051" y="-4253"/>
                    <a:pt x="156798" y="6"/>
                    <a:pt x="156798" y="6"/>
                  </a:cubicBezTo>
                  <a:cubicBezTo>
                    <a:pt x="156798" y="6"/>
                    <a:pt x="311546" y="-2833"/>
                    <a:pt x="312965" y="208702"/>
                  </a:cubicBezTo>
                  <a:cubicBezTo>
                    <a:pt x="314385" y="413140"/>
                    <a:pt x="312965" y="451472"/>
                    <a:pt x="312965" y="451472"/>
                  </a:cubicBezTo>
                  <a:lnTo>
                    <a:pt x="631" y="451472"/>
                  </a:lnTo>
                  <a:close/>
                </a:path>
              </a:pathLst>
            </a:custGeom>
            <a:solidFill>
              <a:srgbClr val="F55D7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>
              <a:extLst>
                <a:ext uri="{FF2B5EF4-FFF2-40B4-BE49-F238E27FC236}">
                  <a16:creationId xmlns:a16="http://schemas.microsoft.com/office/drawing/2014/main" id="{6D789371-6A22-45FD-A258-BC3C07C1E7F2}"/>
                </a:ext>
              </a:extLst>
            </p:cNvPr>
            <p:cNvSpPr/>
            <p:nvPr userDrawn="1"/>
          </p:nvSpPr>
          <p:spPr>
            <a:xfrm>
              <a:off x="6638696" y="5513786"/>
              <a:ext cx="241349" cy="156167"/>
            </a:xfrm>
            <a:custGeom>
              <a:avLst/>
              <a:gdLst>
                <a:gd name="connsiteX0" fmla="*/ 0 w 241349"/>
                <a:gd name="connsiteY0" fmla="*/ 0 h 156167"/>
                <a:gd name="connsiteX1" fmla="*/ 241349 w 241349"/>
                <a:gd name="connsiteY1" fmla="*/ 0 h 156167"/>
                <a:gd name="connsiteX2" fmla="*/ 241349 w 241349"/>
                <a:gd name="connsiteY2" fmla="*/ 168945 h 156167"/>
                <a:gd name="connsiteX3" fmla="*/ 0 w 241349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156167">
                  <a:moveTo>
                    <a:pt x="0" y="0"/>
                  </a:moveTo>
                  <a:lnTo>
                    <a:pt x="241349" y="0"/>
                  </a:lnTo>
                  <a:lnTo>
                    <a:pt x="24134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FF61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>
              <a:extLst>
                <a:ext uri="{FF2B5EF4-FFF2-40B4-BE49-F238E27FC236}">
                  <a16:creationId xmlns:a16="http://schemas.microsoft.com/office/drawing/2014/main" id="{E46BA61B-8F02-4D97-BF7F-CF7DCC77A212}"/>
                </a:ext>
              </a:extLst>
            </p:cNvPr>
            <p:cNvSpPr/>
            <p:nvPr userDrawn="1"/>
          </p:nvSpPr>
          <p:spPr>
            <a:xfrm>
              <a:off x="6638696" y="5513786"/>
              <a:ext cx="241349" cy="42591"/>
            </a:xfrm>
            <a:custGeom>
              <a:avLst/>
              <a:gdLst>
                <a:gd name="connsiteX0" fmla="*/ 0 w 241349"/>
                <a:gd name="connsiteY0" fmla="*/ 0 h 42591"/>
                <a:gd name="connsiteX1" fmla="*/ 241349 w 241349"/>
                <a:gd name="connsiteY1" fmla="*/ 0 h 42591"/>
                <a:gd name="connsiteX2" fmla="*/ 241349 w 241349"/>
                <a:gd name="connsiteY2" fmla="*/ 46850 h 42591"/>
                <a:gd name="connsiteX3" fmla="*/ 0 w 241349"/>
                <a:gd name="connsiteY3" fmla="*/ 4685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42591">
                  <a:moveTo>
                    <a:pt x="0" y="0"/>
                  </a:moveTo>
                  <a:lnTo>
                    <a:pt x="241349" y="0"/>
                  </a:lnTo>
                  <a:lnTo>
                    <a:pt x="241349" y="46850"/>
                  </a:lnTo>
                  <a:lnTo>
                    <a:pt x="0" y="46850"/>
                  </a:lnTo>
                  <a:close/>
                </a:path>
              </a:pathLst>
            </a:custGeom>
            <a:solidFill>
              <a:srgbClr val="C24A5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>
              <a:extLst>
                <a:ext uri="{FF2B5EF4-FFF2-40B4-BE49-F238E27FC236}">
                  <a16:creationId xmlns:a16="http://schemas.microsoft.com/office/drawing/2014/main" id="{D4EE91BC-99ED-4E2F-9918-7D65238211DF}"/>
                </a:ext>
              </a:extLst>
            </p:cNvPr>
            <p:cNvSpPr/>
            <p:nvPr userDrawn="1"/>
          </p:nvSpPr>
          <p:spPr>
            <a:xfrm>
              <a:off x="6046540" y="5583922"/>
              <a:ext cx="212955" cy="127773"/>
            </a:xfrm>
            <a:custGeom>
              <a:avLst/>
              <a:gdLst>
                <a:gd name="connsiteX0" fmla="*/ 169084 w 212955"/>
                <a:gd name="connsiteY0" fmla="*/ 17886 h 127773"/>
                <a:gd name="connsiteX1" fmla="*/ 143530 w 212955"/>
                <a:gd name="connsiteY1" fmla="*/ 849 h 127773"/>
                <a:gd name="connsiteX2" fmla="*/ 123654 w 212955"/>
                <a:gd name="connsiteY2" fmla="*/ 3689 h 127773"/>
                <a:gd name="connsiteX3" fmla="*/ 103778 w 212955"/>
                <a:gd name="connsiteY3" fmla="*/ 29243 h 127773"/>
                <a:gd name="connsiteX4" fmla="*/ 48410 w 212955"/>
                <a:gd name="connsiteY4" fmla="*/ 76093 h 127773"/>
                <a:gd name="connsiteX5" fmla="*/ 140 w 212955"/>
                <a:gd name="connsiteY5" fmla="*/ 100228 h 127773"/>
                <a:gd name="connsiteX6" fmla="*/ 96680 w 212955"/>
                <a:gd name="connsiteY6" fmla="*/ 130042 h 127773"/>
                <a:gd name="connsiteX7" fmla="*/ 183282 w 212955"/>
                <a:gd name="connsiteY7" fmla="*/ 103068 h 127773"/>
                <a:gd name="connsiteX8" fmla="*/ 213095 w 212955"/>
                <a:gd name="connsiteY8" fmla="*/ 59057 h 127773"/>
                <a:gd name="connsiteX9" fmla="*/ 186121 w 212955"/>
                <a:gd name="connsiteY9" fmla="*/ 12207 h 127773"/>
                <a:gd name="connsiteX10" fmla="*/ 169084 w 212955"/>
                <a:gd name="connsiteY10" fmla="*/ 1788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955" h="127773">
                  <a:moveTo>
                    <a:pt x="169084" y="17886"/>
                  </a:moveTo>
                  <a:cubicBezTo>
                    <a:pt x="169084" y="17886"/>
                    <a:pt x="152048" y="2269"/>
                    <a:pt x="143530" y="849"/>
                  </a:cubicBezTo>
                  <a:cubicBezTo>
                    <a:pt x="135012" y="-571"/>
                    <a:pt x="126493" y="-571"/>
                    <a:pt x="123654" y="3689"/>
                  </a:cubicBezTo>
                  <a:cubicBezTo>
                    <a:pt x="119395" y="7948"/>
                    <a:pt x="109457" y="23564"/>
                    <a:pt x="103778" y="29243"/>
                  </a:cubicBezTo>
                  <a:cubicBezTo>
                    <a:pt x="98099" y="34922"/>
                    <a:pt x="56928" y="73254"/>
                    <a:pt x="48410" y="76093"/>
                  </a:cubicBezTo>
                  <a:cubicBezTo>
                    <a:pt x="38472" y="78933"/>
                    <a:pt x="-2699" y="76093"/>
                    <a:pt x="140" y="100228"/>
                  </a:cubicBezTo>
                  <a:cubicBezTo>
                    <a:pt x="2979" y="124363"/>
                    <a:pt x="35633" y="134301"/>
                    <a:pt x="96680" y="130042"/>
                  </a:cubicBezTo>
                  <a:cubicBezTo>
                    <a:pt x="156307" y="124363"/>
                    <a:pt x="149209" y="110166"/>
                    <a:pt x="183282" y="103068"/>
                  </a:cubicBezTo>
                  <a:cubicBezTo>
                    <a:pt x="217354" y="95969"/>
                    <a:pt x="218774" y="78933"/>
                    <a:pt x="213095" y="59057"/>
                  </a:cubicBezTo>
                  <a:cubicBezTo>
                    <a:pt x="207417" y="39181"/>
                    <a:pt x="183282" y="17886"/>
                    <a:pt x="186121" y="12207"/>
                  </a:cubicBezTo>
                  <a:cubicBezTo>
                    <a:pt x="186121" y="6528"/>
                    <a:pt x="169084" y="17886"/>
                    <a:pt x="169084" y="17886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>
              <a:extLst>
                <a:ext uri="{FF2B5EF4-FFF2-40B4-BE49-F238E27FC236}">
                  <a16:creationId xmlns:a16="http://schemas.microsoft.com/office/drawing/2014/main" id="{F6FA11B2-A12A-45F6-B3CA-FF28BB419B04}"/>
                </a:ext>
              </a:extLst>
            </p:cNvPr>
            <p:cNvSpPr/>
            <p:nvPr userDrawn="1"/>
          </p:nvSpPr>
          <p:spPr>
            <a:xfrm>
              <a:off x="6165935" y="3781749"/>
              <a:ext cx="127773" cy="141970"/>
            </a:xfrm>
            <a:custGeom>
              <a:avLst/>
              <a:gdLst>
                <a:gd name="connsiteX0" fmla="*/ 58208 w 127773"/>
                <a:gd name="connsiteY0" fmla="*/ 149069 h 141970"/>
                <a:gd name="connsiteX1" fmla="*/ 136291 w 127773"/>
                <a:gd name="connsiteY1" fmla="*/ 32653 h 141970"/>
                <a:gd name="connsiteX2" fmla="*/ 66726 w 127773"/>
                <a:gd name="connsiteY2" fmla="*/ 0 h 141970"/>
                <a:gd name="connsiteX3" fmla="*/ 0 w 127773"/>
                <a:gd name="connsiteY3" fmla="*/ 116416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773" h="141970">
                  <a:moveTo>
                    <a:pt x="58208" y="149069"/>
                  </a:moveTo>
                  <a:lnTo>
                    <a:pt x="136291" y="32653"/>
                  </a:lnTo>
                  <a:lnTo>
                    <a:pt x="66726" y="0"/>
                  </a:lnTo>
                  <a:lnTo>
                    <a:pt x="0" y="116416"/>
                  </a:lnTo>
                  <a:close/>
                </a:path>
              </a:pathLst>
            </a:custGeom>
            <a:solidFill>
              <a:srgbClr val="5157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>
              <a:extLst>
                <a:ext uri="{FF2B5EF4-FFF2-40B4-BE49-F238E27FC236}">
                  <a16:creationId xmlns:a16="http://schemas.microsoft.com/office/drawing/2014/main" id="{A34F92B2-F97E-4C87-ABBB-4284577C959D}"/>
                </a:ext>
              </a:extLst>
            </p:cNvPr>
            <p:cNvSpPr/>
            <p:nvPr userDrawn="1"/>
          </p:nvSpPr>
          <p:spPr>
            <a:xfrm>
              <a:off x="6173034" y="3791687"/>
              <a:ext cx="113576" cy="127773"/>
            </a:xfrm>
            <a:custGeom>
              <a:avLst/>
              <a:gdLst>
                <a:gd name="connsiteX0" fmla="*/ 51109 w 113576"/>
                <a:gd name="connsiteY0" fmla="*/ 129193 h 127773"/>
                <a:gd name="connsiteX1" fmla="*/ 119255 w 113576"/>
                <a:gd name="connsiteY1" fmla="*/ 28394 h 127773"/>
                <a:gd name="connsiteX2" fmla="*/ 58208 w 113576"/>
                <a:gd name="connsiteY2" fmla="*/ 0 h 127773"/>
                <a:gd name="connsiteX3" fmla="*/ 0 w 113576"/>
                <a:gd name="connsiteY3" fmla="*/ 100799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51109" y="129193"/>
                  </a:moveTo>
                  <a:lnTo>
                    <a:pt x="119255" y="28394"/>
                  </a:lnTo>
                  <a:lnTo>
                    <a:pt x="58208" y="0"/>
                  </a:lnTo>
                  <a:lnTo>
                    <a:pt x="0" y="100799"/>
                  </a:lnTo>
                  <a:close/>
                </a:path>
              </a:pathLst>
            </a:custGeom>
            <a:solidFill>
              <a:srgbClr val="D5CAE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>
              <a:extLst>
                <a:ext uri="{FF2B5EF4-FFF2-40B4-BE49-F238E27FC236}">
                  <a16:creationId xmlns:a16="http://schemas.microsoft.com/office/drawing/2014/main" id="{8A974BEB-5B0D-4CD7-B116-6EF5F6E3D0BF}"/>
                </a:ext>
              </a:extLst>
            </p:cNvPr>
            <p:cNvSpPr/>
            <p:nvPr userDrawn="1"/>
          </p:nvSpPr>
          <p:spPr>
            <a:xfrm>
              <a:off x="6166784" y="3902424"/>
              <a:ext cx="56788" cy="56788"/>
            </a:xfrm>
            <a:custGeom>
              <a:avLst/>
              <a:gdLst>
                <a:gd name="connsiteX0" fmla="*/ 571 w 56788"/>
                <a:gd name="connsiteY0" fmla="*/ 44011 h 56788"/>
                <a:gd name="connsiteX1" fmla="*/ 6250 w 56788"/>
                <a:gd name="connsiteY1" fmla="*/ 21296 h 56788"/>
                <a:gd name="connsiteX2" fmla="*/ 3411 w 56788"/>
                <a:gd name="connsiteY2" fmla="*/ 0 h 56788"/>
                <a:gd name="connsiteX3" fmla="*/ 68717 w 56788"/>
                <a:gd name="connsiteY3" fmla="*/ 35493 h 56788"/>
                <a:gd name="connsiteX4" fmla="*/ 41742 w 56788"/>
                <a:gd name="connsiteY4" fmla="*/ 68146 h 56788"/>
                <a:gd name="connsiteX5" fmla="*/ 571 w 56788"/>
                <a:gd name="connsiteY5" fmla="*/ 44011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571" y="44011"/>
                  </a:moveTo>
                  <a:cubicBezTo>
                    <a:pt x="571" y="44011"/>
                    <a:pt x="14768" y="36912"/>
                    <a:pt x="6250" y="21296"/>
                  </a:cubicBezTo>
                  <a:cubicBezTo>
                    <a:pt x="-2268" y="5679"/>
                    <a:pt x="3411" y="0"/>
                    <a:pt x="3411" y="0"/>
                  </a:cubicBezTo>
                  <a:lnTo>
                    <a:pt x="68717" y="35493"/>
                  </a:lnTo>
                  <a:cubicBezTo>
                    <a:pt x="68717" y="35493"/>
                    <a:pt x="48841" y="65306"/>
                    <a:pt x="41742" y="68146"/>
                  </a:cubicBezTo>
                  <a:cubicBezTo>
                    <a:pt x="33224" y="69565"/>
                    <a:pt x="-5108" y="55368"/>
                    <a:pt x="571" y="44011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>
              <a:extLst>
                <a:ext uri="{FF2B5EF4-FFF2-40B4-BE49-F238E27FC236}">
                  <a16:creationId xmlns:a16="http://schemas.microsoft.com/office/drawing/2014/main" id="{0281BA27-3826-4BE3-A550-41DD2F17B59C}"/>
                </a:ext>
              </a:extLst>
            </p:cNvPr>
            <p:cNvSpPr/>
            <p:nvPr userDrawn="1"/>
          </p:nvSpPr>
          <p:spPr>
            <a:xfrm>
              <a:off x="6208127" y="3871649"/>
              <a:ext cx="70985" cy="56788"/>
            </a:xfrm>
            <a:custGeom>
              <a:avLst/>
              <a:gdLst>
                <a:gd name="connsiteX0" fmla="*/ 27374 w 70985"/>
                <a:gd name="connsiteY0" fmla="*/ 64848 h 56788"/>
                <a:gd name="connsiteX1" fmla="*/ 57187 w 70985"/>
                <a:gd name="connsiteY1" fmla="*/ 33614 h 56788"/>
                <a:gd name="connsiteX2" fmla="*/ 74224 w 70985"/>
                <a:gd name="connsiteY2" fmla="*/ 3801 h 56788"/>
                <a:gd name="connsiteX3" fmla="*/ 50089 w 70985"/>
                <a:gd name="connsiteY3" fmla="*/ 12319 h 56788"/>
                <a:gd name="connsiteX4" fmla="*/ 35892 w 70985"/>
                <a:gd name="connsiteY4" fmla="*/ 29355 h 56788"/>
                <a:gd name="connsiteX5" fmla="*/ 399 w 70985"/>
                <a:gd name="connsiteY5" fmla="*/ 50651 h 56788"/>
                <a:gd name="connsiteX6" fmla="*/ 27374 w 70985"/>
                <a:gd name="connsiteY6" fmla="*/ 6484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56788">
                  <a:moveTo>
                    <a:pt x="27374" y="64848"/>
                  </a:moveTo>
                  <a:cubicBezTo>
                    <a:pt x="27374" y="64848"/>
                    <a:pt x="54348" y="37873"/>
                    <a:pt x="57187" y="33614"/>
                  </a:cubicBezTo>
                  <a:cubicBezTo>
                    <a:pt x="60027" y="29355"/>
                    <a:pt x="69965" y="13738"/>
                    <a:pt x="74224" y="3801"/>
                  </a:cubicBezTo>
                  <a:cubicBezTo>
                    <a:pt x="78483" y="-4718"/>
                    <a:pt x="55768" y="2381"/>
                    <a:pt x="50089" y="12319"/>
                  </a:cubicBezTo>
                  <a:cubicBezTo>
                    <a:pt x="45830" y="22257"/>
                    <a:pt x="40151" y="26516"/>
                    <a:pt x="35892" y="29355"/>
                  </a:cubicBezTo>
                  <a:cubicBezTo>
                    <a:pt x="31633" y="32195"/>
                    <a:pt x="3239" y="40713"/>
                    <a:pt x="399" y="50651"/>
                  </a:cubicBezTo>
                  <a:cubicBezTo>
                    <a:pt x="-3860" y="59169"/>
                    <a:pt x="27374" y="64848"/>
                    <a:pt x="27374" y="64848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>
              <a:extLst>
                <a:ext uri="{FF2B5EF4-FFF2-40B4-BE49-F238E27FC236}">
                  <a16:creationId xmlns:a16="http://schemas.microsoft.com/office/drawing/2014/main" id="{E325E561-EE53-46BA-A6CD-C278D69FDF91}"/>
                </a:ext>
              </a:extLst>
            </p:cNvPr>
            <p:cNvSpPr/>
            <p:nvPr userDrawn="1"/>
          </p:nvSpPr>
          <p:spPr>
            <a:xfrm>
              <a:off x="6172424" y="3870337"/>
              <a:ext cx="14197" cy="14197"/>
            </a:xfrm>
            <a:custGeom>
              <a:avLst/>
              <a:gdLst>
                <a:gd name="connsiteX0" fmla="*/ 4870 w 0"/>
                <a:gd name="connsiteY0" fmla="*/ 17890 h 14197"/>
                <a:gd name="connsiteX1" fmla="*/ 11968 w 0"/>
                <a:gd name="connsiteY1" fmla="*/ 15050 h 14197"/>
                <a:gd name="connsiteX2" fmla="*/ 3450 w 0"/>
                <a:gd name="connsiteY2" fmla="*/ 853 h 14197"/>
                <a:gd name="connsiteX3" fmla="*/ 4870 w 0"/>
                <a:gd name="connsiteY3" fmla="*/ 17890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4870" y="17890"/>
                  </a:moveTo>
                  <a:cubicBezTo>
                    <a:pt x="4870" y="17890"/>
                    <a:pt x="10548" y="22149"/>
                    <a:pt x="11968" y="15050"/>
                  </a:cubicBezTo>
                  <a:cubicBezTo>
                    <a:pt x="13388" y="9372"/>
                    <a:pt x="10548" y="-3406"/>
                    <a:pt x="3450" y="853"/>
                  </a:cubicBezTo>
                  <a:cubicBezTo>
                    <a:pt x="-5068" y="6532"/>
                    <a:pt x="4870" y="17890"/>
                    <a:pt x="4870" y="17890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>
              <a:extLst>
                <a:ext uri="{FF2B5EF4-FFF2-40B4-BE49-F238E27FC236}">
                  <a16:creationId xmlns:a16="http://schemas.microsoft.com/office/drawing/2014/main" id="{9F629155-EC09-44C3-9BBC-A8911823EFDC}"/>
                </a:ext>
              </a:extLst>
            </p:cNvPr>
            <p:cNvSpPr/>
            <p:nvPr userDrawn="1"/>
          </p:nvSpPr>
          <p:spPr>
            <a:xfrm>
              <a:off x="6181705" y="3852418"/>
              <a:ext cx="14197" cy="14197"/>
            </a:xfrm>
            <a:custGeom>
              <a:avLst/>
              <a:gdLst>
                <a:gd name="connsiteX0" fmla="*/ 1267 w 0"/>
                <a:gd name="connsiteY0" fmla="*/ 15933 h 14197"/>
                <a:gd name="connsiteX1" fmla="*/ 8366 w 0"/>
                <a:gd name="connsiteY1" fmla="*/ 20193 h 14197"/>
                <a:gd name="connsiteX2" fmla="*/ 4107 w 0"/>
                <a:gd name="connsiteY2" fmla="*/ 317 h 14197"/>
                <a:gd name="connsiteX3" fmla="*/ 1267 w 0"/>
                <a:gd name="connsiteY3" fmla="*/ 15933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933"/>
                  </a:moveTo>
                  <a:cubicBezTo>
                    <a:pt x="1267" y="15933"/>
                    <a:pt x="5526" y="24452"/>
                    <a:pt x="8366" y="20193"/>
                  </a:cubicBezTo>
                  <a:cubicBezTo>
                    <a:pt x="12625" y="14514"/>
                    <a:pt x="12625" y="-2523"/>
                    <a:pt x="4107" y="317"/>
                  </a:cubicBezTo>
                  <a:cubicBezTo>
                    <a:pt x="-2992" y="3156"/>
                    <a:pt x="1267" y="15933"/>
                    <a:pt x="1267" y="15933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>
              <a:extLst>
                <a:ext uri="{FF2B5EF4-FFF2-40B4-BE49-F238E27FC236}">
                  <a16:creationId xmlns:a16="http://schemas.microsoft.com/office/drawing/2014/main" id="{C6BF561F-347F-483A-BB44-3863C8EA5547}"/>
                </a:ext>
              </a:extLst>
            </p:cNvPr>
            <p:cNvSpPr/>
            <p:nvPr userDrawn="1"/>
          </p:nvSpPr>
          <p:spPr>
            <a:xfrm>
              <a:off x="6191643" y="3835438"/>
              <a:ext cx="14197" cy="14197"/>
            </a:xfrm>
            <a:custGeom>
              <a:avLst/>
              <a:gdLst>
                <a:gd name="connsiteX0" fmla="*/ 1267 w 0"/>
                <a:gd name="connsiteY0" fmla="*/ 15876 h 14197"/>
                <a:gd name="connsiteX1" fmla="*/ 8366 w 0"/>
                <a:gd name="connsiteY1" fmla="*/ 22975 h 14197"/>
                <a:gd name="connsiteX2" fmla="*/ 4107 w 0"/>
                <a:gd name="connsiteY2" fmla="*/ 260 h 14197"/>
                <a:gd name="connsiteX3" fmla="*/ 1267 w 0"/>
                <a:gd name="connsiteY3" fmla="*/ 1587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876"/>
                  </a:moveTo>
                  <a:cubicBezTo>
                    <a:pt x="1267" y="15876"/>
                    <a:pt x="4107" y="27234"/>
                    <a:pt x="8366" y="22975"/>
                  </a:cubicBezTo>
                  <a:cubicBezTo>
                    <a:pt x="12625" y="18716"/>
                    <a:pt x="12625" y="-2580"/>
                    <a:pt x="4107" y="260"/>
                  </a:cubicBezTo>
                  <a:cubicBezTo>
                    <a:pt x="-2992" y="3099"/>
                    <a:pt x="1267" y="15876"/>
                    <a:pt x="1267" y="15876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>
              <a:extLst>
                <a:ext uri="{FF2B5EF4-FFF2-40B4-BE49-F238E27FC236}">
                  <a16:creationId xmlns:a16="http://schemas.microsoft.com/office/drawing/2014/main" id="{15515A12-3288-41F5-A7D5-AC3EA0795D13}"/>
                </a:ext>
              </a:extLst>
            </p:cNvPr>
            <p:cNvSpPr/>
            <p:nvPr userDrawn="1"/>
          </p:nvSpPr>
          <p:spPr>
            <a:xfrm>
              <a:off x="6073512" y="3945708"/>
              <a:ext cx="269743" cy="298137"/>
            </a:xfrm>
            <a:custGeom>
              <a:avLst/>
              <a:gdLst>
                <a:gd name="connsiteX0" fmla="*/ 278405 w 269743"/>
                <a:gd name="connsiteY0" fmla="*/ 19183 h 298137"/>
                <a:gd name="connsiteX1" fmla="*/ 265627 w 269743"/>
                <a:gd name="connsiteY1" fmla="*/ 64614 h 298137"/>
                <a:gd name="connsiteX2" fmla="*/ 230135 w 269743"/>
                <a:gd name="connsiteY2" fmla="*/ 193807 h 298137"/>
                <a:gd name="connsiteX3" fmla="*/ 201741 w 269743"/>
                <a:gd name="connsiteY3" fmla="*/ 216522 h 298137"/>
                <a:gd name="connsiteX4" fmla="*/ 73968 w 269743"/>
                <a:gd name="connsiteY4" fmla="*/ 304544 h 298137"/>
                <a:gd name="connsiteX5" fmla="*/ 143 w 269743"/>
                <a:gd name="connsiteY5" fmla="*/ 270471 h 298137"/>
                <a:gd name="connsiteX6" fmla="*/ 88165 w 269743"/>
                <a:gd name="connsiteY6" fmla="*/ 2147 h 298137"/>
                <a:gd name="connsiteX7" fmla="*/ 146372 w 269743"/>
                <a:gd name="connsiteY7" fmla="*/ 7826 h 298137"/>
                <a:gd name="connsiteX8" fmla="*/ 99522 w 269743"/>
                <a:gd name="connsiteY8" fmla="*/ 190967 h 298137"/>
                <a:gd name="connsiteX9" fmla="*/ 159150 w 269743"/>
                <a:gd name="connsiteY9" fmla="*/ 129920 h 298137"/>
                <a:gd name="connsiteX10" fmla="*/ 230135 w 269743"/>
                <a:gd name="connsiteY10" fmla="*/ 57515 h 298137"/>
                <a:gd name="connsiteX11" fmla="*/ 271306 w 269743"/>
                <a:gd name="connsiteY11" fmla="*/ 22023 h 298137"/>
                <a:gd name="connsiteX12" fmla="*/ 278405 w 269743"/>
                <a:gd name="connsiteY12" fmla="*/ 19183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9743" h="298137">
                  <a:moveTo>
                    <a:pt x="278405" y="19183"/>
                  </a:moveTo>
                  <a:lnTo>
                    <a:pt x="265627" y="64614"/>
                  </a:lnTo>
                  <a:lnTo>
                    <a:pt x="230135" y="193807"/>
                  </a:lnTo>
                  <a:cubicBezTo>
                    <a:pt x="230135" y="193807"/>
                    <a:pt x="218777" y="203745"/>
                    <a:pt x="201741" y="216522"/>
                  </a:cubicBezTo>
                  <a:cubicBezTo>
                    <a:pt x="164828" y="246336"/>
                    <a:pt x="83905" y="300284"/>
                    <a:pt x="73968" y="304544"/>
                  </a:cubicBezTo>
                  <a:cubicBezTo>
                    <a:pt x="62610" y="308803"/>
                    <a:pt x="4402" y="310222"/>
                    <a:pt x="143" y="270471"/>
                  </a:cubicBezTo>
                  <a:cubicBezTo>
                    <a:pt x="-4116" y="230719"/>
                    <a:pt x="88165" y="2147"/>
                    <a:pt x="88165" y="2147"/>
                  </a:cubicBezTo>
                  <a:cubicBezTo>
                    <a:pt x="116559" y="-4952"/>
                    <a:pt x="146372" y="7826"/>
                    <a:pt x="146372" y="7826"/>
                  </a:cubicBezTo>
                  <a:lnTo>
                    <a:pt x="99522" y="190967"/>
                  </a:lnTo>
                  <a:cubicBezTo>
                    <a:pt x="99522" y="190967"/>
                    <a:pt x="132175" y="169672"/>
                    <a:pt x="159150" y="129920"/>
                  </a:cubicBezTo>
                  <a:cubicBezTo>
                    <a:pt x="173347" y="110044"/>
                    <a:pt x="203160" y="80231"/>
                    <a:pt x="230135" y="57515"/>
                  </a:cubicBezTo>
                  <a:cubicBezTo>
                    <a:pt x="248591" y="41899"/>
                    <a:pt x="264208" y="29121"/>
                    <a:pt x="271306" y="22023"/>
                  </a:cubicBezTo>
                  <a:cubicBezTo>
                    <a:pt x="276985" y="20603"/>
                    <a:pt x="278405" y="19183"/>
                    <a:pt x="278405" y="19183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>
              <a:extLst>
                <a:ext uri="{FF2B5EF4-FFF2-40B4-BE49-F238E27FC236}">
                  <a16:creationId xmlns:a16="http://schemas.microsoft.com/office/drawing/2014/main" id="{F009ECA0-25F7-4381-9BB2-7D06BF976CB0}"/>
                </a:ext>
              </a:extLst>
            </p:cNvPr>
            <p:cNvSpPr/>
            <p:nvPr userDrawn="1"/>
          </p:nvSpPr>
          <p:spPr>
            <a:xfrm>
              <a:off x="6193003" y="3688049"/>
              <a:ext cx="170364" cy="354926"/>
            </a:xfrm>
            <a:custGeom>
              <a:avLst/>
              <a:gdLst>
                <a:gd name="connsiteX0" fmla="*/ 55275 w 170364"/>
                <a:gd name="connsiteY0" fmla="*/ 0 h 354925"/>
                <a:gd name="connsiteX1" fmla="*/ 1327 w 170364"/>
                <a:gd name="connsiteY1" fmla="*/ 100799 h 354925"/>
                <a:gd name="connsiteX2" fmla="*/ 92188 w 170364"/>
                <a:gd name="connsiteY2" fmla="*/ 275422 h 354925"/>
                <a:gd name="connsiteX3" fmla="*/ 72312 w 170364"/>
                <a:gd name="connsiteY3" fmla="*/ 354926 h 354925"/>
                <a:gd name="connsiteX4" fmla="*/ 173111 w 170364"/>
                <a:gd name="connsiteY4" fmla="*/ 265484 h 354925"/>
                <a:gd name="connsiteX5" fmla="*/ 55275 w 170364"/>
                <a:gd name="connsiteY5" fmla="*/ 0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64" h="354925">
                  <a:moveTo>
                    <a:pt x="55275" y="0"/>
                  </a:moveTo>
                  <a:cubicBezTo>
                    <a:pt x="55275" y="0"/>
                    <a:pt x="-10031" y="41171"/>
                    <a:pt x="1327" y="100799"/>
                  </a:cubicBezTo>
                  <a:cubicBezTo>
                    <a:pt x="19783" y="191660"/>
                    <a:pt x="86509" y="217214"/>
                    <a:pt x="92188" y="275422"/>
                  </a:cubicBezTo>
                  <a:cubicBezTo>
                    <a:pt x="97866" y="333630"/>
                    <a:pt x="72312" y="354926"/>
                    <a:pt x="72312" y="354926"/>
                  </a:cubicBezTo>
                  <a:lnTo>
                    <a:pt x="173111" y="265484"/>
                  </a:lnTo>
                  <a:lnTo>
                    <a:pt x="55275" y="0"/>
                  </a:ln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>
              <a:extLst>
                <a:ext uri="{FF2B5EF4-FFF2-40B4-BE49-F238E27FC236}">
                  <a16:creationId xmlns:a16="http://schemas.microsoft.com/office/drawing/2014/main" id="{675F583F-1CED-469B-9FF5-7FFF147421F5}"/>
                </a:ext>
              </a:extLst>
            </p:cNvPr>
            <p:cNvSpPr/>
            <p:nvPr userDrawn="1"/>
          </p:nvSpPr>
          <p:spPr>
            <a:xfrm>
              <a:off x="6334880" y="3847013"/>
              <a:ext cx="113576" cy="255546"/>
            </a:xfrm>
            <a:custGeom>
              <a:avLst/>
              <a:gdLst>
                <a:gd name="connsiteX0" fmla="*/ 119255 w 113576"/>
                <a:gd name="connsiteY0" fmla="*/ 90904 h 255546"/>
                <a:gd name="connsiteX1" fmla="*/ 41171 w 113576"/>
                <a:gd name="connsiteY1" fmla="*/ 261268 h 255546"/>
                <a:gd name="connsiteX2" fmla="*/ 11358 w 113576"/>
                <a:gd name="connsiteY2" fmla="*/ 146272 h 255546"/>
                <a:gd name="connsiteX3" fmla="*/ 14197 w 113576"/>
                <a:gd name="connsiteY3" fmla="*/ 126396 h 255546"/>
                <a:gd name="connsiteX4" fmla="*/ 2839 w 113576"/>
                <a:gd name="connsiteY4" fmla="*/ 83805 h 255546"/>
                <a:gd name="connsiteX5" fmla="*/ 0 w 113576"/>
                <a:gd name="connsiteY5" fmla="*/ 76707 h 255546"/>
                <a:gd name="connsiteX6" fmla="*/ 75244 w 113576"/>
                <a:gd name="connsiteY6" fmla="*/ 18499 h 255546"/>
                <a:gd name="connsiteX7" fmla="*/ 119255 w 113576"/>
                <a:gd name="connsiteY7" fmla="*/ 9090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" h="255546">
                  <a:moveTo>
                    <a:pt x="119255" y="90904"/>
                  </a:moveTo>
                  <a:cubicBezTo>
                    <a:pt x="110737" y="183184"/>
                    <a:pt x="61047" y="251330"/>
                    <a:pt x="41171" y="261268"/>
                  </a:cubicBezTo>
                  <a:cubicBezTo>
                    <a:pt x="21296" y="271206"/>
                    <a:pt x="0" y="164728"/>
                    <a:pt x="11358" y="146272"/>
                  </a:cubicBezTo>
                  <a:cubicBezTo>
                    <a:pt x="14197" y="140593"/>
                    <a:pt x="14197" y="133495"/>
                    <a:pt x="14197" y="126396"/>
                  </a:cubicBezTo>
                  <a:cubicBezTo>
                    <a:pt x="12777" y="110780"/>
                    <a:pt x="5679" y="93743"/>
                    <a:pt x="2839" y="83805"/>
                  </a:cubicBezTo>
                  <a:cubicBezTo>
                    <a:pt x="1420" y="79546"/>
                    <a:pt x="0" y="76707"/>
                    <a:pt x="0" y="76707"/>
                  </a:cubicBezTo>
                  <a:cubicBezTo>
                    <a:pt x="0" y="76707"/>
                    <a:pt x="62467" y="-45388"/>
                    <a:pt x="75244" y="18499"/>
                  </a:cubicBezTo>
                  <a:cubicBezTo>
                    <a:pt x="88021" y="82385"/>
                    <a:pt x="119255" y="90904"/>
                    <a:pt x="119255" y="90904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>
              <a:extLst>
                <a:ext uri="{FF2B5EF4-FFF2-40B4-BE49-F238E27FC236}">
                  <a16:creationId xmlns:a16="http://schemas.microsoft.com/office/drawing/2014/main" id="{3C7B76B7-283B-4557-9552-ABCF9D023AE6}"/>
                </a:ext>
              </a:extLst>
            </p:cNvPr>
            <p:cNvSpPr/>
            <p:nvPr userDrawn="1"/>
          </p:nvSpPr>
          <p:spPr>
            <a:xfrm>
              <a:off x="6336300" y="3903844"/>
              <a:ext cx="56788" cy="56788"/>
            </a:xfrm>
            <a:custGeom>
              <a:avLst/>
              <a:gdLst>
                <a:gd name="connsiteX0" fmla="*/ 56788 w 56788"/>
                <a:gd name="connsiteY0" fmla="*/ 0 h 56788"/>
                <a:gd name="connsiteX1" fmla="*/ 11358 w 56788"/>
                <a:gd name="connsiteY1" fmla="*/ 68146 h 56788"/>
                <a:gd name="connsiteX2" fmla="*/ 0 w 56788"/>
                <a:gd name="connsiteY2" fmla="*/ 25555 h 56788"/>
                <a:gd name="connsiteX3" fmla="*/ 56788 w 56788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788" h="56788">
                  <a:moveTo>
                    <a:pt x="56788" y="0"/>
                  </a:moveTo>
                  <a:cubicBezTo>
                    <a:pt x="56788" y="1420"/>
                    <a:pt x="41171" y="49690"/>
                    <a:pt x="11358" y="68146"/>
                  </a:cubicBezTo>
                  <a:cubicBezTo>
                    <a:pt x="9938" y="52529"/>
                    <a:pt x="2840" y="35493"/>
                    <a:pt x="0" y="25555"/>
                  </a:cubicBezTo>
                  <a:lnTo>
                    <a:pt x="56788" y="0"/>
                  </a:lnTo>
                  <a:close/>
                </a:path>
              </a:pathLst>
            </a:custGeom>
            <a:solidFill>
              <a:srgbClr val="C48A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>
              <a:extLst>
                <a:ext uri="{FF2B5EF4-FFF2-40B4-BE49-F238E27FC236}">
                  <a16:creationId xmlns:a16="http://schemas.microsoft.com/office/drawing/2014/main" id="{7EFAD33B-A2F2-4D1B-82D2-8006F7E88F86}"/>
                </a:ext>
              </a:extLst>
            </p:cNvPr>
            <p:cNvSpPr/>
            <p:nvPr userDrawn="1"/>
          </p:nvSpPr>
          <p:spPr>
            <a:xfrm>
              <a:off x="6218465" y="3692308"/>
              <a:ext cx="184561" cy="255546"/>
            </a:xfrm>
            <a:custGeom>
              <a:avLst/>
              <a:gdLst>
                <a:gd name="connsiteX0" fmla="*/ 0 w 184561"/>
                <a:gd name="connsiteY0" fmla="*/ 26974 h 255546"/>
                <a:gd name="connsiteX1" fmla="*/ 44011 w 184561"/>
                <a:gd name="connsiteY1" fmla="*/ 205857 h 255546"/>
                <a:gd name="connsiteX2" fmla="*/ 168944 w 184561"/>
                <a:gd name="connsiteY2" fmla="*/ 221474 h 255546"/>
                <a:gd name="connsiteX3" fmla="*/ 149069 w 184561"/>
                <a:gd name="connsiteY3" fmla="*/ 0 h 255546"/>
                <a:gd name="connsiteX4" fmla="*/ 0 w 184561"/>
                <a:gd name="connsiteY4" fmla="*/ 2697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61" h="255546">
                  <a:moveTo>
                    <a:pt x="0" y="26974"/>
                  </a:moveTo>
                  <a:cubicBezTo>
                    <a:pt x="0" y="26974"/>
                    <a:pt x="7099" y="150488"/>
                    <a:pt x="44011" y="205857"/>
                  </a:cubicBezTo>
                  <a:cubicBezTo>
                    <a:pt x="103638" y="293878"/>
                    <a:pt x="130613" y="264065"/>
                    <a:pt x="168944" y="221474"/>
                  </a:cubicBezTo>
                  <a:cubicBezTo>
                    <a:pt x="222893" y="159007"/>
                    <a:pt x="149069" y="0"/>
                    <a:pt x="149069" y="0"/>
                  </a:cubicBezTo>
                  <a:lnTo>
                    <a:pt x="0" y="26974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>
              <a:extLst>
                <a:ext uri="{FF2B5EF4-FFF2-40B4-BE49-F238E27FC236}">
                  <a16:creationId xmlns:a16="http://schemas.microsoft.com/office/drawing/2014/main" id="{49C35534-B912-472D-A750-BEA28994BC78}"/>
                </a:ext>
              </a:extLst>
            </p:cNvPr>
            <p:cNvSpPr/>
            <p:nvPr userDrawn="1"/>
          </p:nvSpPr>
          <p:spPr>
            <a:xfrm>
              <a:off x="6199907" y="3665899"/>
              <a:ext cx="212955" cy="227152"/>
            </a:xfrm>
            <a:custGeom>
              <a:avLst/>
              <a:gdLst>
                <a:gd name="connsiteX0" fmla="*/ 15718 w 212955"/>
                <a:gd name="connsiteY0" fmla="*/ 152763 h 227152"/>
                <a:gd name="connsiteX1" fmla="*/ 110839 w 212955"/>
                <a:gd name="connsiteY1" fmla="*/ 128628 h 227152"/>
                <a:gd name="connsiteX2" fmla="*/ 203119 w 212955"/>
                <a:gd name="connsiteY2" fmla="*/ 228007 h 227152"/>
                <a:gd name="connsiteX3" fmla="*/ 193181 w 212955"/>
                <a:gd name="connsiteY3" fmla="*/ 53384 h 227152"/>
                <a:gd name="connsiteX4" fmla="*/ 54051 w 212955"/>
                <a:gd name="connsiteY4" fmla="*/ 13632 h 227152"/>
                <a:gd name="connsiteX5" fmla="*/ 15718 w 212955"/>
                <a:gd name="connsiteY5" fmla="*/ 152763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227152">
                  <a:moveTo>
                    <a:pt x="15718" y="152763"/>
                  </a:moveTo>
                  <a:cubicBezTo>
                    <a:pt x="15718" y="152763"/>
                    <a:pt x="55470" y="162701"/>
                    <a:pt x="110839" y="128628"/>
                  </a:cubicBezTo>
                  <a:cubicBezTo>
                    <a:pt x="166207" y="94555"/>
                    <a:pt x="188922" y="223748"/>
                    <a:pt x="203119" y="228007"/>
                  </a:cubicBezTo>
                  <a:cubicBezTo>
                    <a:pt x="215896" y="230846"/>
                    <a:pt x="224415" y="87456"/>
                    <a:pt x="193181" y="53384"/>
                  </a:cubicBezTo>
                  <a:cubicBezTo>
                    <a:pt x="163368" y="19311"/>
                    <a:pt x="107999" y="-21861"/>
                    <a:pt x="54051" y="13632"/>
                  </a:cubicBezTo>
                  <a:cubicBezTo>
                    <a:pt x="-4157" y="49124"/>
                    <a:pt x="-12676" y="100234"/>
                    <a:pt x="15718" y="152763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>
              <a:extLst>
                <a:ext uri="{FF2B5EF4-FFF2-40B4-BE49-F238E27FC236}">
                  <a16:creationId xmlns:a16="http://schemas.microsoft.com/office/drawing/2014/main" id="{1303ED06-7305-4608-B16C-08F1B7FD63E3}"/>
                </a:ext>
              </a:extLst>
            </p:cNvPr>
            <p:cNvSpPr/>
            <p:nvPr userDrawn="1"/>
          </p:nvSpPr>
          <p:spPr>
            <a:xfrm>
              <a:off x="6230750" y="3660956"/>
              <a:ext cx="298137" cy="298137"/>
            </a:xfrm>
            <a:custGeom>
              <a:avLst/>
              <a:gdLst>
                <a:gd name="connsiteX0" fmla="*/ 492 w 298137"/>
                <a:gd name="connsiteY0" fmla="*/ 37031 h 298137"/>
                <a:gd name="connsiteX1" fmla="*/ 81415 w 298137"/>
                <a:gd name="connsiteY1" fmla="*/ 118 h 298137"/>
                <a:gd name="connsiteX2" fmla="*/ 209188 w 298137"/>
                <a:gd name="connsiteY2" fmla="*/ 140669 h 298137"/>
                <a:gd name="connsiteX3" fmla="*/ 301468 w 298137"/>
                <a:gd name="connsiteY3" fmla="*/ 296836 h 298137"/>
                <a:gd name="connsiteX4" fmla="*/ 179374 w 298137"/>
                <a:gd name="connsiteY4" fmla="*/ 248566 h 298137"/>
                <a:gd name="connsiteX5" fmla="*/ 135363 w 298137"/>
                <a:gd name="connsiteY5" fmla="*/ 163384 h 298137"/>
                <a:gd name="connsiteX6" fmla="*/ 33145 w 298137"/>
                <a:gd name="connsiteY6" fmla="*/ 61166 h 298137"/>
                <a:gd name="connsiteX7" fmla="*/ 492 w 298137"/>
                <a:gd name="connsiteY7" fmla="*/ 37031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137" h="298137">
                  <a:moveTo>
                    <a:pt x="492" y="37031"/>
                  </a:moveTo>
                  <a:cubicBezTo>
                    <a:pt x="492" y="37031"/>
                    <a:pt x="20367" y="2958"/>
                    <a:pt x="81415" y="118"/>
                  </a:cubicBezTo>
                  <a:cubicBezTo>
                    <a:pt x="128265" y="-2721"/>
                    <a:pt x="200670" y="45549"/>
                    <a:pt x="209188" y="140669"/>
                  </a:cubicBezTo>
                  <a:cubicBezTo>
                    <a:pt x="219126" y="262763"/>
                    <a:pt x="275914" y="285479"/>
                    <a:pt x="301468" y="296836"/>
                  </a:cubicBezTo>
                  <a:cubicBezTo>
                    <a:pt x="327023" y="308194"/>
                    <a:pt x="213447" y="301095"/>
                    <a:pt x="179374" y="248566"/>
                  </a:cubicBezTo>
                  <a:cubicBezTo>
                    <a:pt x="163757" y="224431"/>
                    <a:pt x="142462" y="188939"/>
                    <a:pt x="135363" y="163384"/>
                  </a:cubicBezTo>
                  <a:cubicBezTo>
                    <a:pt x="128265" y="137830"/>
                    <a:pt x="72896" y="42709"/>
                    <a:pt x="33145" y="61166"/>
                  </a:cubicBezTo>
                  <a:cubicBezTo>
                    <a:pt x="-6607" y="79622"/>
                    <a:pt x="492" y="37031"/>
                    <a:pt x="492" y="37031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>
              <a:extLst>
                <a:ext uri="{FF2B5EF4-FFF2-40B4-BE49-F238E27FC236}">
                  <a16:creationId xmlns:a16="http://schemas.microsoft.com/office/drawing/2014/main" id="{92E5CC88-227D-499F-88AC-4EA1DB027E0B}"/>
                </a:ext>
              </a:extLst>
            </p:cNvPr>
            <p:cNvSpPr/>
            <p:nvPr userDrawn="1"/>
          </p:nvSpPr>
          <p:spPr>
            <a:xfrm>
              <a:off x="6355320" y="3804242"/>
              <a:ext cx="28394" cy="42591"/>
            </a:xfrm>
            <a:custGeom>
              <a:avLst/>
              <a:gdLst>
                <a:gd name="connsiteX0" fmla="*/ 856 w 28394"/>
                <a:gd name="connsiteY0" fmla="*/ 24358 h 42591"/>
                <a:gd name="connsiteX1" fmla="*/ 27830 w 28394"/>
                <a:gd name="connsiteY1" fmla="*/ 4482 h 42591"/>
                <a:gd name="connsiteX2" fmla="*/ 19312 w 28394"/>
                <a:gd name="connsiteY2" fmla="*/ 54172 h 42591"/>
                <a:gd name="connsiteX3" fmla="*/ 856 w 28394"/>
                <a:gd name="connsiteY3" fmla="*/ 24358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856" y="24358"/>
                  </a:moveTo>
                  <a:cubicBezTo>
                    <a:pt x="-4823" y="8741"/>
                    <a:pt x="19312" y="-8295"/>
                    <a:pt x="27830" y="4482"/>
                  </a:cubicBezTo>
                  <a:cubicBezTo>
                    <a:pt x="36348" y="15840"/>
                    <a:pt x="33509" y="58431"/>
                    <a:pt x="19312" y="54172"/>
                  </a:cubicBezTo>
                  <a:cubicBezTo>
                    <a:pt x="5115" y="48493"/>
                    <a:pt x="856" y="24358"/>
                    <a:pt x="856" y="24358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>
              <a:extLst>
                <a:ext uri="{FF2B5EF4-FFF2-40B4-BE49-F238E27FC236}">
                  <a16:creationId xmlns:a16="http://schemas.microsoft.com/office/drawing/2014/main" id="{6C2FAE13-F237-4E04-89CD-A5A7B0AE1A86}"/>
                </a:ext>
              </a:extLst>
            </p:cNvPr>
            <p:cNvSpPr/>
            <p:nvPr userDrawn="1"/>
          </p:nvSpPr>
          <p:spPr>
            <a:xfrm>
              <a:off x="6276938" y="3969150"/>
              <a:ext cx="70985" cy="695654"/>
            </a:xfrm>
            <a:custGeom>
              <a:avLst/>
              <a:gdLst>
                <a:gd name="connsiteX0" fmla="*/ 70719 w 70985"/>
                <a:gd name="connsiteY0" fmla="*/ 0 h 695654"/>
                <a:gd name="connsiteX1" fmla="*/ 69299 w 70985"/>
                <a:gd name="connsiteY1" fmla="*/ 39752 h 695654"/>
                <a:gd name="connsiteX2" fmla="*/ 45164 w 70985"/>
                <a:gd name="connsiteY2" fmla="*/ 184561 h 695654"/>
                <a:gd name="connsiteX3" fmla="*/ 35226 w 70985"/>
                <a:gd name="connsiteY3" fmla="*/ 657322 h 695654"/>
                <a:gd name="connsiteX4" fmla="*/ 9672 w 70985"/>
                <a:gd name="connsiteY4" fmla="*/ 701333 h 695654"/>
                <a:gd name="connsiteX5" fmla="*/ 16770 w 70985"/>
                <a:gd name="connsiteY5" fmla="*/ 296718 h 695654"/>
                <a:gd name="connsiteX6" fmla="*/ 1154 w 70985"/>
                <a:gd name="connsiteY6" fmla="*/ 195919 h 695654"/>
                <a:gd name="connsiteX7" fmla="*/ 22449 w 70985"/>
                <a:gd name="connsiteY7" fmla="*/ 46850 h 695654"/>
                <a:gd name="connsiteX8" fmla="*/ 70719 w 70985"/>
                <a:gd name="connsiteY8" fmla="*/ 0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85" h="695654">
                  <a:moveTo>
                    <a:pt x="70719" y="0"/>
                  </a:moveTo>
                  <a:cubicBezTo>
                    <a:pt x="70719" y="0"/>
                    <a:pt x="73558" y="14197"/>
                    <a:pt x="69299" y="39752"/>
                  </a:cubicBezTo>
                  <a:cubicBezTo>
                    <a:pt x="62201" y="79503"/>
                    <a:pt x="46584" y="140551"/>
                    <a:pt x="45164" y="184561"/>
                  </a:cubicBezTo>
                  <a:cubicBezTo>
                    <a:pt x="42325" y="256966"/>
                    <a:pt x="84916" y="380480"/>
                    <a:pt x="35226" y="657322"/>
                  </a:cubicBezTo>
                  <a:cubicBezTo>
                    <a:pt x="26708" y="671519"/>
                    <a:pt x="18190" y="685716"/>
                    <a:pt x="9672" y="701333"/>
                  </a:cubicBezTo>
                  <a:cubicBezTo>
                    <a:pt x="9672" y="698493"/>
                    <a:pt x="46584" y="376221"/>
                    <a:pt x="16770" y="296718"/>
                  </a:cubicBezTo>
                  <a:cubicBezTo>
                    <a:pt x="-266" y="252707"/>
                    <a:pt x="-1686" y="254127"/>
                    <a:pt x="1154" y="195919"/>
                  </a:cubicBezTo>
                  <a:cubicBezTo>
                    <a:pt x="2573" y="150488"/>
                    <a:pt x="3993" y="107897"/>
                    <a:pt x="22449" y="46850"/>
                  </a:cubicBezTo>
                  <a:cubicBezTo>
                    <a:pt x="39485" y="28394"/>
                    <a:pt x="63620" y="5679"/>
                    <a:pt x="70719" y="0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>
              <a:extLst>
                <a:ext uri="{FF2B5EF4-FFF2-40B4-BE49-F238E27FC236}">
                  <a16:creationId xmlns:a16="http://schemas.microsoft.com/office/drawing/2014/main" id="{A56FB0E9-4324-40EB-B17A-A2BFB2B6A2EE}"/>
                </a:ext>
              </a:extLst>
            </p:cNvPr>
            <p:cNvSpPr/>
            <p:nvPr userDrawn="1"/>
          </p:nvSpPr>
          <p:spPr>
            <a:xfrm>
              <a:off x="6155998" y="4118219"/>
              <a:ext cx="42591" cy="70985"/>
            </a:xfrm>
            <a:custGeom>
              <a:avLst/>
              <a:gdLst>
                <a:gd name="connsiteX0" fmla="*/ 19876 w 42591"/>
                <a:gd name="connsiteY0" fmla="*/ 18456 h 70985"/>
                <a:gd name="connsiteX1" fmla="*/ 0 w 42591"/>
                <a:gd name="connsiteY1" fmla="*/ 79503 h 70985"/>
                <a:gd name="connsiteX2" fmla="*/ 42591 w 42591"/>
                <a:gd name="connsiteY2" fmla="*/ 0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91" h="70985">
                  <a:moveTo>
                    <a:pt x="19876" y="18456"/>
                  </a:moveTo>
                  <a:lnTo>
                    <a:pt x="0" y="79503"/>
                  </a:lnTo>
                  <a:lnTo>
                    <a:pt x="42591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>
              <a:extLst>
                <a:ext uri="{FF2B5EF4-FFF2-40B4-BE49-F238E27FC236}">
                  <a16:creationId xmlns:a16="http://schemas.microsoft.com/office/drawing/2014/main" id="{A39549E6-9844-4F54-B4E4-DBBE86CDF917}"/>
                </a:ext>
              </a:extLst>
            </p:cNvPr>
            <p:cNvSpPr/>
            <p:nvPr userDrawn="1"/>
          </p:nvSpPr>
          <p:spPr>
            <a:xfrm>
              <a:off x="6466912" y="3493550"/>
              <a:ext cx="269743" cy="241349"/>
            </a:xfrm>
            <a:custGeom>
              <a:avLst/>
              <a:gdLst>
                <a:gd name="connsiteX0" fmla="*/ 278261 w 269743"/>
                <a:gd name="connsiteY0" fmla="*/ 0 h 241349"/>
                <a:gd name="connsiteX1" fmla="*/ 0 w 269743"/>
                <a:gd name="connsiteY1" fmla="*/ 0 h 241349"/>
                <a:gd name="connsiteX2" fmla="*/ 0 w 269743"/>
                <a:gd name="connsiteY2" fmla="*/ 201598 h 241349"/>
                <a:gd name="connsiteX3" fmla="*/ 0 w 269743"/>
                <a:gd name="connsiteY3" fmla="*/ 244189 h 241349"/>
                <a:gd name="connsiteX4" fmla="*/ 42591 w 269743"/>
                <a:gd name="connsiteY4" fmla="*/ 201598 h 241349"/>
                <a:gd name="connsiteX5" fmla="*/ 278261 w 269743"/>
                <a:gd name="connsiteY5" fmla="*/ 20159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43" h="241349">
                  <a:moveTo>
                    <a:pt x="278261" y="0"/>
                  </a:moveTo>
                  <a:lnTo>
                    <a:pt x="0" y="0"/>
                  </a:lnTo>
                  <a:lnTo>
                    <a:pt x="0" y="201598"/>
                  </a:lnTo>
                  <a:lnTo>
                    <a:pt x="0" y="244189"/>
                  </a:lnTo>
                  <a:lnTo>
                    <a:pt x="42591" y="201598"/>
                  </a:lnTo>
                  <a:lnTo>
                    <a:pt x="278261" y="201598"/>
                  </a:lnTo>
                  <a:close/>
                </a:path>
              </a:pathLst>
            </a:custGeom>
            <a:solidFill>
              <a:srgbClr val="FFFFF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0" name="任意多边形: 形状 10069">
              <a:extLst>
                <a:ext uri="{FF2B5EF4-FFF2-40B4-BE49-F238E27FC236}">
                  <a16:creationId xmlns:a16="http://schemas.microsoft.com/office/drawing/2014/main" id="{2431BA82-C0B9-4B81-9E43-9F88B0F06D68}"/>
                </a:ext>
              </a:extLst>
            </p:cNvPr>
            <p:cNvSpPr/>
            <p:nvPr userDrawn="1"/>
          </p:nvSpPr>
          <p:spPr>
            <a:xfrm>
              <a:off x="8723671" y="5319645"/>
              <a:ext cx="198758" cy="99379"/>
            </a:xfrm>
            <a:custGeom>
              <a:avLst/>
              <a:gdLst>
                <a:gd name="connsiteX0" fmla="*/ 84330 w 198758"/>
                <a:gd name="connsiteY0" fmla="*/ 6740 h 99379"/>
                <a:gd name="connsiteX1" fmla="*/ 152476 w 198758"/>
                <a:gd name="connsiteY1" fmla="*/ 49331 h 99379"/>
                <a:gd name="connsiteX2" fmla="*/ 210684 w 198758"/>
                <a:gd name="connsiteY2" fmla="*/ 86243 h 99379"/>
                <a:gd name="connsiteX3" fmla="*/ 72973 w 198758"/>
                <a:gd name="connsiteY3" fmla="*/ 99021 h 99379"/>
                <a:gd name="connsiteX4" fmla="*/ 1988 w 198758"/>
                <a:gd name="connsiteY4" fmla="*/ 62108 h 99379"/>
                <a:gd name="connsiteX5" fmla="*/ 9086 w 198758"/>
                <a:gd name="connsiteY5" fmla="*/ 1061 h 99379"/>
                <a:gd name="connsiteX6" fmla="*/ 84330 w 198758"/>
                <a:gd name="connsiteY6" fmla="*/ 6740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58" h="99379">
                  <a:moveTo>
                    <a:pt x="84330" y="6740"/>
                  </a:moveTo>
                  <a:cubicBezTo>
                    <a:pt x="84330" y="6740"/>
                    <a:pt x="118403" y="42233"/>
                    <a:pt x="152476" y="49331"/>
                  </a:cubicBezTo>
                  <a:cubicBezTo>
                    <a:pt x="186549" y="56430"/>
                    <a:pt x="210684" y="66367"/>
                    <a:pt x="210684" y="86243"/>
                  </a:cubicBezTo>
                  <a:cubicBezTo>
                    <a:pt x="210684" y="106119"/>
                    <a:pt x="111304" y="120316"/>
                    <a:pt x="72973" y="99021"/>
                  </a:cubicBezTo>
                  <a:cubicBezTo>
                    <a:pt x="14765" y="67787"/>
                    <a:pt x="9086" y="77725"/>
                    <a:pt x="1988" y="62108"/>
                  </a:cubicBezTo>
                  <a:cubicBezTo>
                    <a:pt x="-5111" y="46492"/>
                    <a:pt x="9086" y="5320"/>
                    <a:pt x="9086" y="1061"/>
                  </a:cubicBezTo>
                  <a:cubicBezTo>
                    <a:pt x="9086" y="-3198"/>
                    <a:pt x="84330" y="6740"/>
                    <a:pt x="84330" y="674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1" name="任意多边形: 形状 10070">
              <a:extLst>
                <a:ext uri="{FF2B5EF4-FFF2-40B4-BE49-F238E27FC236}">
                  <a16:creationId xmlns:a16="http://schemas.microsoft.com/office/drawing/2014/main" id="{24B85199-0349-47EC-9D07-DD57623C0563}"/>
                </a:ext>
              </a:extLst>
            </p:cNvPr>
            <p:cNvSpPr/>
            <p:nvPr userDrawn="1"/>
          </p:nvSpPr>
          <p:spPr>
            <a:xfrm>
              <a:off x="8734157" y="5299411"/>
              <a:ext cx="70985" cy="28394"/>
            </a:xfrm>
            <a:custGeom>
              <a:avLst/>
              <a:gdLst>
                <a:gd name="connsiteX0" fmla="*/ 71005 w 70985"/>
                <a:gd name="connsiteY0" fmla="*/ 9938 h 28394"/>
                <a:gd name="connsiteX1" fmla="*/ 75264 w 70985"/>
                <a:gd name="connsiteY1" fmla="*/ 26974 h 28394"/>
                <a:gd name="connsiteX2" fmla="*/ 19 w 70985"/>
                <a:gd name="connsiteY2" fmla="*/ 22715 h 28394"/>
                <a:gd name="connsiteX3" fmla="*/ 4279 w 70985"/>
                <a:gd name="connsiteY3" fmla="*/ 0 h 28394"/>
                <a:gd name="connsiteX4" fmla="*/ 71005 w 70985"/>
                <a:gd name="connsiteY4" fmla="*/ 993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1005" y="9938"/>
                  </a:moveTo>
                  <a:cubicBezTo>
                    <a:pt x="71005" y="9938"/>
                    <a:pt x="75264" y="26974"/>
                    <a:pt x="75264" y="26974"/>
                  </a:cubicBezTo>
                  <a:cubicBezTo>
                    <a:pt x="75264" y="26974"/>
                    <a:pt x="-1400" y="35493"/>
                    <a:pt x="19" y="22715"/>
                  </a:cubicBezTo>
                  <a:cubicBezTo>
                    <a:pt x="1439" y="11358"/>
                    <a:pt x="4279" y="0"/>
                    <a:pt x="4279" y="0"/>
                  </a:cubicBezTo>
                  <a:lnTo>
                    <a:pt x="71005" y="9938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2" name="任意多边形: 形状 10071">
              <a:extLst>
                <a:ext uri="{FF2B5EF4-FFF2-40B4-BE49-F238E27FC236}">
                  <a16:creationId xmlns:a16="http://schemas.microsoft.com/office/drawing/2014/main" id="{E88E0BE3-6A6E-42F2-B2F6-D0B483726696}"/>
                </a:ext>
              </a:extLst>
            </p:cNvPr>
            <p:cNvSpPr/>
            <p:nvPr userDrawn="1"/>
          </p:nvSpPr>
          <p:spPr>
            <a:xfrm>
              <a:off x="8347084" y="5332753"/>
              <a:ext cx="184561" cy="113576"/>
            </a:xfrm>
            <a:custGeom>
              <a:avLst/>
              <a:gdLst>
                <a:gd name="connsiteX0" fmla="*/ 79017 w 184561"/>
                <a:gd name="connsiteY0" fmla="*/ 2150 h 113576"/>
                <a:gd name="connsiteX1" fmla="*/ 137225 w 184561"/>
                <a:gd name="connsiteY1" fmla="*/ 44742 h 113576"/>
                <a:gd name="connsiteX2" fmla="*/ 192594 w 184561"/>
                <a:gd name="connsiteY2" fmla="*/ 87333 h 113576"/>
                <a:gd name="connsiteX3" fmla="*/ 59142 w 184561"/>
                <a:gd name="connsiteY3" fmla="*/ 98690 h 113576"/>
                <a:gd name="connsiteX4" fmla="*/ 2354 w 184561"/>
                <a:gd name="connsiteY4" fmla="*/ 63198 h 113576"/>
                <a:gd name="connsiteX5" fmla="*/ 5193 w 184561"/>
                <a:gd name="connsiteY5" fmla="*/ 3570 h 113576"/>
                <a:gd name="connsiteX6" fmla="*/ 79017 w 184561"/>
                <a:gd name="connsiteY6" fmla="*/ 215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13576">
                  <a:moveTo>
                    <a:pt x="79017" y="2150"/>
                  </a:moveTo>
                  <a:cubicBezTo>
                    <a:pt x="79017" y="2150"/>
                    <a:pt x="104572" y="36223"/>
                    <a:pt x="137225" y="44742"/>
                  </a:cubicBezTo>
                  <a:cubicBezTo>
                    <a:pt x="169878" y="53260"/>
                    <a:pt x="191174" y="67457"/>
                    <a:pt x="192594" y="87333"/>
                  </a:cubicBezTo>
                  <a:cubicBezTo>
                    <a:pt x="194013" y="107209"/>
                    <a:pt x="115930" y="132763"/>
                    <a:pt x="59142" y="98690"/>
                  </a:cubicBezTo>
                  <a:cubicBezTo>
                    <a:pt x="22229" y="75975"/>
                    <a:pt x="9452" y="77395"/>
                    <a:pt x="2354" y="63198"/>
                  </a:cubicBezTo>
                  <a:cubicBezTo>
                    <a:pt x="-4745" y="49001"/>
                    <a:pt x="6613" y="7829"/>
                    <a:pt x="5193" y="3570"/>
                  </a:cubicBezTo>
                  <a:cubicBezTo>
                    <a:pt x="5193" y="-3528"/>
                    <a:pt x="79017" y="2150"/>
                    <a:pt x="79017" y="215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3" name="任意多边形: 形状 10072">
              <a:extLst>
                <a:ext uri="{FF2B5EF4-FFF2-40B4-BE49-F238E27FC236}">
                  <a16:creationId xmlns:a16="http://schemas.microsoft.com/office/drawing/2014/main" id="{BF7127B6-B03E-4B2B-842C-D6F24043E53C}"/>
                </a:ext>
              </a:extLst>
            </p:cNvPr>
            <p:cNvSpPr/>
            <p:nvPr userDrawn="1"/>
          </p:nvSpPr>
          <p:spPr>
            <a:xfrm>
              <a:off x="8353696" y="5310769"/>
              <a:ext cx="70985" cy="28394"/>
            </a:xfrm>
            <a:custGeom>
              <a:avLst/>
              <a:gdLst>
                <a:gd name="connsiteX0" fmla="*/ 72405 w 70985"/>
                <a:gd name="connsiteY0" fmla="*/ 7099 h 28394"/>
                <a:gd name="connsiteX1" fmla="*/ 73825 w 70985"/>
                <a:gd name="connsiteY1" fmla="*/ 24135 h 28394"/>
                <a:gd name="connsiteX2" fmla="*/ 0 w 70985"/>
                <a:gd name="connsiteY2" fmla="*/ 24135 h 28394"/>
                <a:gd name="connsiteX3" fmla="*/ 4259 w 70985"/>
                <a:gd name="connsiteY3" fmla="*/ 0 h 28394"/>
                <a:gd name="connsiteX4" fmla="*/ 72405 w 70985"/>
                <a:gd name="connsiteY4" fmla="*/ 7099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2405" y="7099"/>
                  </a:moveTo>
                  <a:cubicBezTo>
                    <a:pt x="72405" y="7099"/>
                    <a:pt x="73825" y="24135"/>
                    <a:pt x="73825" y="24135"/>
                  </a:cubicBezTo>
                  <a:cubicBezTo>
                    <a:pt x="73825" y="24135"/>
                    <a:pt x="0" y="36912"/>
                    <a:pt x="0" y="24135"/>
                  </a:cubicBezTo>
                  <a:cubicBezTo>
                    <a:pt x="0" y="14197"/>
                    <a:pt x="4259" y="0"/>
                    <a:pt x="4259" y="0"/>
                  </a:cubicBezTo>
                  <a:lnTo>
                    <a:pt x="72405" y="7099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4" name="任意多边形: 形状 10073">
              <a:extLst>
                <a:ext uri="{FF2B5EF4-FFF2-40B4-BE49-F238E27FC236}">
                  <a16:creationId xmlns:a16="http://schemas.microsoft.com/office/drawing/2014/main" id="{433B2612-4E88-4E02-8ED4-B5D857EE2D27}"/>
                </a:ext>
              </a:extLst>
            </p:cNvPr>
            <p:cNvSpPr/>
            <p:nvPr userDrawn="1"/>
          </p:nvSpPr>
          <p:spPr>
            <a:xfrm>
              <a:off x="8329561" y="4236807"/>
              <a:ext cx="482699" cy="1093171"/>
            </a:xfrm>
            <a:custGeom>
              <a:avLst/>
              <a:gdLst>
                <a:gd name="connsiteX0" fmla="*/ 397517 w 482698"/>
                <a:gd name="connsiteY0" fmla="*/ 73072 h 1093170"/>
                <a:gd name="connsiteX1" fmla="*/ 447206 w 482698"/>
                <a:gd name="connsiteY1" fmla="*/ 418060 h 1093170"/>
                <a:gd name="connsiteX2" fmla="*/ 474181 w 482698"/>
                <a:gd name="connsiteY2" fmla="*/ 656569 h 1093170"/>
                <a:gd name="connsiteX3" fmla="*/ 492637 w 482698"/>
                <a:gd name="connsiteY3" fmla="*/ 1082480 h 1093170"/>
                <a:gd name="connsiteX4" fmla="*/ 388999 w 482698"/>
                <a:gd name="connsiteY4" fmla="*/ 1092418 h 1093170"/>
                <a:gd name="connsiteX5" fmla="*/ 336470 w 482698"/>
                <a:gd name="connsiteY5" fmla="*/ 587004 h 1093170"/>
                <a:gd name="connsiteX6" fmla="*/ 235671 w 482698"/>
                <a:gd name="connsiteY6" fmla="*/ 247695 h 1093170"/>
                <a:gd name="connsiteX7" fmla="*/ 163266 w 482698"/>
                <a:gd name="connsiteY7" fmla="*/ 639533 h 1093170"/>
                <a:gd name="connsiteX8" fmla="*/ 122094 w 482698"/>
                <a:gd name="connsiteY8" fmla="*/ 1099517 h 1093170"/>
                <a:gd name="connsiteX9" fmla="*/ 0 w 482698"/>
                <a:gd name="connsiteY9" fmla="*/ 1099517 h 1093170"/>
                <a:gd name="connsiteX10" fmla="*/ 22715 w 482698"/>
                <a:gd name="connsiteY10" fmla="*/ 638113 h 1093170"/>
                <a:gd name="connsiteX11" fmla="*/ 62467 w 482698"/>
                <a:gd name="connsiteY11" fmla="*/ 30481 h 1093170"/>
                <a:gd name="connsiteX12" fmla="*/ 397517 w 482698"/>
                <a:gd name="connsiteY12" fmla="*/ 73072 h 109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2698" h="1093170">
                  <a:moveTo>
                    <a:pt x="397517" y="73072"/>
                  </a:moveTo>
                  <a:cubicBezTo>
                    <a:pt x="397517" y="73072"/>
                    <a:pt x="433009" y="331458"/>
                    <a:pt x="447206" y="418060"/>
                  </a:cubicBezTo>
                  <a:cubicBezTo>
                    <a:pt x="464243" y="520278"/>
                    <a:pt x="469921" y="604041"/>
                    <a:pt x="474181" y="656569"/>
                  </a:cubicBezTo>
                  <a:cubicBezTo>
                    <a:pt x="479860" y="723296"/>
                    <a:pt x="488378" y="1062604"/>
                    <a:pt x="492637" y="1082480"/>
                  </a:cubicBezTo>
                  <a:cubicBezTo>
                    <a:pt x="496896" y="1102356"/>
                    <a:pt x="388999" y="1092418"/>
                    <a:pt x="388999" y="1092418"/>
                  </a:cubicBezTo>
                  <a:cubicBezTo>
                    <a:pt x="388999" y="1092418"/>
                    <a:pt x="353506" y="657989"/>
                    <a:pt x="336470" y="587004"/>
                  </a:cubicBezTo>
                  <a:cubicBezTo>
                    <a:pt x="319433" y="521698"/>
                    <a:pt x="258386" y="240597"/>
                    <a:pt x="235671" y="247695"/>
                  </a:cubicBezTo>
                  <a:cubicBezTo>
                    <a:pt x="188821" y="261892"/>
                    <a:pt x="174624" y="588424"/>
                    <a:pt x="163266" y="639533"/>
                  </a:cubicBezTo>
                  <a:cubicBezTo>
                    <a:pt x="151908" y="692062"/>
                    <a:pt x="122094" y="1099517"/>
                    <a:pt x="122094" y="1099517"/>
                  </a:cubicBezTo>
                  <a:cubicBezTo>
                    <a:pt x="122094" y="1099517"/>
                    <a:pt x="21296" y="1115133"/>
                    <a:pt x="0" y="1099517"/>
                  </a:cubicBezTo>
                  <a:cubicBezTo>
                    <a:pt x="0" y="1099517"/>
                    <a:pt x="15617" y="734653"/>
                    <a:pt x="22715" y="638113"/>
                  </a:cubicBezTo>
                  <a:cubicBezTo>
                    <a:pt x="25555" y="601201"/>
                    <a:pt x="-1419" y="193747"/>
                    <a:pt x="62467" y="30481"/>
                  </a:cubicBezTo>
                  <a:cubicBezTo>
                    <a:pt x="96540" y="-57541"/>
                    <a:pt x="397517" y="73072"/>
                    <a:pt x="397517" y="73072"/>
                  </a:cubicBezTo>
                  <a:close/>
                </a:path>
              </a:pathLst>
            </a:custGeom>
            <a:solidFill>
              <a:srgbClr val="2F324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5" name="任意多边形: 形状 10074">
              <a:extLst>
                <a:ext uri="{FF2B5EF4-FFF2-40B4-BE49-F238E27FC236}">
                  <a16:creationId xmlns:a16="http://schemas.microsoft.com/office/drawing/2014/main" id="{E28C9449-DB98-4456-BB05-41345B3E781F}"/>
                </a:ext>
              </a:extLst>
            </p:cNvPr>
            <p:cNvSpPr/>
            <p:nvPr userDrawn="1"/>
          </p:nvSpPr>
          <p:spPr>
            <a:xfrm>
              <a:off x="8640266" y="3673852"/>
              <a:ext cx="354926" cy="425911"/>
            </a:xfrm>
            <a:custGeom>
              <a:avLst/>
              <a:gdLst>
                <a:gd name="connsiteX0" fmla="*/ 352296 w 354925"/>
                <a:gd name="connsiteY0" fmla="*/ 433009 h 425910"/>
                <a:gd name="connsiteX1" fmla="*/ 92491 w 354925"/>
                <a:gd name="connsiteY1" fmla="*/ 379060 h 425910"/>
                <a:gd name="connsiteX2" fmla="*/ 47060 w 354925"/>
                <a:gd name="connsiteY2" fmla="*/ 292459 h 425910"/>
                <a:gd name="connsiteX3" fmla="*/ 35703 w 354925"/>
                <a:gd name="connsiteY3" fmla="*/ 252707 h 425910"/>
                <a:gd name="connsiteX4" fmla="*/ 35703 w 354925"/>
                <a:gd name="connsiteY4" fmla="*/ 252707 h 425910"/>
                <a:gd name="connsiteX5" fmla="*/ 14407 w 354925"/>
                <a:gd name="connsiteY5" fmla="*/ 151908 h 425910"/>
                <a:gd name="connsiteX6" fmla="*/ 49900 w 354925"/>
                <a:gd name="connsiteY6" fmla="*/ 0 h 425910"/>
                <a:gd name="connsiteX7" fmla="*/ 96750 w 354925"/>
                <a:gd name="connsiteY7" fmla="*/ 41171 h 425910"/>
                <a:gd name="connsiteX8" fmla="*/ 137921 w 354925"/>
                <a:gd name="connsiteY8" fmla="*/ 143390 h 425910"/>
                <a:gd name="connsiteX9" fmla="*/ 181932 w 354925"/>
                <a:gd name="connsiteY9" fmla="*/ 302397 h 425910"/>
                <a:gd name="connsiteX10" fmla="*/ 234461 w 354925"/>
                <a:gd name="connsiteY10" fmla="*/ 330791 h 425910"/>
                <a:gd name="connsiteX11" fmla="*/ 365073 w 354925"/>
                <a:gd name="connsiteY11" fmla="*/ 346407 h 425910"/>
                <a:gd name="connsiteX12" fmla="*/ 352296 w 354925"/>
                <a:gd name="connsiteY12" fmla="*/ 433009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925" h="425910">
                  <a:moveTo>
                    <a:pt x="352296" y="433009"/>
                  </a:moveTo>
                  <a:cubicBezTo>
                    <a:pt x="352296" y="433009"/>
                    <a:pt x="130822" y="403195"/>
                    <a:pt x="92491" y="379060"/>
                  </a:cubicBezTo>
                  <a:cubicBezTo>
                    <a:pt x="75454" y="367703"/>
                    <a:pt x="59837" y="332210"/>
                    <a:pt x="47060" y="292459"/>
                  </a:cubicBezTo>
                  <a:cubicBezTo>
                    <a:pt x="42801" y="279681"/>
                    <a:pt x="38542" y="265484"/>
                    <a:pt x="35703" y="252707"/>
                  </a:cubicBezTo>
                  <a:cubicBezTo>
                    <a:pt x="35703" y="252707"/>
                    <a:pt x="35703" y="252707"/>
                    <a:pt x="35703" y="252707"/>
                  </a:cubicBezTo>
                  <a:cubicBezTo>
                    <a:pt x="21506" y="200178"/>
                    <a:pt x="14407" y="151908"/>
                    <a:pt x="14407" y="151908"/>
                  </a:cubicBezTo>
                  <a:cubicBezTo>
                    <a:pt x="14407" y="151908"/>
                    <a:pt x="-35283" y="19876"/>
                    <a:pt x="49900" y="0"/>
                  </a:cubicBezTo>
                  <a:cubicBezTo>
                    <a:pt x="49900" y="0"/>
                    <a:pt x="82553" y="8518"/>
                    <a:pt x="96750" y="41171"/>
                  </a:cubicBezTo>
                  <a:cubicBezTo>
                    <a:pt x="110947" y="73825"/>
                    <a:pt x="130822" y="122094"/>
                    <a:pt x="137921" y="143390"/>
                  </a:cubicBezTo>
                  <a:cubicBezTo>
                    <a:pt x="142180" y="157587"/>
                    <a:pt x="179092" y="298137"/>
                    <a:pt x="181932" y="302397"/>
                  </a:cubicBezTo>
                  <a:cubicBezTo>
                    <a:pt x="184771" y="306656"/>
                    <a:pt x="203227" y="322272"/>
                    <a:pt x="234461" y="330791"/>
                  </a:cubicBezTo>
                  <a:cubicBezTo>
                    <a:pt x="284150" y="344988"/>
                    <a:pt x="365073" y="346407"/>
                    <a:pt x="365073" y="346407"/>
                  </a:cubicBezTo>
                  <a:lnTo>
                    <a:pt x="352296" y="433009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6" name="任意多边形: 形状 10075">
              <a:extLst>
                <a:ext uri="{FF2B5EF4-FFF2-40B4-BE49-F238E27FC236}">
                  <a16:creationId xmlns:a16="http://schemas.microsoft.com/office/drawing/2014/main" id="{60D058C3-BF93-4048-812C-097186EC3301}"/>
                </a:ext>
              </a:extLst>
            </p:cNvPr>
            <p:cNvSpPr/>
            <p:nvPr userDrawn="1"/>
          </p:nvSpPr>
          <p:spPr>
            <a:xfrm>
              <a:off x="8508899" y="3368377"/>
              <a:ext cx="184561" cy="255546"/>
            </a:xfrm>
            <a:custGeom>
              <a:avLst/>
              <a:gdLst>
                <a:gd name="connsiteX0" fmla="*/ 6643 w 184561"/>
                <a:gd name="connsiteY0" fmla="*/ 160666 h 255546"/>
                <a:gd name="connsiteX1" fmla="*/ 6643 w 184561"/>
                <a:gd name="connsiteY1" fmla="*/ 160666 h 255546"/>
                <a:gd name="connsiteX2" fmla="*/ 25099 w 184561"/>
                <a:gd name="connsiteY2" fmla="*/ 218874 h 255546"/>
                <a:gd name="connsiteX3" fmla="*/ 179847 w 184561"/>
                <a:gd name="connsiteY3" fmla="*/ 163505 h 255546"/>
                <a:gd name="connsiteX4" fmla="*/ 186945 w 184561"/>
                <a:gd name="connsiteY4" fmla="*/ 95360 h 255546"/>
                <a:gd name="connsiteX5" fmla="*/ 140095 w 184561"/>
                <a:gd name="connsiteY5" fmla="*/ 7338 h 255546"/>
                <a:gd name="connsiteX6" fmla="*/ 18001 w 184561"/>
                <a:gd name="connsiteY6" fmla="*/ 30053 h 255546"/>
                <a:gd name="connsiteX7" fmla="*/ 6643 w 184561"/>
                <a:gd name="connsiteY7" fmla="*/ 160666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561" h="255546">
                  <a:moveTo>
                    <a:pt x="6643" y="160666"/>
                  </a:moveTo>
                  <a:cubicBezTo>
                    <a:pt x="6643" y="160666"/>
                    <a:pt x="6643" y="160666"/>
                    <a:pt x="6643" y="160666"/>
                  </a:cubicBezTo>
                  <a:cubicBezTo>
                    <a:pt x="10902" y="180542"/>
                    <a:pt x="16581" y="200418"/>
                    <a:pt x="25099" y="218874"/>
                  </a:cubicBezTo>
                  <a:cubicBezTo>
                    <a:pt x="52074" y="279921"/>
                    <a:pt x="145774" y="302636"/>
                    <a:pt x="179847" y="163505"/>
                  </a:cubicBezTo>
                  <a:cubicBezTo>
                    <a:pt x="186945" y="136531"/>
                    <a:pt x="188365" y="115235"/>
                    <a:pt x="186945" y="95360"/>
                  </a:cubicBezTo>
                  <a:cubicBezTo>
                    <a:pt x="182686" y="28634"/>
                    <a:pt x="140095" y="7338"/>
                    <a:pt x="140095" y="7338"/>
                  </a:cubicBezTo>
                  <a:cubicBezTo>
                    <a:pt x="107442" y="-2600"/>
                    <a:pt x="47814" y="-8279"/>
                    <a:pt x="18001" y="30053"/>
                  </a:cubicBezTo>
                  <a:cubicBezTo>
                    <a:pt x="-1875" y="57028"/>
                    <a:pt x="-4715" y="110976"/>
                    <a:pt x="6643" y="160666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7" name="任意多边形: 形状 10076">
              <a:extLst>
                <a:ext uri="{FF2B5EF4-FFF2-40B4-BE49-F238E27FC236}">
                  <a16:creationId xmlns:a16="http://schemas.microsoft.com/office/drawing/2014/main" id="{D52C41B0-926D-40AF-9865-D81F6576B68E}"/>
                </a:ext>
              </a:extLst>
            </p:cNvPr>
            <p:cNvSpPr/>
            <p:nvPr userDrawn="1"/>
          </p:nvSpPr>
          <p:spPr>
            <a:xfrm>
              <a:off x="8502428" y="3364176"/>
              <a:ext cx="198758" cy="156167"/>
            </a:xfrm>
            <a:custGeom>
              <a:avLst/>
              <a:gdLst>
                <a:gd name="connsiteX0" fmla="*/ 13115 w 198758"/>
                <a:gd name="connsiteY0" fmla="*/ 164866 h 156167"/>
                <a:gd name="connsiteX1" fmla="*/ 13115 w 198758"/>
                <a:gd name="connsiteY1" fmla="*/ 164866 h 156167"/>
                <a:gd name="connsiteX2" fmla="*/ 42928 w 198758"/>
                <a:gd name="connsiteY2" fmla="*/ 136472 h 156167"/>
                <a:gd name="connsiteX3" fmla="*/ 51447 w 198758"/>
                <a:gd name="connsiteY3" fmla="*/ 133633 h 156167"/>
                <a:gd name="connsiteX4" fmla="*/ 81261 w 198758"/>
                <a:gd name="connsiteY4" fmla="*/ 129374 h 156167"/>
                <a:gd name="connsiteX5" fmla="*/ 103975 w 198758"/>
                <a:gd name="connsiteY5" fmla="*/ 74005 h 156167"/>
                <a:gd name="connsiteX6" fmla="*/ 194837 w 198758"/>
                <a:gd name="connsiteY6" fmla="*/ 99560 h 156167"/>
                <a:gd name="connsiteX7" fmla="*/ 170702 w 198758"/>
                <a:gd name="connsiteY7" fmla="*/ 15798 h 156167"/>
                <a:gd name="connsiteX8" fmla="*/ 13115 w 198758"/>
                <a:gd name="connsiteY8" fmla="*/ 25735 h 156167"/>
                <a:gd name="connsiteX9" fmla="*/ 13115 w 198758"/>
                <a:gd name="connsiteY9" fmla="*/ 164866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758" h="156167">
                  <a:moveTo>
                    <a:pt x="13115" y="164866"/>
                  </a:moveTo>
                  <a:cubicBezTo>
                    <a:pt x="13115" y="164866"/>
                    <a:pt x="13115" y="164866"/>
                    <a:pt x="13115" y="164866"/>
                  </a:cubicBezTo>
                  <a:cubicBezTo>
                    <a:pt x="13115" y="164866"/>
                    <a:pt x="17374" y="167706"/>
                    <a:pt x="42928" y="136472"/>
                  </a:cubicBezTo>
                  <a:cubicBezTo>
                    <a:pt x="48607" y="130793"/>
                    <a:pt x="50027" y="136472"/>
                    <a:pt x="51447" y="133633"/>
                  </a:cubicBezTo>
                  <a:lnTo>
                    <a:pt x="81261" y="129374"/>
                  </a:lnTo>
                  <a:cubicBezTo>
                    <a:pt x="81261" y="129374"/>
                    <a:pt x="65644" y="78264"/>
                    <a:pt x="103975" y="74005"/>
                  </a:cubicBezTo>
                  <a:cubicBezTo>
                    <a:pt x="143727" y="69746"/>
                    <a:pt x="194837" y="99560"/>
                    <a:pt x="194837" y="99560"/>
                  </a:cubicBezTo>
                  <a:cubicBezTo>
                    <a:pt x="218971" y="-1239"/>
                    <a:pt x="170702" y="15798"/>
                    <a:pt x="170702" y="15798"/>
                  </a:cubicBezTo>
                  <a:cubicBezTo>
                    <a:pt x="146567" y="-1239"/>
                    <a:pt x="42928" y="-12596"/>
                    <a:pt x="13115" y="25735"/>
                  </a:cubicBezTo>
                  <a:cubicBezTo>
                    <a:pt x="-9601" y="54130"/>
                    <a:pt x="1757" y="115177"/>
                    <a:pt x="13115" y="164866"/>
                  </a:cubicBezTo>
                  <a:close/>
                </a:path>
              </a:pathLst>
            </a:custGeom>
            <a:solidFill>
              <a:srgbClr val="66524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8" name="任意多边形: 形状 10077">
              <a:extLst>
                <a:ext uri="{FF2B5EF4-FFF2-40B4-BE49-F238E27FC236}">
                  <a16:creationId xmlns:a16="http://schemas.microsoft.com/office/drawing/2014/main" id="{0491FB43-60EF-4207-906E-9E5B169C9846}"/>
                </a:ext>
              </a:extLst>
            </p:cNvPr>
            <p:cNvSpPr/>
            <p:nvPr userDrawn="1"/>
          </p:nvSpPr>
          <p:spPr>
            <a:xfrm>
              <a:off x="8531433" y="3464289"/>
              <a:ext cx="28394" cy="42591"/>
            </a:xfrm>
            <a:custGeom>
              <a:avLst/>
              <a:gdLst>
                <a:gd name="connsiteX0" fmla="*/ 32379 w 28394"/>
                <a:gd name="connsiteY0" fmla="*/ 13644 h 42591"/>
                <a:gd name="connsiteX1" fmla="*/ 3985 w 28394"/>
                <a:gd name="connsiteY1" fmla="*/ 9385 h 42591"/>
                <a:gd name="connsiteX2" fmla="*/ 21021 w 28394"/>
                <a:gd name="connsiteY2" fmla="*/ 51976 h 42591"/>
                <a:gd name="connsiteX3" fmla="*/ 32379 w 28394"/>
                <a:gd name="connsiteY3" fmla="*/ 13644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32379" y="13644"/>
                  </a:moveTo>
                  <a:cubicBezTo>
                    <a:pt x="32379" y="3706"/>
                    <a:pt x="15342" y="-9072"/>
                    <a:pt x="3985" y="9385"/>
                  </a:cubicBezTo>
                  <a:cubicBezTo>
                    <a:pt x="-8793" y="27841"/>
                    <a:pt x="12503" y="54815"/>
                    <a:pt x="21021" y="51976"/>
                  </a:cubicBezTo>
                  <a:cubicBezTo>
                    <a:pt x="28120" y="50556"/>
                    <a:pt x="32379" y="30680"/>
                    <a:pt x="32379" y="13644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9" name="任意多边形: 形状 10078">
              <a:extLst>
                <a:ext uri="{FF2B5EF4-FFF2-40B4-BE49-F238E27FC236}">
                  <a16:creationId xmlns:a16="http://schemas.microsoft.com/office/drawing/2014/main" id="{CECBCC14-8A96-4D63-96E3-71721D1E33FE}"/>
                </a:ext>
              </a:extLst>
            </p:cNvPr>
            <p:cNvSpPr/>
            <p:nvPr userDrawn="1"/>
          </p:nvSpPr>
          <p:spPr>
            <a:xfrm>
              <a:off x="8355116" y="3653963"/>
              <a:ext cx="383320" cy="695654"/>
            </a:xfrm>
            <a:custGeom>
              <a:avLst/>
              <a:gdLst>
                <a:gd name="connsiteX0" fmla="*/ 254127 w 383319"/>
                <a:gd name="connsiteY0" fmla="*/ 13 h 695654"/>
                <a:gd name="connsiteX1" fmla="*/ 344987 w 383319"/>
                <a:gd name="connsiteY1" fmla="*/ 25568 h 695654"/>
                <a:gd name="connsiteX2" fmla="*/ 380480 w 383319"/>
                <a:gd name="connsiteY2" fmla="*/ 161859 h 695654"/>
                <a:gd name="connsiteX3" fmla="*/ 363444 w 383319"/>
                <a:gd name="connsiteY3" fmla="*/ 340741 h 695654"/>
                <a:gd name="connsiteX4" fmla="*/ 386159 w 383319"/>
                <a:gd name="connsiteY4" fmla="*/ 674371 h 695654"/>
                <a:gd name="connsiteX5" fmla="*/ 0 w 383319"/>
                <a:gd name="connsiteY5" fmla="*/ 702765 h 695654"/>
                <a:gd name="connsiteX6" fmla="*/ 41171 w 383319"/>
                <a:gd name="connsiteY6" fmla="*/ 390431 h 695654"/>
                <a:gd name="connsiteX7" fmla="*/ 2839 w 383319"/>
                <a:gd name="connsiteY7" fmla="*/ 157600 h 695654"/>
                <a:gd name="connsiteX8" fmla="*/ 41171 w 383319"/>
                <a:gd name="connsiteY8" fmla="*/ 25568 h 695654"/>
                <a:gd name="connsiteX9" fmla="*/ 154747 w 383319"/>
                <a:gd name="connsiteY9" fmla="*/ 13 h 695654"/>
                <a:gd name="connsiteX10" fmla="*/ 254127 w 383319"/>
                <a:gd name="connsiteY10" fmla="*/ 13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3319" h="695654">
                  <a:moveTo>
                    <a:pt x="254127" y="13"/>
                  </a:moveTo>
                  <a:cubicBezTo>
                    <a:pt x="254127" y="13"/>
                    <a:pt x="335050" y="17049"/>
                    <a:pt x="344987" y="25568"/>
                  </a:cubicBezTo>
                  <a:cubicBezTo>
                    <a:pt x="356345" y="35505"/>
                    <a:pt x="379060" y="134885"/>
                    <a:pt x="380480" y="161859"/>
                  </a:cubicBezTo>
                  <a:cubicBezTo>
                    <a:pt x="381900" y="188833"/>
                    <a:pt x="374801" y="299570"/>
                    <a:pt x="363444" y="340741"/>
                  </a:cubicBezTo>
                  <a:cubicBezTo>
                    <a:pt x="352086" y="381913"/>
                    <a:pt x="379060" y="616164"/>
                    <a:pt x="386159" y="674371"/>
                  </a:cubicBezTo>
                  <a:cubicBezTo>
                    <a:pt x="386159" y="674371"/>
                    <a:pt x="173203" y="725481"/>
                    <a:pt x="0" y="702765"/>
                  </a:cubicBezTo>
                  <a:cubicBezTo>
                    <a:pt x="0" y="702765"/>
                    <a:pt x="46850" y="448639"/>
                    <a:pt x="41171" y="390431"/>
                  </a:cubicBezTo>
                  <a:cubicBezTo>
                    <a:pt x="32653" y="316606"/>
                    <a:pt x="2839" y="157600"/>
                    <a:pt x="2839" y="157600"/>
                  </a:cubicBezTo>
                  <a:cubicBezTo>
                    <a:pt x="2839" y="157600"/>
                    <a:pt x="22715" y="34086"/>
                    <a:pt x="41171" y="25568"/>
                  </a:cubicBezTo>
                  <a:cubicBezTo>
                    <a:pt x="102218" y="-1407"/>
                    <a:pt x="154747" y="13"/>
                    <a:pt x="154747" y="13"/>
                  </a:cubicBezTo>
                  <a:lnTo>
                    <a:pt x="254127" y="13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0" name="任意多边形: 形状 10079">
              <a:extLst>
                <a:ext uri="{FF2B5EF4-FFF2-40B4-BE49-F238E27FC236}">
                  <a16:creationId xmlns:a16="http://schemas.microsoft.com/office/drawing/2014/main" id="{45E17AF9-7B91-4C3A-AD4F-381EF8DC8083}"/>
                </a:ext>
              </a:extLst>
            </p:cNvPr>
            <p:cNvSpPr/>
            <p:nvPr userDrawn="1"/>
          </p:nvSpPr>
          <p:spPr>
            <a:xfrm>
              <a:off x="8512703" y="3535673"/>
              <a:ext cx="99379" cy="141970"/>
            </a:xfrm>
            <a:custGeom>
              <a:avLst/>
              <a:gdLst>
                <a:gd name="connsiteX0" fmla="*/ 106478 w 99379"/>
                <a:gd name="connsiteY0" fmla="*/ 136759 h 141970"/>
                <a:gd name="connsiteX1" fmla="*/ 0 w 99379"/>
                <a:gd name="connsiteY1" fmla="*/ 119723 h 141970"/>
                <a:gd name="connsiteX2" fmla="*/ 8518 w 99379"/>
                <a:gd name="connsiteY2" fmla="*/ 14665 h 141970"/>
                <a:gd name="connsiteX3" fmla="*/ 106478 w 99379"/>
                <a:gd name="connsiteY3" fmla="*/ 78551 h 141970"/>
                <a:gd name="connsiteX4" fmla="*/ 106478 w 99379"/>
                <a:gd name="connsiteY4" fmla="*/ 99847 h 141970"/>
                <a:gd name="connsiteX5" fmla="*/ 106478 w 99379"/>
                <a:gd name="connsiteY5" fmla="*/ 118303 h 141970"/>
                <a:gd name="connsiteX6" fmla="*/ 106478 w 99379"/>
                <a:gd name="connsiteY6" fmla="*/ 136759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79" h="141970">
                  <a:moveTo>
                    <a:pt x="106478" y="136759"/>
                  </a:moveTo>
                  <a:cubicBezTo>
                    <a:pt x="106478" y="136759"/>
                    <a:pt x="82343" y="156635"/>
                    <a:pt x="0" y="119723"/>
                  </a:cubicBezTo>
                  <a:cubicBezTo>
                    <a:pt x="0" y="119723"/>
                    <a:pt x="12777" y="71453"/>
                    <a:pt x="8518" y="14665"/>
                  </a:cubicBezTo>
                  <a:cubicBezTo>
                    <a:pt x="4259" y="-40703"/>
                    <a:pt x="106478" y="78551"/>
                    <a:pt x="106478" y="78551"/>
                  </a:cubicBezTo>
                  <a:cubicBezTo>
                    <a:pt x="106478" y="87070"/>
                    <a:pt x="106478" y="94168"/>
                    <a:pt x="106478" y="99847"/>
                  </a:cubicBezTo>
                  <a:cubicBezTo>
                    <a:pt x="106478" y="106946"/>
                    <a:pt x="106478" y="114044"/>
                    <a:pt x="106478" y="118303"/>
                  </a:cubicBezTo>
                  <a:cubicBezTo>
                    <a:pt x="105058" y="129661"/>
                    <a:pt x="106478" y="136759"/>
                    <a:pt x="106478" y="13675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1" name="任意多边形: 形状 10080">
              <a:extLst>
                <a:ext uri="{FF2B5EF4-FFF2-40B4-BE49-F238E27FC236}">
                  <a16:creationId xmlns:a16="http://schemas.microsoft.com/office/drawing/2014/main" id="{50B4CC54-178F-48C7-BAD4-CCCCC8111429}"/>
                </a:ext>
              </a:extLst>
            </p:cNvPr>
            <p:cNvSpPr/>
            <p:nvPr userDrawn="1"/>
          </p:nvSpPr>
          <p:spPr>
            <a:xfrm>
              <a:off x="8508444" y="3652940"/>
              <a:ext cx="113576" cy="28394"/>
            </a:xfrm>
            <a:custGeom>
              <a:avLst/>
              <a:gdLst>
                <a:gd name="connsiteX0" fmla="*/ 117836 w 113576"/>
                <a:gd name="connsiteY0" fmla="*/ 5296 h 28394"/>
                <a:gd name="connsiteX1" fmla="*/ 110737 w 113576"/>
                <a:gd name="connsiteY1" fmla="*/ 37949 h 28394"/>
                <a:gd name="connsiteX2" fmla="*/ 0 w 113576"/>
                <a:gd name="connsiteY2" fmla="*/ 2456 h 28394"/>
                <a:gd name="connsiteX3" fmla="*/ 117836 w 113576"/>
                <a:gd name="connsiteY3" fmla="*/ 5296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28394">
                  <a:moveTo>
                    <a:pt x="117836" y="5296"/>
                  </a:moveTo>
                  <a:cubicBezTo>
                    <a:pt x="117836" y="5296"/>
                    <a:pt x="136291" y="33690"/>
                    <a:pt x="110737" y="37949"/>
                  </a:cubicBezTo>
                  <a:cubicBezTo>
                    <a:pt x="83762" y="42208"/>
                    <a:pt x="29814" y="37949"/>
                    <a:pt x="0" y="2456"/>
                  </a:cubicBezTo>
                  <a:cubicBezTo>
                    <a:pt x="0" y="2456"/>
                    <a:pt x="80923" y="-4642"/>
                    <a:pt x="117836" y="529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2" name="任意多边形: 形状 10081">
              <a:extLst>
                <a:ext uri="{FF2B5EF4-FFF2-40B4-BE49-F238E27FC236}">
                  <a16:creationId xmlns:a16="http://schemas.microsoft.com/office/drawing/2014/main" id="{5EFEE9BF-549A-41D4-AF3A-A6C7DB3ED9DB}"/>
                </a:ext>
              </a:extLst>
            </p:cNvPr>
            <p:cNvSpPr/>
            <p:nvPr userDrawn="1"/>
          </p:nvSpPr>
          <p:spPr>
            <a:xfrm>
              <a:off x="8528319" y="3818662"/>
              <a:ext cx="653063" cy="567881"/>
            </a:xfrm>
            <a:custGeom>
              <a:avLst/>
              <a:gdLst>
                <a:gd name="connsiteX0" fmla="*/ 221474 w 653062"/>
                <a:gd name="connsiteY0" fmla="*/ 0 h 567880"/>
                <a:gd name="connsiteX1" fmla="*/ 0 w 653062"/>
                <a:gd name="connsiteY1" fmla="*/ 545166 h 567880"/>
                <a:gd name="connsiteX2" fmla="*/ 444367 w 653062"/>
                <a:gd name="connsiteY2" fmla="*/ 545166 h 567880"/>
                <a:gd name="connsiteX3" fmla="*/ 663001 w 653062"/>
                <a:gd name="connsiteY3" fmla="*/ 14197 h 567880"/>
                <a:gd name="connsiteX4" fmla="*/ 221474 w 653062"/>
                <a:gd name="connsiteY4" fmla="*/ 0 h 56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062" h="567880">
                  <a:moveTo>
                    <a:pt x="221474" y="0"/>
                  </a:moveTo>
                  <a:cubicBezTo>
                    <a:pt x="221474" y="0"/>
                    <a:pt x="156167" y="346407"/>
                    <a:pt x="0" y="545166"/>
                  </a:cubicBezTo>
                  <a:cubicBezTo>
                    <a:pt x="0" y="545166"/>
                    <a:pt x="159007" y="617570"/>
                    <a:pt x="444367" y="545166"/>
                  </a:cubicBezTo>
                  <a:cubicBezTo>
                    <a:pt x="444367" y="545166"/>
                    <a:pt x="643125" y="205857"/>
                    <a:pt x="663001" y="14197"/>
                  </a:cubicBezTo>
                  <a:cubicBezTo>
                    <a:pt x="663001" y="14197"/>
                    <a:pt x="465663" y="53949"/>
                    <a:pt x="221474" y="0"/>
                  </a:cubicBezTo>
                  <a:close/>
                </a:path>
              </a:pathLst>
            </a:custGeom>
            <a:solidFill>
              <a:srgbClr val="DBDFF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3" name="任意多边形: 形状 10082">
              <a:extLst>
                <a:ext uri="{FF2B5EF4-FFF2-40B4-BE49-F238E27FC236}">
                  <a16:creationId xmlns:a16="http://schemas.microsoft.com/office/drawing/2014/main" id="{995D8534-159F-42B0-8709-711A775C83C4}"/>
                </a:ext>
              </a:extLst>
            </p:cNvPr>
            <p:cNvSpPr/>
            <p:nvPr userDrawn="1"/>
          </p:nvSpPr>
          <p:spPr>
            <a:xfrm>
              <a:off x="8559553" y="3856994"/>
              <a:ext cx="596275" cy="511093"/>
            </a:xfrm>
            <a:custGeom>
              <a:avLst/>
              <a:gdLst>
                <a:gd name="connsiteX0" fmla="*/ 201598 w 596274"/>
                <a:gd name="connsiteY0" fmla="*/ 0 h 511092"/>
                <a:gd name="connsiteX1" fmla="*/ 0 w 596274"/>
                <a:gd name="connsiteY1" fmla="*/ 494056 h 511092"/>
                <a:gd name="connsiteX2" fmla="*/ 401776 w 596274"/>
                <a:gd name="connsiteY2" fmla="*/ 494056 h 511092"/>
                <a:gd name="connsiteX3" fmla="*/ 599114 w 596274"/>
                <a:gd name="connsiteY3" fmla="*/ 14197 h 511092"/>
                <a:gd name="connsiteX4" fmla="*/ 201598 w 596274"/>
                <a:gd name="connsiteY4" fmla="*/ 0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274" h="511092">
                  <a:moveTo>
                    <a:pt x="201598" y="0"/>
                  </a:moveTo>
                  <a:cubicBezTo>
                    <a:pt x="201598" y="0"/>
                    <a:pt x="143390" y="313754"/>
                    <a:pt x="0" y="494056"/>
                  </a:cubicBezTo>
                  <a:cubicBezTo>
                    <a:pt x="0" y="494056"/>
                    <a:pt x="143390" y="560782"/>
                    <a:pt x="401776" y="494056"/>
                  </a:cubicBezTo>
                  <a:cubicBezTo>
                    <a:pt x="401776" y="494056"/>
                    <a:pt x="580658" y="185981"/>
                    <a:pt x="599114" y="14197"/>
                  </a:cubicBezTo>
                  <a:cubicBezTo>
                    <a:pt x="600534" y="12777"/>
                    <a:pt x="421652" y="48270"/>
                    <a:pt x="201598" y="0"/>
                  </a:cubicBezTo>
                  <a:close/>
                </a:path>
              </a:pathLst>
            </a:custGeom>
            <a:solidFill>
              <a:srgbClr val="BDC9F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4" name="任意多边形: 形状 10083">
              <a:extLst>
                <a:ext uri="{FF2B5EF4-FFF2-40B4-BE49-F238E27FC236}">
                  <a16:creationId xmlns:a16="http://schemas.microsoft.com/office/drawing/2014/main" id="{43097A5D-B710-4084-9933-61EF26A7802E}"/>
                </a:ext>
              </a:extLst>
            </p:cNvPr>
            <p:cNvSpPr/>
            <p:nvPr userDrawn="1"/>
          </p:nvSpPr>
          <p:spPr>
            <a:xfrm>
              <a:off x="8541097" y="3601447"/>
              <a:ext cx="70985" cy="42591"/>
            </a:xfrm>
            <a:custGeom>
              <a:avLst/>
              <a:gdLst>
                <a:gd name="connsiteX0" fmla="*/ 76664 w 70985"/>
                <a:gd name="connsiteY0" fmla="*/ 51109 h 42591"/>
                <a:gd name="connsiteX1" fmla="*/ 0 w 70985"/>
                <a:gd name="connsiteY1" fmla="*/ 0 h 42591"/>
                <a:gd name="connsiteX2" fmla="*/ 76664 w 70985"/>
                <a:gd name="connsiteY2" fmla="*/ 31233 h 42591"/>
                <a:gd name="connsiteX3" fmla="*/ 76664 w 70985"/>
                <a:gd name="connsiteY3" fmla="*/ 32653 h 42591"/>
                <a:gd name="connsiteX4" fmla="*/ 76664 w 70985"/>
                <a:gd name="connsiteY4" fmla="*/ 51109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42591">
                  <a:moveTo>
                    <a:pt x="76664" y="51109"/>
                  </a:moveTo>
                  <a:cubicBezTo>
                    <a:pt x="19876" y="48270"/>
                    <a:pt x="0" y="0"/>
                    <a:pt x="0" y="0"/>
                  </a:cubicBezTo>
                  <a:cubicBezTo>
                    <a:pt x="28394" y="39752"/>
                    <a:pt x="76664" y="31233"/>
                    <a:pt x="76664" y="31233"/>
                  </a:cubicBezTo>
                  <a:lnTo>
                    <a:pt x="76664" y="32653"/>
                  </a:lnTo>
                  <a:cubicBezTo>
                    <a:pt x="76664" y="39752"/>
                    <a:pt x="76664" y="45430"/>
                    <a:pt x="76664" y="51109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5" name="任意多边形: 形状 10084">
              <a:extLst>
                <a:ext uri="{FF2B5EF4-FFF2-40B4-BE49-F238E27FC236}">
                  <a16:creationId xmlns:a16="http://schemas.microsoft.com/office/drawing/2014/main" id="{9933B2EF-621A-440B-AB92-2DECB190CD83}"/>
                </a:ext>
              </a:extLst>
            </p:cNvPr>
            <p:cNvSpPr/>
            <p:nvPr userDrawn="1"/>
          </p:nvSpPr>
          <p:spPr>
            <a:xfrm>
              <a:off x="8542377" y="4155884"/>
              <a:ext cx="70985" cy="70985"/>
            </a:xfrm>
            <a:custGeom>
              <a:avLst/>
              <a:gdLst>
                <a:gd name="connsiteX0" fmla="*/ 28534 w 70985"/>
                <a:gd name="connsiteY0" fmla="*/ 4926 h 70985"/>
                <a:gd name="connsiteX1" fmla="*/ 41311 w 70985"/>
                <a:gd name="connsiteY1" fmla="*/ 9185 h 70985"/>
                <a:gd name="connsiteX2" fmla="*/ 76804 w 70985"/>
                <a:gd name="connsiteY2" fmla="*/ 3507 h 70985"/>
                <a:gd name="connsiteX3" fmla="*/ 59767 w 70985"/>
                <a:gd name="connsiteY3" fmla="*/ 75911 h 70985"/>
                <a:gd name="connsiteX4" fmla="*/ 5819 w 70985"/>
                <a:gd name="connsiteY4" fmla="*/ 47517 h 70985"/>
                <a:gd name="connsiteX5" fmla="*/ 28534 w 70985"/>
                <a:gd name="connsiteY5" fmla="*/ 4926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70985">
                  <a:moveTo>
                    <a:pt x="28534" y="4926"/>
                  </a:moveTo>
                  <a:cubicBezTo>
                    <a:pt x="28534" y="4926"/>
                    <a:pt x="35632" y="10605"/>
                    <a:pt x="41311" y="9185"/>
                  </a:cubicBezTo>
                  <a:cubicBezTo>
                    <a:pt x="52669" y="7766"/>
                    <a:pt x="64026" y="-6431"/>
                    <a:pt x="76804" y="3507"/>
                  </a:cubicBezTo>
                  <a:cubicBezTo>
                    <a:pt x="89581" y="14864"/>
                    <a:pt x="68285" y="68813"/>
                    <a:pt x="59767" y="75911"/>
                  </a:cubicBezTo>
                  <a:cubicBezTo>
                    <a:pt x="51249" y="83010"/>
                    <a:pt x="29953" y="74492"/>
                    <a:pt x="5819" y="47517"/>
                  </a:cubicBezTo>
                  <a:cubicBezTo>
                    <a:pt x="-15477" y="21963"/>
                    <a:pt x="28534" y="4926"/>
                    <a:pt x="28534" y="492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6" name="任意多边形: 形状 10085">
              <a:extLst>
                <a:ext uri="{FF2B5EF4-FFF2-40B4-BE49-F238E27FC236}">
                  <a16:creationId xmlns:a16="http://schemas.microsoft.com/office/drawing/2014/main" id="{0FB03D23-70F5-4E3A-A200-98A19BFFD6CC}"/>
                </a:ext>
              </a:extLst>
            </p:cNvPr>
            <p:cNvSpPr/>
            <p:nvPr userDrawn="1"/>
          </p:nvSpPr>
          <p:spPr>
            <a:xfrm>
              <a:off x="8577292" y="4156551"/>
              <a:ext cx="127773" cy="85182"/>
            </a:xfrm>
            <a:custGeom>
              <a:avLst/>
              <a:gdLst>
                <a:gd name="connsiteX0" fmla="*/ 37629 w 127773"/>
                <a:gd name="connsiteY0" fmla="*/ 0 h 85182"/>
                <a:gd name="connsiteX1" fmla="*/ 85899 w 127773"/>
                <a:gd name="connsiteY1" fmla="*/ 17036 h 85182"/>
                <a:gd name="connsiteX2" fmla="*/ 132749 w 127773"/>
                <a:gd name="connsiteY2" fmla="*/ 46850 h 85182"/>
                <a:gd name="connsiteX3" fmla="*/ 87319 w 127773"/>
                <a:gd name="connsiteY3" fmla="*/ 34073 h 85182"/>
                <a:gd name="connsiteX4" fmla="*/ 70282 w 127773"/>
                <a:gd name="connsiteY4" fmla="*/ 32653 h 85182"/>
                <a:gd name="connsiteX5" fmla="*/ 90158 w 127773"/>
                <a:gd name="connsiteY5" fmla="*/ 44011 h 85182"/>
                <a:gd name="connsiteX6" fmla="*/ 134169 w 127773"/>
                <a:gd name="connsiteY6" fmla="*/ 79503 h 85182"/>
                <a:gd name="connsiteX7" fmla="*/ 122811 w 127773"/>
                <a:gd name="connsiteY7" fmla="*/ 80923 h 85182"/>
                <a:gd name="connsiteX8" fmla="*/ 127071 w 127773"/>
                <a:gd name="connsiteY8" fmla="*/ 88022 h 85182"/>
                <a:gd name="connsiteX9" fmla="*/ 71702 w 127773"/>
                <a:gd name="connsiteY9" fmla="*/ 80923 h 85182"/>
                <a:gd name="connsiteX10" fmla="*/ 83060 w 127773"/>
                <a:gd name="connsiteY10" fmla="*/ 95120 h 85182"/>
                <a:gd name="connsiteX11" fmla="*/ 4976 w 127773"/>
                <a:gd name="connsiteY11" fmla="*/ 73825 h 85182"/>
                <a:gd name="connsiteX12" fmla="*/ 37629 w 127773"/>
                <a:gd name="connsiteY12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73" h="85182">
                  <a:moveTo>
                    <a:pt x="37629" y="0"/>
                  </a:moveTo>
                  <a:cubicBezTo>
                    <a:pt x="37629" y="0"/>
                    <a:pt x="60344" y="5679"/>
                    <a:pt x="85899" y="17036"/>
                  </a:cubicBezTo>
                  <a:cubicBezTo>
                    <a:pt x="108614" y="25555"/>
                    <a:pt x="132749" y="41171"/>
                    <a:pt x="132749" y="46850"/>
                  </a:cubicBezTo>
                  <a:cubicBezTo>
                    <a:pt x="132749" y="52529"/>
                    <a:pt x="110034" y="41171"/>
                    <a:pt x="87319" y="34073"/>
                  </a:cubicBezTo>
                  <a:cubicBezTo>
                    <a:pt x="66023" y="26974"/>
                    <a:pt x="70282" y="32653"/>
                    <a:pt x="70282" y="32653"/>
                  </a:cubicBezTo>
                  <a:cubicBezTo>
                    <a:pt x="70282" y="32653"/>
                    <a:pt x="68863" y="31234"/>
                    <a:pt x="90158" y="44011"/>
                  </a:cubicBezTo>
                  <a:cubicBezTo>
                    <a:pt x="112874" y="56788"/>
                    <a:pt x="135588" y="73825"/>
                    <a:pt x="134169" y="79503"/>
                  </a:cubicBezTo>
                  <a:cubicBezTo>
                    <a:pt x="134169" y="82343"/>
                    <a:pt x="132749" y="83762"/>
                    <a:pt x="122811" y="80923"/>
                  </a:cubicBezTo>
                  <a:cubicBezTo>
                    <a:pt x="127071" y="83762"/>
                    <a:pt x="127071" y="86602"/>
                    <a:pt x="127071" y="88022"/>
                  </a:cubicBezTo>
                  <a:cubicBezTo>
                    <a:pt x="121391" y="100799"/>
                    <a:pt x="85899" y="86602"/>
                    <a:pt x="71702" y="80923"/>
                  </a:cubicBezTo>
                  <a:cubicBezTo>
                    <a:pt x="83060" y="85182"/>
                    <a:pt x="90158" y="89441"/>
                    <a:pt x="83060" y="95120"/>
                  </a:cubicBezTo>
                  <a:cubicBezTo>
                    <a:pt x="74541" y="100799"/>
                    <a:pt x="23432" y="79503"/>
                    <a:pt x="4976" y="73825"/>
                  </a:cubicBezTo>
                  <a:cubicBezTo>
                    <a:pt x="-16319" y="66726"/>
                    <a:pt x="37629" y="0"/>
                    <a:pt x="37629" y="0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7" name="任意多边形: 形状 10086">
              <a:extLst>
                <a:ext uri="{FF2B5EF4-FFF2-40B4-BE49-F238E27FC236}">
                  <a16:creationId xmlns:a16="http://schemas.microsoft.com/office/drawing/2014/main" id="{3E2E95A7-D1ED-4B4B-8BE2-AC6DCF11FB4E}"/>
                </a:ext>
              </a:extLst>
            </p:cNvPr>
            <p:cNvSpPr/>
            <p:nvPr userDrawn="1"/>
          </p:nvSpPr>
          <p:spPr>
            <a:xfrm>
              <a:off x="9088974" y="4033674"/>
              <a:ext cx="56788" cy="99379"/>
            </a:xfrm>
            <a:custGeom>
              <a:avLst/>
              <a:gdLst>
                <a:gd name="connsiteX0" fmla="*/ 1548 w 56788"/>
                <a:gd name="connsiteY0" fmla="*/ 101581 h 99379"/>
                <a:gd name="connsiteX1" fmla="*/ 29942 w 56788"/>
                <a:gd name="connsiteY1" fmla="*/ 87384 h 99379"/>
                <a:gd name="connsiteX2" fmla="*/ 46978 w 56788"/>
                <a:gd name="connsiteY2" fmla="*/ 67508 h 99379"/>
                <a:gd name="connsiteX3" fmla="*/ 54077 w 56788"/>
                <a:gd name="connsiteY3" fmla="*/ 7881 h 99379"/>
                <a:gd name="connsiteX4" fmla="*/ 32781 w 56788"/>
                <a:gd name="connsiteY4" fmla="*/ 782 h 99379"/>
                <a:gd name="connsiteX5" fmla="*/ 1548 w 56788"/>
                <a:gd name="connsiteY5" fmla="*/ 101581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99379">
                  <a:moveTo>
                    <a:pt x="1548" y="101581"/>
                  </a:moveTo>
                  <a:cubicBezTo>
                    <a:pt x="1548" y="101581"/>
                    <a:pt x="24263" y="97322"/>
                    <a:pt x="29942" y="87384"/>
                  </a:cubicBezTo>
                  <a:cubicBezTo>
                    <a:pt x="37040" y="77446"/>
                    <a:pt x="39880" y="80286"/>
                    <a:pt x="46978" y="67508"/>
                  </a:cubicBezTo>
                  <a:cubicBezTo>
                    <a:pt x="54077" y="54731"/>
                    <a:pt x="61175" y="20658"/>
                    <a:pt x="54077" y="7881"/>
                  </a:cubicBezTo>
                  <a:cubicBezTo>
                    <a:pt x="45559" y="-3477"/>
                    <a:pt x="32781" y="782"/>
                    <a:pt x="32781" y="782"/>
                  </a:cubicBezTo>
                  <a:cubicBezTo>
                    <a:pt x="32781" y="782"/>
                    <a:pt x="-8390" y="30596"/>
                    <a:pt x="1548" y="101581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8" name="任意多边形: 形状 10087">
              <a:extLst>
                <a:ext uri="{FF2B5EF4-FFF2-40B4-BE49-F238E27FC236}">
                  <a16:creationId xmlns:a16="http://schemas.microsoft.com/office/drawing/2014/main" id="{49AFA127-E140-4CDC-AB8F-5EF16EE422BB}"/>
                </a:ext>
              </a:extLst>
            </p:cNvPr>
            <p:cNvSpPr/>
            <p:nvPr userDrawn="1"/>
          </p:nvSpPr>
          <p:spPr>
            <a:xfrm>
              <a:off x="8371885" y="3827180"/>
              <a:ext cx="170364" cy="283940"/>
            </a:xfrm>
            <a:custGeom>
              <a:avLst/>
              <a:gdLst>
                <a:gd name="connsiteX0" fmla="*/ 81191 w 170364"/>
                <a:gd name="connsiteY0" fmla="*/ 0 h 283940"/>
                <a:gd name="connsiteX1" fmla="*/ 59895 w 170364"/>
                <a:gd name="connsiteY1" fmla="*/ 168945 h 283940"/>
                <a:gd name="connsiteX2" fmla="*/ 170632 w 170364"/>
                <a:gd name="connsiteY2" fmla="*/ 291039 h 283940"/>
                <a:gd name="connsiteX3" fmla="*/ 268 w 170364"/>
                <a:gd name="connsiteY3" fmla="*/ 168945 h 283940"/>
                <a:gd name="connsiteX4" fmla="*/ 81191 w 170364"/>
                <a:gd name="connsiteY4" fmla="*/ 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83940">
                  <a:moveTo>
                    <a:pt x="81191" y="0"/>
                  </a:moveTo>
                  <a:cubicBezTo>
                    <a:pt x="81191" y="0"/>
                    <a:pt x="47118" y="159007"/>
                    <a:pt x="59895" y="168945"/>
                  </a:cubicBezTo>
                  <a:cubicBezTo>
                    <a:pt x="72672" y="178882"/>
                    <a:pt x="153596" y="278262"/>
                    <a:pt x="170632" y="291039"/>
                  </a:cubicBezTo>
                  <a:cubicBezTo>
                    <a:pt x="187668" y="303816"/>
                    <a:pt x="5947" y="193079"/>
                    <a:pt x="268" y="168945"/>
                  </a:cubicBezTo>
                  <a:cubicBezTo>
                    <a:pt x="-5411" y="144810"/>
                    <a:pt x="81191" y="0"/>
                    <a:pt x="81191" y="0"/>
                  </a:cubicBezTo>
                  <a:close/>
                </a:path>
              </a:pathLst>
            </a:custGeom>
            <a:solidFill>
              <a:srgbClr val="A87F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9" name="任意多边形: 形状 10088">
              <a:extLst>
                <a:ext uri="{FF2B5EF4-FFF2-40B4-BE49-F238E27FC236}">
                  <a16:creationId xmlns:a16="http://schemas.microsoft.com/office/drawing/2014/main" id="{58D277D5-6745-4243-A514-1CD23484B956}"/>
                </a:ext>
              </a:extLst>
            </p:cNvPr>
            <p:cNvSpPr/>
            <p:nvPr userDrawn="1"/>
          </p:nvSpPr>
          <p:spPr>
            <a:xfrm>
              <a:off x="8290893" y="3675304"/>
              <a:ext cx="298137" cy="539487"/>
            </a:xfrm>
            <a:custGeom>
              <a:avLst/>
              <a:gdLst>
                <a:gd name="connsiteX0" fmla="*/ 149405 w 298137"/>
                <a:gd name="connsiteY0" fmla="*/ 2807 h 539486"/>
                <a:gd name="connsiteX1" fmla="*/ 169281 w 298137"/>
                <a:gd name="connsiteY1" fmla="*/ 90828 h 539486"/>
                <a:gd name="connsiteX2" fmla="*/ 143726 w 298137"/>
                <a:gd name="connsiteY2" fmla="*/ 201565 h 539486"/>
                <a:gd name="connsiteX3" fmla="*/ 108234 w 298137"/>
                <a:gd name="connsiteY3" fmla="*/ 322240 h 539486"/>
                <a:gd name="connsiteX4" fmla="*/ 207613 w 298137"/>
                <a:gd name="connsiteY4" fmla="*/ 408842 h 539486"/>
                <a:gd name="connsiteX5" fmla="*/ 306992 w 298137"/>
                <a:gd name="connsiteY5" fmla="*/ 485506 h 539486"/>
                <a:gd name="connsiteX6" fmla="*/ 268660 w 298137"/>
                <a:gd name="connsiteY6" fmla="*/ 550812 h 539486"/>
                <a:gd name="connsiteX7" fmla="*/ 52865 w 298137"/>
                <a:gd name="connsiteY7" fmla="*/ 408842 h 539486"/>
                <a:gd name="connsiteX8" fmla="*/ 1756 w 298137"/>
                <a:gd name="connsiteY8" fmla="*/ 316561 h 539486"/>
                <a:gd name="connsiteX9" fmla="*/ 35829 w 298137"/>
                <a:gd name="connsiteY9" fmla="*/ 129160 h 539486"/>
                <a:gd name="connsiteX10" fmla="*/ 149405 w 298137"/>
                <a:gd name="connsiteY10" fmla="*/ 2807 h 53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137" h="539486">
                  <a:moveTo>
                    <a:pt x="149405" y="2807"/>
                  </a:moveTo>
                  <a:cubicBezTo>
                    <a:pt x="162182" y="7066"/>
                    <a:pt x="169281" y="28361"/>
                    <a:pt x="169281" y="90828"/>
                  </a:cubicBezTo>
                  <a:cubicBezTo>
                    <a:pt x="170701" y="154715"/>
                    <a:pt x="150825" y="185948"/>
                    <a:pt x="143726" y="201565"/>
                  </a:cubicBezTo>
                  <a:cubicBezTo>
                    <a:pt x="136628" y="217182"/>
                    <a:pt x="99716" y="310882"/>
                    <a:pt x="108234" y="322240"/>
                  </a:cubicBezTo>
                  <a:cubicBezTo>
                    <a:pt x="118172" y="333597"/>
                    <a:pt x="201934" y="403163"/>
                    <a:pt x="207613" y="408842"/>
                  </a:cubicBezTo>
                  <a:cubicBezTo>
                    <a:pt x="213292" y="414520"/>
                    <a:pt x="306992" y="485506"/>
                    <a:pt x="306992" y="485506"/>
                  </a:cubicBezTo>
                  <a:lnTo>
                    <a:pt x="268660" y="550812"/>
                  </a:lnTo>
                  <a:cubicBezTo>
                    <a:pt x="268660" y="550812"/>
                    <a:pt x="68482" y="421619"/>
                    <a:pt x="52865" y="408842"/>
                  </a:cubicBezTo>
                  <a:cubicBezTo>
                    <a:pt x="37249" y="396064"/>
                    <a:pt x="-9602" y="369090"/>
                    <a:pt x="1756" y="316561"/>
                  </a:cubicBezTo>
                  <a:cubicBezTo>
                    <a:pt x="13114" y="264032"/>
                    <a:pt x="31570" y="139098"/>
                    <a:pt x="35829" y="129160"/>
                  </a:cubicBezTo>
                  <a:cubicBezTo>
                    <a:pt x="38668" y="117803"/>
                    <a:pt x="64223" y="-21328"/>
                    <a:pt x="149405" y="2807"/>
                  </a:cubicBez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0" name="任意多边形: 形状 10089">
              <a:extLst>
                <a:ext uri="{FF2B5EF4-FFF2-40B4-BE49-F238E27FC236}">
                  <a16:creationId xmlns:a16="http://schemas.microsoft.com/office/drawing/2014/main" id="{4982B53D-75AA-4FA7-BA12-3FA26A48746C}"/>
                </a:ext>
              </a:extLst>
            </p:cNvPr>
            <p:cNvSpPr/>
            <p:nvPr userDrawn="1"/>
          </p:nvSpPr>
          <p:spPr>
            <a:xfrm>
              <a:off x="10017587" y="3636940"/>
              <a:ext cx="70985" cy="85182"/>
            </a:xfrm>
            <a:custGeom>
              <a:avLst/>
              <a:gdLst>
                <a:gd name="connsiteX0" fmla="*/ 59627 w 70985"/>
                <a:gd name="connsiteY0" fmla="*/ 92281 h 85182"/>
                <a:gd name="connsiteX1" fmla="*/ 59627 w 70985"/>
                <a:gd name="connsiteY1" fmla="*/ 49690 h 85182"/>
                <a:gd name="connsiteX2" fmla="*/ 0 w 70985"/>
                <a:gd name="connsiteY2" fmla="*/ 8518 h 85182"/>
                <a:gd name="connsiteX3" fmla="*/ 5679 w 70985"/>
                <a:gd name="connsiteY3" fmla="*/ 0 h 85182"/>
                <a:gd name="connsiteX4" fmla="*/ 66726 w 70985"/>
                <a:gd name="connsiteY4" fmla="*/ 42591 h 85182"/>
                <a:gd name="connsiteX5" fmla="*/ 70985 w 70985"/>
                <a:gd name="connsiteY5" fmla="*/ 93700 h 85182"/>
                <a:gd name="connsiteX6" fmla="*/ 59627 w 70985"/>
                <a:gd name="connsiteY6" fmla="*/ 9228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85182">
                  <a:moveTo>
                    <a:pt x="59627" y="92281"/>
                  </a:moveTo>
                  <a:cubicBezTo>
                    <a:pt x="62467" y="72405"/>
                    <a:pt x="62467" y="52529"/>
                    <a:pt x="59627" y="49690"/>
                  </a:cubicBezTo>
                  <a:cubicBezTo>
                    <a:pt x="53949" y="44011"/>
                    <a:pt x="18456" y="19876"/>
                    <a:pt x="0" y="8518"/>
                  </a:cubicBezTo>
                  <a:lnTo>
                    <a:pt x="5679" y="0"/>
                  </a:lnTo>
                  <a:cubicBezTo>
                    <a:pt x="8518" y="1420"/>
                    <a:pt x="58207" y="35493"/>
                    <a:pt x="66726" y="42591"/>
                  </a:cubicBezTo>
                  <a:cubicBezTo>
                    <a:pt x="75244" y="51109"/>
                    <a:pt x="72404" y="80923"/>
                    <a:pt x="70985" y="93700"/>
                  </a:cubicBezTo>
                  <a:lnTo>
                    <a:pt x="59627" y="92281"/>
                  </a:lnTo>
                  <a:close/>
                </a:path>
              </a:pathLst>
            </a:custGeom>
            <a:solidFill>
              <a:srgbClr val="FFE0E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1" name="任意多边形: 形状 10090">
              <a:extLst>
                <a:ext uri="{FF2B5EF4-FFF2-40B4-BE49-F238E27FC236}">
                  <a16:creationId xmlns:a16="http://schemas.microsoft.com/office/drawing/2014/main" id="{0A3F9538-C081-466D-B5B9-65330610498A}"/>
                </a:ext>
              </a:extLst>
            </p:cNvPr>
            <p:cNvSpPr/>
            <p:nvPr userDrawn="1"/>
          </p:nvSpPr>
          <p:spPr>
            <a:xfrm>
              <a:off x="10010489" y="3717863"/>
              <a:ext cx="113576" cy="170364"/>
            </a:xfrm>
            <a:custGeom>
              <a:avLst/>
              <a:gdLst>
                <a:gd name="connsiteX0" fmla="*/ 18456 w 113576"/>
                <a:gd name="connsiteY0" fmla="*/ 0 h 170364"/>
                <a:gd name="connsiteX1" fmla="*/ 0 w 113576"/>
                <a:gd name="connsiteY1" fmla="*/ 160426 h 170364"/>
                <a:gd name="connsiteX2" fmla="*/ 69565 w 113576"/>
                <a:gd name="connsiteY2" fmla="*/ 176043 h 170364"/>
                <a:gd name="connsiteX3" fmla="*/ 122094 w 113576"/>
                <a:gd name="connsiteY3" fmla="*/ 22715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70364">
                  <a:moveTo>
                    <a:pt x="18456" y="0"/>
                  </a:moveTo>
                  <a:lnTo>
                    <a:pt x="0" y="160426"/>
                  </a:lnTo>
                  <a:lnTo>
                    <a:pt x="69565" y="176043"/>
                  </a:lnTo>
                  <a:lnTo>
                    <a:pt x="122094" y="22715"/>
                  </a:lnTo>
                  <a:close/>
                </a:path>
              </a:pathLst>
            </a:custGeom>
            <a:solidFill>
              <a:srgbClr val="FF55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2" name="任意多边形: 形状 10091">
              <a:extLst>
                <a:ext uri="{FF2B5EF4-FFF2-40B4-BE49-F238E27FC236}">
                  <a16:creationId xmlns:a16="http://schemas.microsoft.com/office/drawing/2014/main" id="{FCAEF5DC-CBB9-409B-A314-D4E3D8B70C0C}"/>
                </a:ext>
              </a:extLst>
            </p:cNvPr>
            <p:cNvSpPr/>
            <p:nvPr userDrawn="1"/>
          </p:nvSpPr>
          <p:spPr>
            <a:xfrm>
              <a:off x="9590391" y="3487069"/>
              <a:ext cx="269743" cy="440108"/>
            </a:xfrm>
            <a:custGeom>
              <a:avLst/>
              <a:gdLst>
                <a:gd name="connsiteX0" fmla="*/ 104923 w 269743"/>
                <a:gd name="connsiteY0" fmla="*/ 802 h 440107"/>
                <a:gd name="connsiteX1" fmla="*/ 12643 w 269743"/>
                <a:gd name="connsiteY1" fmla="*/ 56171 h 440107"/>
                <a:gd name="connsiteX2" fmla="*/ 14062 w 269743"/>
                <a:gd name="connsiteY2" fmla="*/ 178265 h 440107"/>
                <a:gd name="connsiteX3" fmla="*/ 24000 w 269743"/>
                <a:gd name="connsiteY3" fmla="*/ 284743 h 440107"/>
                <a:gd name="connsiteX4" fmla="*/ 2704 w 269743"/>
                <a:gd name="connsiteY4" fmla="*/ 355728 h 440107"/>
                <a:gd name="connsiteX5" fmla="*/ 9803 w 269743"/>
                <a:gd name="connsiteY5" fmla="*/ 381282 h 440107"/>
                <a:gd name="connsiteX6" fmla="*/ 276707 w 269743"/>
                <a:gd name="connsiteY6" fmla="*/ 440910 h 440107"/>
                <a:gd name="connsiteX7" fmla="*/ 251152 w 269743"/>
                <a:gd name="connsiteY7" fmla="*/ 345790 h 440107"/>
                <a:gd name="connsiteX8" fmla="*/ 234116 w 269743"/>
                <a:gd name="connsiteY8" fmla="*/ 260608 h 440107"/>
                <a:gd name="connsiteX9" fmla="*/ 249733 w 269743"/>
                <a:gd name="connsiteY9" fmla="*/ 132834 h 440107"/>
                <a:gd name="connsiteX10" fmla="*/ 188686 w 269743"/>
                <a:gd name="connsiteY10" fmla="*/ 20678 h 440107"/>
                <a:gd name="connsiteX11" fmla="*/ 104923 w 269743"/>
                <a:gd name="connsiteY11" fmla="*/ 80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9743" h="440107">
                  <a:moveTo>
                    <a:pt x="104923" y="802"/>
                  </a:moveTo>
                  <a:cubicBezTo>
                    <a:pt x="104923" y="802"/>
                    <a:pt x="35358" y="-2037"/>
                    <a:pt x="12643" y="56171"/>
                  </a:cubicBezTo>
                  <a:cubicBezTo>
                    <a:pt x="-10073" y="112959"/>
                    <a:pt x="6964" y="156969"/>
                    <a:pt x="14062" y="178265"/>
                  </a:cubicBezTo>
                  <a:cubicBezTo>
                    <a:pt x="31099" y="232214"/>
                    <a:pt x="32518" y="252089"/>
                    <a:pt x="24000" y="284743"/>
                  </a:cubicBezTo>
                  <a:cubicBezTo>
                    <a:pt x="16901" y="314556"/>
                    <a:pt x="9803" y="328753"/>
                    <a:pt x="2704" y="355728"/>
                  </a:cubicBezTo>
                  <a:cubicBezTo>
                    <a:pt x="-5813" y="382702"/>
                    <a:pt x="8384" y="379863"/>
                    <a:pt x="9803" y="381282"/>
                  </a:cubicBezTo>
                  <a:cubicBezTo>
                    <a:pt x="11223" y="382702"/>
                    <a:pt x="276707" y="440910"/>
                    <a:pt x="276707" y="440910"/>
                  </a:cubicBezTo>
                  <a:cubicBezTo>
                    <a:pt x="276707" y="440910"/>
                    <a:pt x="268189" y="372764"/>
                    <a:pt x="251152" y="345790"/>
                  </a:cubicBezTo>
                  <a:cubicBezTo>
                    <a:pt x="238375" y="325914"/>
                    <a:pt x="218499" y="318815"/>
                    <a:pt x="234116" y="260608"/>
                  </a:cubicBezTo>
                  <a:cubicBezTo>
                    <a:pt x="248313" y="202400"/>
                    <a:pt x="258251" y="175426"/>
                    <a:pt x="249733" y="132834"/>
                  </a:cubicBezTo>
                  <a:cubicBezTo>
                    <a:pt x="239795" y="83145"/>
                    <a:pt x="234116" y="53331"/>
                    <a:pt x="188686" y="20678"/>
                  </a:cubicBezTo>
                  <a:cubicBezTo>
                    <a:pt x="158872" y="2222"/>
                    <a:pt x="127639" y="-2037"/>
                    <a:pt x="104923" y="802"/>
                  </a:cubicBezTo>
                  <a:close/>
                </a:path>
              </a:pathLst>
            </a:custGeom>
            <a:solidFill>
              <a:srgbClr val="3B3B4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3" name="任意多边形: 形状 10092">
              <a:extLst>
                <a:ext uri="{FF2B5EF4-FFF2-40B4-BE49-F238E27FC236}">
                  <a16:creationId xmlns:a16="http://schemas.microsoft.com/office/drawing/2014/main" id="{0CF524EB-8DF9-4DC4-8837-246D6C5761EE}"/>
                </a:ext>
              </a:extLst>
            </p:cNvPr>
            <p:cNvSpPr/>
            <p:nvPr userDrawn="1"/>
          </p:nvSpPr>
          <p:spPr>
            <a:xfrm>
              <a:off x="9477342" y="3902424"/>
              <a:ext cx="127773" cy="440108"/>
            </a:xfrm>
            <a:custGeom>
              <a:avLst/>
              <a:gdLst>
                <a:gd name="connsiteX0" fmla="*/ 139889 w 127773"/>
                <a:gd name="connsiteY0" fmla="*/ 315174 h 440107"/>
                <a:gd name="connsiteX1" fmla="*/ 110075 w 127773"/>
                <a:gd name="connsiteY1" fmla="*/ 441527 h 440107"/>
                <a:gd name="connsiteX2" fmla="*/ 24893 w 127773"/>
                <a:gd name="connsiteY2" fmla="*/ 428750 h 440107"/>
                <a:gd name="connsiteX3" fmla="*/ 759 w 127773"/>
                <a:gd name="connsiteY3" fmla="*/ 306656 h 440107"/>
                <a:gd name="connsiteX4" fmla="*/ 56127 w 127773"/>
                <a:gd name="connsiteY4" fmla="*/ 0 h 440107"/>
                <a:gd name="connsiteX5" fmla="*/ 139889 w 127773"/>
                <a:gd name="connsiteY5" fmla="*/ 315174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773" h="440107">
                  <a:moveTo>
                    <a:pt x="139889" y="315174"/>
                  </a:moveTo>
                  <a:cubicBezTo>
                    <a:pt x="137050" y="354926"/>
                    <a:pt x="128532" y="397517"/>
                    <a:pt x="110075" y="441527"/>
                  </a:cubicBezTo>
                  <a:cubicBezTo>
                    <a:pt x="110075" y="441527"/>
                    <a:pt x="53287" y="465662"/>
                    <a:pt x="24893" y="428750"/>
                  </a:cubicBezTo>
                  <a:cubicBezTo>
                    <a:pt x="13536" y="414553"/>
                    <a:pt x="5017" y="367703"/>
                    <a:pt x="759" y="306656"/>
                  </a:cubicBezTo>
                  <a:cubicBezTo>
                    <a:pt x="-4921" y="214375"/>
                    <a:pt x="22054" y="80923"/>
                    <a:pt x="56127" y="0"/>
                  </a:cubicBezTo>
                  <a:cubicBezTo>
                    <a:pt x="57547" y="0"/>
                    <a:pt x="149827" y="141970"/>
                    <a:pt x="139889" y="315174"/>
                  </a:cubicBez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4" name="任意多边形: 形状 10093">
              <a:extLst>
                <a:ext uri="{FF2B5EF4-FFF2-40B4-BE49-F238E27FC236}">
                  <a16:creationId xmlns:a16="http://schemas.microsoft.com/office/drawing/2014/main" id="{32AAD862-A760-4885-A6E9-20B63E434B6C}"/>
                </a:ext>
              </a:extLst>
            </p:cNvPr>
            <p:cNvSpPr/>
            <p:nvPr userDrawn="1"/>
          </p:nvSpPr>
          <p:spPr>
            <a:xfrm>
              <a:off x="9478100" y="4209080"/>
              <a:ext cx="127773" cy="141970"/>
            </a:xfrm>
            <a:custGeom>
              <a:avLst/>
              <a:gdLst>
                <a:gd name="connsiteX0" fmla="*/ 139131 w 127773"/>
                <a:gd name="connsiteY0" fmla="*/ 8518 h 141970"/>
                <a:gd name="connsiteX1" fmla="*/ 109317 w 127773"/>
                <a:gd name="connsiteY1" fmla="*/ 134872 h 141970"/>
                <a:gd name="connsiteX2" fmla="*/ 24135 w 127773"/>
                <a:gd name="connsiteY2" fmla="*/ 122094 h 141970"/>
                <a:gd name="connsiteX3" fmla="*/ 0 w 127773"/>
                <a:gd name="connsiteY3" fmla="*/ 0 h 141970"/>
                <a:gd name="connsiteX4" fmla="*/ 139131 w 127773"/>
                <a:gd name="connsiteY4" fmla="*/ 8518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773" h="141970">
                  <a:moveTo>
                    <a:pt x="139131" y="8518"/>
                  </a:moveTo>
                  <a:cubicBezTo>
                    <a:pt x="136291" y="48270"/>
                    <a:pt x="127773" y="90861"/>
                    <a:pt x="109317" y="134872"/>
                  </a:cubicBezTo>
                  <a:cubicBezTo>
                    <a:pt x="109317" y="134872"/>
                    <a:pt x="52529" y="159007"/>
                    <a:pt x="24135" y="122094"/>
                  </a:cubicBezTo>
                  <a:cubicBezTo>
                    <a:pt x="12777" y="107897"/>
                    <a:pt x="4259" y="61047"/>
                    <a:pt x="0" y="0"/>
                  </a:cubicBezTo>
                  <a:lnTo>
                    <a:pt x="139131" y="8518"/>
                  </a:ln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5" name="任意多边形: 形状 10094">
              <a:extLst>
                <a:ext uri="{FF2B5EF4-FFF2-40B4-BE49-F238E27FC236}">
                  <a16:creationId xmlns:a16="http://schemas.microsoft.com/office/drawing/2014/main" id="{95D2D11F-ADFC-4A3A-8CEF-9EF7C0CACE54}"/>
                </a:ext>
              </a:extLst>
            </p:cNvPr>
            <p:cNvSpPr/>
            <p:nvPr userDrawn="1"/>
          </p:nvSpPr>
          <p:spPr>
            <a:xfrm>
              <a:off x="10098510" y="3798400"/>
              <a:ext cx="28394" cy="28394"/>
            </a:xfrm>
            <a:custGeom>
              <a:avLst/>
              <a:gdLst>
                <a:gd name="connsiteX0" fmla="*/ 14197 w 28394"/>
                <a:gd name="connsiteY0" fmla="*/ 41558 h 28394"/>
                <a:gd name="connsiteX1" fmla="*/ 28394 w 28394"/>
                <a:gd name="connsiteY1" fmla="*/ 10324 h 28394"/>
                <a:gd name="connsiteX2" fmla="*/ 12777 w 28394"/>
                <a:gd name="connsiteY2" fmla="*/ 7485 h 28394"/>
                <a:gd name="connsiteX3" fmla="*/ 0 w 28394"/>
                <a:gd name="connsiteY3" fmla="*/ 33039 h 28394"/>
                <a:gd name="connsiteX4" fmla="*/ 14197 w 28394"/>
                <a:gd name="connsiteY4" fmla="*/ 4155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94" h="28394">
                  <a:moveTo>
                    <a:pt x="14197" y="41558"/>
                  </a:moveTo>
                  <a:cubicBezTo>
                    <a:pt x="14197" y="41558"/>
                    <a:pt x="24135" y="16003"/>
                    <a:pt x="28394" y="10324"/>
                  </a:cubicBezTo>
                  <a:cubicBezTo>
                    <a:pt x="32653" y="4645"/>
                    <a:pt x="19876" y="-8132"/>
                    <a:pt x="12777" y="7485"/>
                  </a:cubicBezTo>
                  <a:cubicBezTo>
                    <a:pt x="5679" y="23102"/>
                    <a:pt x="0" y="33039"/>
                    <a:pt x="0" y="33039"/>
                  </a:cubicBezTo>
                  <a:lnTo>
                    <a:pt x="14197" y="41558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6" name="任意多边形: 形状 10095">
              <a:extLst>
                <a:ext uri="{FF2B5EF4-FFF2-40B4-BE49-F238E27FC236}">
                  <a16:creationId xmlns:a16="http://schemas.microsoft.com/office/drawing/2014/main" id="{FD22D3CD-722B-438C-A117-DB25980771E5}"/>
                </a:ext>
              </a:extLst>
            </p:cNvPr>
            <p:cNvSpPr/>
            <p:nvPr userDrawn="1"/>
          </p:nvSpPr>
          <p:spPr>
            <a:xfrm>
              <a:off x="10025104" y="3785952"/>
              <a:ext cx="85182" cy="141970"/>
            </a:xfrm>
            <a:custGeom>
              <a:avLst/>
              <a:gdLst>
                <a:gd name="connsiteX0" fmla="*/ 91863 w 85182"/>
                <a:gd name="connsiteY0" fmla="*/ 71042 h 141970"/>
                <a:gd name="connsiteX1" fmla="*/ 80505 w 85182"/>
                <a:gd name="connsiteY1" fmla="*/ 45487 h 141970"/>
                <a:gd name="connsiteX2" fmla="*/ 23717 w 85182"/>
                <a:gd name="connsiteY2" fmla="*/ 57 h 141970"/>
                <a:gd name="connsiteX3" fmla="*/ 29396 w 85182"/>
                <a:gd name="connsiteY3" fmla="*/ 21352 h 141970"/>
                <a:gd name="connsiteX4" fmla="*/ 47852 w 85182"/>
                <a:gd name="connsiteY4" fmla="*/ 35549 h 141970"/>
                <a:gd name="connsiteX5" fmla="*/ 9520 w 85182"/>
                <a:gd name="connsiteY5" fmla="*/ 22772 h 141970"/>
                <a:gd name="connsiteX6" fmla="*/ 2421 w 85182"/>
                <a:gd name="connsiteY6" fmla="*/ 35549 h 141970"/>
                <a:gd name="connsiteX7" fmla="*/ 19458 w 85182"/>
                <a:gd name="connsiteY7" fmla="*/ 44067 h 141970"/>
                <a:gd name="connsiteX8" fmla="*/ 2421 w 85182"/>
                <a:gd name="connsiteY8" fmla="*/ 44067 h 141970"/>
                <a:gd name="connsiteX9" fmla="*/ 9520 w 85182"/>
                <a:gd name="connsiteY9" fmla="*/ 59684 h 141970"/>
                <a:gd name="connsiteX10" fmla="*/ 8100 w 85182"/>
                <a:gd name="connsiteY10" fmla="*/ 76721 h 141970"/>
                <a:gd name="connsiteX11" fmla="*/ 18038 w 85182"/>
                <a:gd name="connsiteY11" fmla="*/ 107954 h 141970"/>
                <a:gd name="connsiteX12" fmla="*/ 25137 w 85182"/>
                <a:gd name="connsiteY12" fmla="*/ 144866 h 141970"/>
                <a:gd name="connsiteX13" fmla="*/ 66308 w 85182"/>
                <a:gd name="connsiteY13" fmla="*/ 140607 h 141970"/>
                <a:gd name="connsiteX14" fmla="*/ 79085 w 85182"/>
                <a:gd name="connsiteY14" fmla="*/ 95177 h 141970"/>
                <a:gd name="connsiteX15" fmla="*/ 91863 w 85182"/>
                <a:gd name="connsiteY15" fmla="*/ 71042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5182" h="141970">
                  <a:moveTo>
                    <a:pt x="91863" y="71042"/>
                  </a:moveTo>
                  <a:cubicBezTo>
                    <a:pt x="91863" y="71042"/>
                    <a:pt x="96122" y="61104"/>
                    <a:pt x="80505" y="45487"/>
                  </a:cubicBezTo>
                  <a:cubicBezTo>
                    <a:pt x="59209" y="24192"/>
                    <a:pt x="29396" y="-1363"/>
                    <a:pt x="23717" y="57"/>
                  </a:cubicBezTo>
                  <a:cubicBezTo>
                    <a:pt x="13779" y="1476"/>
                    <a:pt x="15199" y="9995"/>
                    <a:pt x="29396" y="21352"/>
                  </a:cubicBezTo>
                  <a:cubicBezTo>
                    <a:pt x="43593" y="32710"/>
                    <a:pt x="47852" y="35549"/>
                    <a:pt x="47852" y="35549"/>
                  </a:cubicBezTo>
                  <a:cubicBezTo>
                    <a:pt x="47852" y="35549"/>
                    <a:pt x="18038" y="21352"/>
                    <a:pt x="9520" y="22772"/>
                  </a:cubicBezTo>
                  <a:cubicBezTo>
                    <a:pt x="1002" y="24192"/>
                    <a:pt x="-1838" y="32710"/>
                    <a:pt x="2421" y="35549"/>
                  </a:cubicBezTo>
                  <a:cubicBezTo>
                    <a:pt x="6681" y="38389"/>
                    <a:pt x="19458" y="44067"/>
                    <a:pt x="19458" y="44067"/>
                  </a:cubicBezTo>
                  <a:cubicBezTo>
                    <a:pt x="19458" y="44067"/>
                    <a:pt x="5261" y="39808"/>
                    <a:pt x="2421" y="44067"/>
                  </a:cubicBezTo>
                  <a:cubicBezTo>
                    <a:pt x="-418" y="48327"/>
                    <a:pt x="-3257" y="52586"/>
                    <a:pt x="9520" y="59684"/>
                  </a:cubicBezTo>
                  <a:cubicBezTo>
                    <a:pt x="9520" y="59684"/>
                    <a:pt x="-3257" y="65363"/>
                    <a:pt x="8100" y="76721"/>
                  </a:cubicBezTo>
                  <a:cubicBezTo>
                    <a:pt x="18038" y="88078"/>
                    <a:pt x="19458" y="93757"/>
                    <a:pt x="18038" y="107954"/>
                  </a:cubicBezTo>
                  <a:cubicBezTo>
                    <a:pt x="16618" y="122151"/>
                    <a:pt x="25137" y="144866"/>
                    <a:pt x="25137" y="144866"/>
                  </a:cubicBezTo>
                  <a:lnTo>
                    <a:pt x="66308" y="140607"/>
                  </a:lnTo>
                  <a:cubicBezTo>
                    <a:pt x="66308" y="140607"/>
                    <a:pt x="73406" y="103695"/>
                    <a:pt x="79085" y="95177"/>
                  </a:cubicBezTo>
                  <a:cubicBezTo>
                    <a:pt x="83345" y="86658"/>
                    <a:pt x="91863" y="71042"/>
                    <a:pt x="91863" y="7104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7" name="任意多边形: 形状 10096">
              <a:extLst>
                <a:ext uri="{FF2B5EF4-FFF2-40B4-BE49-F238E27FC236}">
                  <a16:creationId xmlns:a16="http://schemas.microsoft.com/office/drawing/2014/main" id="{0785831B-723F-48ED-B855-D06E3B277EEC}"/>
                </a:ext>
              </a:extLst>
            </p:cNvPr>
            <p:cNvSpPr/>
            <p:nvPr userDrawn="1"/>
          </p:nvSpPr>
          <p:spPr>
            <a:xfrm>
              <a:off x="9741522" y="3832859"/>
              <a:ext cx="340728" cy="312334"/>
            </a:xfrm>
            <a:custGeom>
              <a:avLst/>
              <a:gdLst>
                <a:gd name="connsiteX0" fmla="*/ 117059 w 340728"/>
                <a:gd name="connsiteY0" fmla="*/ 258386 h 312334"/>
                <a:gd name="connsiteX1" fmla="*/ 180945 w 340728"/>
                <a:gd name="connsiteY1" fmla="*/ 316594 h 312334"/>
                <a:gd name="connsiteX2" fmla="*/ 354149 w 340728"/>
                <a:gd name="connsiteY2" fmla="*/ 99379 h 312334"/>
                <a:gd name="connsiteX3" fmla="*/ 294522 w 340728"/>
                <a:gd name="connsiteY3" fmla="*/ 70985 h 312334"/>
                <a:gd name="connsiteX4" fmla="*/ 240573 w 340728"/>
                <a:gd name="connsiteY4" fmla="*/ 140550 h 312334"/>
                <a:gd name="connsiteX5" fmla="*/ 176687 w 340728"/>
                <a:gd name="connsiteY5" fmla="*/ 210116 h 312334"/>
                <a:gd name="connsiteX6" fmla="*/ 146873 w 340728"/>
                <a:gd name="connsiteY6" fmla="*/ 164685 h 312334"/>
                <a:gd name="connsiteX7" fmla="*/ 107121 w 340728"/>
                <a:gd name="connsiteY7" fmla="*/ 56788 h 312334"/>
                <a:gd name="connsiteX8" fmla="*/ 33297 w 340728"/>
                <a:gd name="connsiteY8" fmla="*/ 0 h 312334"/>
                <a:gd name="connsiteX9" fmla="*/ 88665 w 340728"/>
                <a:gd name="connsiteY9" fmla="*/ 211536 h 312334"/>
                <a:gd name="connsiteX10" fmla="*/ 117059 w 340728"/>
                <a:gd name="connsiteY10" fmla="*/ 258386 h 31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0728" h="312334">
                  <a:moveTo>
                    <a:pt x="117059" y="258386"/>
                  </a:moveTo>
                  <a:cubicBezTo>
                    <a:pt x="135515" y="286780"/>
                    <a:pt x="161070" y="316594"/>
                    <a:pt x="180945" y="316594"/>
                  </a:cubicBezTo>
                  <a:cubicBezTo>
                    <a:pt x="193723" y="316594"/>
                    <a:pt x="354149" y="109317"/>
                    <a:pt x="354149" y="99379"/>
                  </a:cubicBezTo>
                  <a:cubicBezTo>
                    <a:pt x="354149" y="88021"/>
                    <a:pt x="294522" y="70985"/>
                    <a:pt x="294522" y="70985"/>
                  </a:cubicBezTo>
                  <a:cubicBezTo>
                    <a:pt x="294522" y="70985"/>
                    <a:pt x="266128" y="119255"/>
                    <a:pt x="240573" y="140550"/>
                  </a:cubicBezTo>
                  <a:cubicBezTo>
                    <a:pt x="215018" y="161846"/>
                    <a:pt x="183785" y="205857"/>
                    <a:pt x="176687" y="210116"/>
                  </a:cubicBezTo>
                  <a:cubicBezTo>
                    <a:pt x="169588" y="214375"/>
                    <a:pt x="146873" y="164685"/>
                    <a:pt x="146873" y="164685"/>
                  </a:cubicBezTo>
                  <a:cubicBezTo>
                    <a:pt x="139774" y="140550"/>
                    <a:pt x="129836" y="96540"/>
                    <a:pt x="107121" y="56788"/>
                  </a:cubicBezTo>
                  <a:cubicBezTo>
                    <a:pt x="84406" y="17036"/>
                    <a:pt x="33297" y="0"/>
                    <a:pt x="33297" y="0"/>
                  </a:cubicBezTo>
                  <a:cubicBezTo>
                    <a:pt x="-66083" y="44011"/>
                    <a:pt x="88665" y="211536"/>
                    <a:pt x="88665" y="211536"/>
                  </a:cubicBezTo>
                  <a:cubicBezTo>
                    <a:pt x="88665" y="211536"/>
                    <a:pt x="108541" y="245608"/>
                    <a:pt x="117059" y="258386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8" name="任意多边形: 形状 10097">
              <a:extLst>
                <a:ext uri="{FF2B5EF4-FFF2-40B4-BE49-F238E27FC236}">
                  <a16:creationId xmlns:a16="http://schemas.microsoft.com/office/drawing/2014/main" id="{898B6241-34DC-47D1-8BA7-490D9801B1E9}"/>
                </a:ext>
              </a:extLst>
            </p:cNvPr>
            <p:cNvSpPr/>
            <p:nvPr userDrawn="1"/>
          </p:nvSpPr>
          <p:spPr>
            <a:xfrm>
              <a:off x="9750173" y="3791687"/>
              <a:ext cx="99379" cy="184561"/>
            </a:xfrm>
            <a:custGeom>
              <a:avLst/>
              <a:gdLst>
                <a:gd name="connsiteX0" fmla="*/ 510 w 99379"/>
                <a:gd name="connsiteY0" fmla="*/ 0 h 184561"/>
                <a:gd name="connsiteX1" fmla="*/ 104149 w 99379"/>
                <a:gd name="connsiteY1" fmla="*/ 190240 h 184561"/>
                <a:gd name="connsiteX2" fmla="*/ 7609 w 99379"/>
                <a:gd name="connsiteY2" fmla="*/ 21296 h 184561"/>
                <a:gd name="connsiteX3" fmla="*/ 510 w 99379"/>
                <a:gd name="connsiteY3" fmla="*/ 0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" h="184561">
                  <a:moveTo>
                    <a:pt x="510" y="0"/>
                  </a:moveTo>
                  <a:cubicBezTo>
                    <a:pt x="510" y="0"/>
                    <a:pt x="78594" y="56788"/>
                    <a:pt x="104149" y="190240"/>
                  </a:cubicBezTo>
                  <a:cubicBezTo>
                    <a:pt x="104149" y="190240"/>
                    <a:pt x="31744" y="46850"/>
                    <a:pt x="7609" y="21296"/>
                  </a:cubicBezTo>
                  <a:cubicBezTo>
                    <a:pt x="7609" y="21296"/>
                    <a:pt x="-2329" y="11358"/>
                    <a:pt x="510" y="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9" name="任意多边形: 形状 10098">
              <a:extLst>
                <a:ext uri="{FF2B5EF4-FFF2-40B4-BE49-F238E27FC236}">
                  <a16:creationId xmlns:a16="http://schemas.microsoft.com/office/drawing/2014/main" id="{FB3EAF58-86A5-4D0D-8613-62AE8462CEC9}"/>
                </a:ext>
              </a:extLst>
            </p:cNvPr>
            <p:cNvSpPr/>
            <p:nvPr userDrawn="1"/>
          </p:nvSpPr>
          <p:spPr>
            <a:xfrm>
              <a:off x="9781917" y="4014581"/>
              <a:ext cx="85182" cy="383320"/>
            </a:xfrm>
            <a:custGeom>
              <a:avLst/>
              <a:gdLst>
                <a:gd name="connsiteX0" fmla="*/ 90861 w 85182"/>
                <a:gd name="connsiteY0" fmla="*/ 0 h 383319"/>
                <a:gd name="connsiteX1" fmla="*/ 90861 w 85182"/>
                <a:gd name="connsiteY1" fmla="*/ 381900 h 383319"/>
                <a:gd name="connsiteX2" fmla="*/ 0 w 85182"/>
                <a:gd name="connsiteY2" fmla="*/ 210116 h 383319"/>
                <a:gd name="connsiteX3" fmla="*/ 90861 w 85182"/>
                <a:gd name="connsiteY3" fmla="*/ 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182" h="383319">
                  <a:moveTo>
                    <a:pt x="90861" y="0"/>
                  </a:moveTo>
                  <a:cubicBezTo>
                    <a:pt x="90861" y="0"/>
                    <a:pt x="89441" y="310915"/>
                    <a:pt x="90861" y="381900"/>
                  </a:cubicBezTo>
                  <a:cubicBezTo>
                    <a:pt x="92281" y="452885"/>
                    <a:pt x="0" y="210116"/>
                    <a:pt x="0" y="210116"/>
                  </a:cubicBezTo>
                  <a:cubicBezTo>
                    <a:pt x="0" y="210116"/>
                    <a:pt x="48270" y="58208"/>
                    <a:pt x="90861" y="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0" name="任意多边形: 形状 10099">
              <a:extLst>
                <a:ext uri="{FF2B5EF4-FFF2-40B4-BE49-F238E27FC236}">
                  <a16:creationId xmlns:a16="http://schemas.microsoft.com/office/drawing/2014/main" id="{2D2C6A4F-F71B-4302-A801-4861C9B94138}"/>
                </a:ext>
              </a:extLst>
            </p:cNvPr>
            <p:cNvSpPr/>
            <p:nvPr userDrawn="1"/>
          </p:nvSpPr>
          <p:spPr>
            <a:xfrm>
              <a:off x="9463903" y="4583881"/>
              <a:ext cx="383320" cy="241349"/>
            </a:xfrm>
            <a:custGeom>
              <a:avLst/>
              <a:gdLst>
                <a:gd name="connsiteX0" fmla="*/ 0 w 383319"/>
                <a:gd name="connsiteY0" fmla="*/ 177463 h 241349"/>
                <a:gd name="connsiteX1" fmla="*/ 357765 w 383319"/>
                <a:gd name="connsiteY1" fmla="*/ 231411 h 241349"/>
                <a:gd name="connsiteX2" fmla="*/ 231411 w 383319"/>
                <a:gd name="connsiteY2" fmla="*/ 0 h 241349"/>
                <a:gd name="connsiteX3" fmla="*/ 0 w 383319"/>
                <a:gd name="connsiteY3" fmla="*/ 177463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319" h="241349">
                  <a:moveTo>
                    <a:pt x="0" y="177463"/>
                  </a:moveTo>
                  <a:cubicBezTo>
                    <a:pt x="0" y="177463"/>
                    <a:pt x="222893" y="153328"/>
                    <a:pt x="357765" y="231411"/>
                  </a:cubicBezTo>
                  <a:cubicBezTo>
                    <a:pt x="494056" y="309495"/>
                    <a:pt x="231411" y="0"/>
                    <a:pt x="231411" y="0"/>
                  </a:cubicBezTo>
                  <a:cubicBezTo>
                    <a:pt x="231411" y="0"/>
                    <a:pt x="2839" y="89441"/>
                    <a:pt x="0" y="177463"/>
                  </a:cubicBezTo>
                  <a:close/>
                </a:path>
              </a:pathLst>
            </a:custGeom>
            <a:solidFill>
              <a:srgbClr val="C2B2A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1" name="任意多边形: 形状 10100">
              <a:extLst>
                <a:ext uri="{FF2B5EF4-FFF2-40B4-BE49-F238E27FC236}">
                  <a16:creationId xmlns:a16="http://schemas.microsoft.com/office/drawing/2014/main" id="{7FDC8156-51D2-4A0E-A11D-3F358FA2BE28}"/>
                </a:ext>
              </a:extLst>
            </p:cNvPr>
            <p:cNvSpPr/>
            <p:nvPr userDrawn="1"/>
          </p:nvSpPr>
          <p:spPr>
            <a:xfrm>
              <a:off x="9874074" y="5405961"/>
              <a:ext cx="212955" cy="156167"/>
            </a:xfrm>
            <a:custGeom>
              <a:avLst/>
              <a:gdLst>
                <a:gd name="connsiteX0" fmla="*/ 68268 w 212955"/>
                <a:gd name="connsiteY0" fmla="*/ 31161 h 156167"/>
                <a:gd name="connsiteX1" fmla="*/ 96662 w 212955"/>
                <a:gd name="connsiteY1" fmla="*/ 69493 h 156167"/>
                <a:gd name="connsiteX2" fmla="*/ 164808 w 212955"/>
                <a:gd name="connsiteY2" fmla="*/ 113503 h 156167"/>
                <a:gd name="connsiteX3" fmla="*/ 217337 w 212955"/>
                <a:gd name="connsiteY3" fmla="*/ 137638 h 156167"/>
                <a:gd name="connsiteX4" fmla="*/ 143513 w 212955"/>
                <a:gd name="connsiteY4" fmla="*/ 163193 h 156167"/>
                <a:gd name="connsiteX5" fmla="*/ 4382 w 212955"/>
                <a:gd name="connsiteY5" fmla="*/ 120602 h 156167"/>
                <a:gd name="connsiteX6" fmla="*/ 12900 w 212955"/>
                <a:gd name="connsiteY6" fmla="*/ 11285 h 156167"/>
                <a:gd name="connsiteX7" fmla="*/ 68268 w 212955"/>
                <a:gd name="connsiteY7" fmla="*/ 31161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955" h="156167">
                  <a:moveTo>
                    <a:pt x="68268" y="31161"/>
                  </a:moveTo>
                  <a:cubicBezTo>
                    <a:pt x="68268" y="31161"/>
                    <a:pt x="79626" y="62394"/>
                    <a:pt x="96662" y="69493"/>
                  </a:cubicBezTo>
                  <a:cubicBezTo>
                    <a:pt x="113699" y="76591"/>
                    <a:pt x="150611" y="110664"/>
                    <a:pt x="164808" y="113503"/>
                  </a:cubicBezTo>
                  <a:cubicBezTo>
                    <a:pt x="179005" y="116343"/>
                    <a:pt x="215917" y="119182"/>
                    <a:pt x="217337" y="137638"/>
                  </a:cubicBezTo>
                  <a:cubicBezTo>
                    <a:pt x="218757" y="156094"/>
                    <a:pt x="215917" y="173131"/>
                    <a:pt x="143513" y="163193"/>
                  </a:cubicBezTo>
                  <a:cubicBezTo>
                    <a:pt x="71108" y="153255"/>
                    <a:pt x="4382" y="120602"/>
                    <a:pt x="4382" y="120602"/>
                  </a:cubicBezTo>
                  <a:cubicBezTo>
                    <a:pt x="4382" y="120602"/>
                    <a:pt x="-9815" y="48197"/>
                    <a:pt x="12900" y="11285"/>
                  </a:cubicBezTo>
                  <a:cubicBezTo>
                    <a:pt x="35615" y="-22788"/>
                    <a:pt x="68268" y="31161"/>
                    <a:pt x="68268" y="31161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2" name="任意多边形: 形状 10101">
              <a:extLst>
                <a:ext uri="{FF2B5EF4-FFF2-40B4-BE49-F238E27FC236}">
                  <a16:creationId xmlns:a16="http://schemas.microsoft.com/office/drawing/2014/main" id="{CC84A1A6-C76D-4A1F-81CD-3A70A0D96363}"/>
                </a:ext>
              </a:extLst>
            </p:cNvPr>
            <p:cNvSpPr/>
            <p:nvPr userDrawn="1"/>
          </p:nvSpPr>
          <p:spPr>
            <a:xfrm>
              <a:off x="9878437" y="5391692"/>
              <a:ext cx="56788" cy="56788"/>
            </a:xfrm>
            <a:custGeom>
              <a:avLst/>
              <a:gdLst>
                <a:gd name="connsiteX0" fmla="*/ 63906 w 56788"/>
                <a:gd name="connsiteY0" fmla="*/ 45430 h 56788"/>
                <a:gd name="connsiteX1" fmla="*/ 51129 w 56788"/>
                <a:gd name="connsiteY1" fmla="*/ 0 h 56788"/>
                <a:gd name="connsiteX2" fmla="*/ 19 w 56788"/>
                <a:gd name="connsiteY2" fmla="*/ 0 h 56788"/>
                <a:gd name="connsiteX3" fmla="*/ 19 w 56788"/>
                <a:gd name="connsiteY3" fmla="*/ 48270 h 56788"/>
                <a:gd name="connsiteX4" fmla="*/ 63906 w 56788"/>
                <a:gd name="connsiteY4" fmla="*/ 4543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63906" y="45430"/>
                  </a:moveTo>
                  <a:lnTo>
                    <a:pt x="51129" y="0"/>
                  </a:lnTo>
                  <a:lnTo>
                    <a:pt x="19" y="0"/>
                  </a:lnTo>
                  <a:lnTo>
                    <a:pt x="19" y="48270"/>
                  </a:lnTo>
                  <a:cubicBezTo>
                    <a:pt x="-1401" y="48270"/>
                    <a:pt x="76683" y="78084"/>
                    <a:pt x="63906" y="4543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3" name="任意多边形: 形状 10102">
              <a:extLst>
                <a:ext uri="{FF2B5EF4-FFF2-40B4-BE49-F238E27FC236}">
                  <a16:creationId xmlns:a16="http://schemas.microsoft.com/office/drawing/2014/main" id="{753E0AC5-0049-4779-97D9-D8CE0551026B}"/>
                </a:ext>
              </a:extLst>
            </p:cNvPr>
            <p:cNvSpPr/>
            <p:nvPr userDrawn="1"/>
          </p:nvSpPr>
          <p:spPr>
            <a:xfrm>
              <a:off x="9417609" y="5327115"/>
              <a:ext cx="156167" cy="198758"/>
            </a:xfrm>
            <a:custGeom>
              <a:avLst/>
              <a:gdLst>
                <a:gd name="connsiteX0" fmla="*/ 73269 w 156167"/>
                <a:gd name="connsiteY0" fmla="*/ 26245 h 198758"/>
                <a:gd name="connsiteX1" fmla="*/ 86046 w 156167"/>
                <a:gd name="connsiteY1" fmla="*/ 68836 h 198758"/>
                <a:gd name="connsiteX2" fmla="*/ 121539 w 156167"/>
                <a:gd name="connsiteY2" fmla="*/ 139821 h 198758"/>
                <a:gd name="connsiteX3" fmla="*/ 165550 w 156167"/>
                <a:gd name="connsiteY3" fmla="*/ 205127 h 198758"/>
                <a:gd name="connsiteX4" fmla="*/ 37776 w 156167"/>
                <a:gd name="connsiteY4" fmla="*/ 148339 h 198758"/>
                <a:gd name="connsiteX5" fmla="*/ 864 w 156167"/>
                <a:gd name="connsiteY5" fmla="*/ 75934 h 198758"/>
                <a:gd name="connsiteX6" fmla="*/ 33517 w 156167"/>
                <a:gd name="connsiteY6" fmla="*/ 690 h 198758"/>
                <a:gd name="connsiteX7" fmla="*/ 73269 w 156167"/>
                <a:gd name="connsiteY7" fmla="*/ 26245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167" h="198758">
                  <a:moveTo>
                    <a:pt x="73269" y="26245"/>
                  </a:moveTo>
                  <a:cubicBezTo>
                    <a:pt x="73269" y="26245"/>
                    <a:pt x="78948" y="58898"/>
                    <a:pt x="86046" y="68836"/>
                  </a:cubicBezTo>
                  <a:cubicBezTo>
                    <a:pt x="94564" y="78774"/>
                    <a:pt x="105922" y="125624"/>
                    <a:pt x="121539" y="139821"/>
                  </a:cubicBezTo>
                  <a:cubicBezTo>
                    <a:pt x="137156" y="155438"/>
                    <a:pt x="178327" y="188091"/>
                    <a:pt x="165550" y="205127"/>
                  </a:cubicBezTo>
                  <a:cubicBezTo>
                    <a:pt x="152772" y="222164"/>
                    <a:pt x="67590" y="200868"/>
                    <a:pt x="37776" y="148339"/>
                  </a:cubicBezTo>
                  <a:cubicBezTo>
                    <a:pt x="7963" y="95810"/>
                    <a:pt x="-3395" y="90131"/>
                    <a:pt x="864" y="75934"/>
                  </a:cubicBezTo>
                  <a:cubicBezTo>
                    <a:pt x="5123" y="61737"/>
                    <a:pt x="33517" y="7789"/>
                    <a:pt x="33517" y="690"/>
                  </a:cubicBezTo>
                  <a:cubicBezTo>
                    <a:pt x="33517" y="-4989"/>
                    <a:pt x="73269" y="26245"/>
                    <a:pt x="73269" y="26245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4" name="任意多边形: 形状 10103">
              <a:extLst>
                <a:ext uri="{FF2B5EF4-FFF2-40B4-BE49-F238E27FC236}">
                  <a16:creationId xmlns:a16="http://schemas.microsoft.com/office/drawing/2014/main" id="{D4FB78D9-1C60-48C8-9A2C-1EE50A70C65A}"/>
                </a:ext>
              </a:extLst>
            </p:cNvPr>
            <p:cNvSpPr/>
            <p:nvPr userDrawn="1"/>
          </p:nvSpPr>
          <p:spPr>
            <a:xfrm>
              <a:off x="9451126" y="5289473"/>
              <a:ext cx="42591" cy="56788"/>
            </a:xfrm>
            <a:custGeom>
              <a:avLst/>
              <a:gdLst>
                <a:gd name="connsiteX0" fmla="*/ 52529 w 42591"/>
                <a:gd name="connsiteY0" fmla="*/ 39752 h 56788"/>
                <a:gd name="connsiteX1" fmla="*/ 39752 w 42591"/>
                <a:gd name="connsiteY1" fmla="*/ 62467 h 56788"/>
                <a:gd name="connsiteX2" fmla="*/ 4259 w 42591"/>
                <a:gd name="connsiteY2" fmla="*/ 55368 h 56788"/>
                <a:gd name="connsiteX3" fmla="*/ 0 w 42591"/>
                <a:gd name="connsiteY3" fmla="*/ 36912 h 56788"/>
                <a:gd name="connsiteX4" fmla="*/ 12778 w 42591"/>
                <a:gd name="connsiteY4" fmla="*/ 0 h 56788"/>
                <a:gd name="connsiteX5" fmla="*/ 52529 w 42591"/>
                <a:gd name="connsiteY5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591" h="56788">
                  <a:moveTo>
                    <a:pt x="52529" y="39752"/>
                  </a:moveTo>
                  <a:cubicBezTo>
                    <a:pt x="52529" y="39752"/>
                    <a:pt x="42591" y="53949"/>
                    <a:pt x="39752" y="62467"/>
                  </a:cubicBezTo>
                  <a:cubicBezTo>
                    <a:pt x="36912" y="70985"/>
                    <a:pt x="18456" y="73824"/>
                    <a:pt x="4259" y="55368"/>
                  </a:cubicBezTo>
                  <a:cubicBezTo>
                    <a:pt x="4259" y="55368"/>
                    <a:pt x="0" y="48270"/>
                    <a:pt x="0" y="36912"/>
                  </a:cubicBezTo>
                  <a:cubicBezTo>
                    <a:pt x="0" y="25555"/>
                    <a:pt x="12778" y="0"/>
                    <a:pt x="12778" y="0"/>
                  </a:cubicBezTo>
                  <a:lnTo>
                    <a:pt x="52529" y="39752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5" name="任意多边形: 形状 10104">
              <a:extLst>
                <a:ext uri="{FF2B5EF4-FFF2-40B4-BE49-F238E27FC236}">
                  <a16:creationId xmlns:a16="http://schemas.microsoft.com/office/drawing/2014/main" id="{A2040D72-A21D-44D0-BD31-9311DBA9FDCA}"/>
                </a:ext>
              </a:extLst>
            </p:cNvPr>
            <p:cNvSpPr/>
            <p:nvPr userDrawn="1"/>
          </p:nvSpPr>
          <p:spPr>
            <a:xfrm>
              <a:off x="9695024" y="4355406"/>
              <a:ext cx="241349" cy="1078974"/>
            </a:xfrm>
            <a:custGeom>
              <a:avLst/>
              <a:gdLst>
                <a:gd name="connsiteX0" fmla="*/ 21586 w 241349"/>
                <a:gd name="connsiteY0" fmla="*/ 236993 h 1078973"/>
                <a:gd name="connsiteX1" fmla="*/ 59918 w 241349"/>
                <a:gd name="connsiteY1" fmla="*/ 364766 h 1078973"/>
                <a:gd name="connsiteX2" fmla="*/ 59918 w 241349"/>
                <a:gd name="connsiteY2" fmla="*/ 364766 h 1078973"/>
                <a:gd name="connsiteX3" fmla="*/ 76954 w 241349"/>
                <a:gd name="connsiteY3" fmla="*/ 417295 h 1078973"/>
                <a:gd name="connsiteX4" fmla="*/ 108188 w 241349"/>
                <a:gd name="connsiteY4" fmla="*/ 518094 h 1078973"/>
                <a:gd name="connsiteX5" fmla="*/ 116706 w 241349"/>
                <a:gd name="connsiteY5" fmla="*/ 550747 h 1078973"/>
                <a:gd name="connsiteX6" fmla="*/ 111027 w 241349"/>
                <a:gd name="connsiteY6" fmla="*/ 726790 h 1078973"/>
                <a:gd name="connsiteX7" fmla="*/ 170655 w 241349"/>
                <a:gd name="connsiteY7" fmla="*/ 1077457 h 1078973"/>
                <a:gd name="connsiteX8" fmla="*/ 252997 w 241349"/>
                <a:gd name="connsiteY8" fmla="*/ 1066099 h 1078973"/>
                <a:gd name="connsiteX9" fmla="*/ 233121 w 241349"/>
                <a:gd name="connsiteY9" fmla="*/ 658645 h 1078973"/>
                <a:gd name="connsiteX10" fmla="*/ 237381 w 241349"/>
                <a:gd name="connsiteY10" fmla="*/ 546488 h 1078973"/>
                <a:gd name="connsiteX11" fmla="*/ 235961 w 241349"/>
                <a:gd name="connsiteY11" fmla="*/ 526612 h 1078973"/>
                <a:gd name="connsiteX12" fmla="*/ 245899 w 241349"/>
                <a:gd name="connsiteY12" fmla="*/ 384642 h 1078973"/>
                <a:gd name="connsiteX13" fmla="*/ 218924 w 241349"/>
                <a:gd name="connsiteY13" fmla="*/ 116318 h 1078973"/>
                <a:gd name="connsiteX14" fmla="*/ 217505 w 241349"/>
                <a:gd name="connsiteY14" fmla="*/ 110640 h 1078973"/>
                <a:gd name="connsiteX15" fmla="*/ 186271 w 241349"/>
                <a:gd name="connsiteY15" fmla="*/ 14100 h 1078973"/>
                <a:gd name="connsiteX16" fmla="*/ 74115 w 241349"/>
                <a:gd name="connsiteY16" fmla="*/ 2742 h 1078973"/>
                <a:gd name="connsiteX17" fmla="*/ 8809 w 241349"/>
                <a:gd name="connsiteY17" fmla="*/ 59530 h 1078973"/>
                <a:gd name="connsiteX18" fmla="*/ 21586 w 241349"/>
                <a:gd name="connsiteY18" fmla="*/ 236993 h 107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1349" h="1078973">
                  <a:moveTo>
                    <a:pt x="21586" y="236993"/>
                  </a:moveTo>
                  <a:cubicBezTo>
                    <a:pt x="24426" y="249770"/>
                    <a:pt x="41462" y="303719"/>
                    <a:pt x="59918" y="364766"/>
                  </a:cubicBezTo>
                  <a:cubicBezTo>
                    <a:pt x="59918" y="364766"/>
                    <a:pt x="59918" y="364766"/>
                    <a:pt x="59918" y="364766"/>
                  </a:cubicBezTo>
                  <a:cubicBezTo>
                    <a:pt x="65597" y="381803"/>
                    <a:pt x="71276" y="400259"/>
                    <a:pt x="76954" y="417295"/>
                  </a:cubicBezTo>
                  <a:cubicBezTo>
                    <a:pt x="89731" y="455627"/>
                    <a:pt x="101089" y="491120"/>
                    <a:pt x="108188" y="518094"/>
                  </a:cubicBezTo>
                  <a:cubicBezTo>
                    <a:pt x="112447" y="532291"/>
                    <a:pt x="115286" y="543649"/>
                    <a:pt x="116706" y="550747"/>
                  </a:cubicBezTo>
                  <a:cubicBezTo>
                    <a:pt x="128064" y="596178"/>
                    <a:pt x="115286" y="667163"/>
                    <a:pt x="111027" y="726790"/>
                  </a:cubicBezTo>
                  <a:cubicBezTo>
                    <a:pt x="106768" y="786418"/>
                    <a:pt x="170655" y="1077457"/>
                    <a:pt x="170655" y="1077457"/>
                  </a:cubicBezTo>
                  <a:cubicBezTo>
                    <a:pt x="186271" y="1084555"/>
                    <a:pt x="252997" y="1066099"/>
                    <a:pt x="252997" y="1066099"/>
                  </a:cubicBezTo>
                  <a:cubicBezTo>
                    <a:pt x="241640" y="1044804"/>
                    <a:pt x="227443" y="681360"/>
                    <a:pt x="233121" y="658645"/>
                  </a:cubicBezTo>
                  <a:cubicBezTo>
                    <a:pt x="238800" y="635929"/>
                    <a:pt x="243060" y="570623"/>
                    <a:pt x="237381" y="546488"/>
                  </a:cubicBezTo>
                  <a:cubicBezTo>
                    <a:pt x="235961" y="540809"/>
                    <a:pt x="235961" y="535130"/>
                    <a:pt x="235961" y="526612"/>
                  </a:cubicBezTo>
                  <a:cubicBezTo>
                    <a:pt x="235961" y="495379"/>
                    <a:pt x="241640" y="442850"/>
                    <a:pt x="245899" y="384642"/>
                  </a:cubicBezTo>
                  <a:cubicBezTo>
                    <a:pt x="251578" y="312237"/>
                    <a:pt x="223184" y="131935"/>
                    <a:pt x="218924" y="116318"/>
                  </a:cubicBezTo>
                  <a:cubicBezTo>
                    <a:pt x="218924" y="114899"/>
                    <a:pt x="217505" y="112059"/>
                    <a:pt x="217505" y="110640"/>
                  </a:cubicBezTo>
                  <a:cubicBezTo>
                    <a:pt x="210406" y="85085"/>
                    <a:pt x="186271" y="14100"/>
                    <a:pt x="186271" y="14100"/>
                  </a:cubicBezTo>
                  <a:cubicBezTo>
                    <a:pt x="138002" y="-97"/>
                    <a:pt x="101089" y="-2937"/>
                    <a:pt x="74115" y="2742"/>
                  </a:cubicBezTo>
                  <a:cubicBezTo>
                    <a:pt x="38623" y="9841"/>
                    <a:pt x="18746" y="31136"/>
                    <a:pt x="8809" y="59530"/>
                  </a:cubicBezTo>
                  <a:cubicBezTo>
                    <a:pt x="-15326" y="120577"/>
                    <a:pt x="17327" y="219957"/>
                    <a:pt x="21586" y="236993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6" name="任意多边形: 形状 10105">
              <a:extLst>
                <a:ext uri="{FF2B5EF4-FFF2-40B4-BE49-F238E27FC236}">
                  <a16:creationId xmlns:a16="http://schemas.microsoft.com/office/drawing/2014/main" id="{57D8D695-A82D-47E5-8ECD-ADCA0C9617C7}"/>
                </a:ext>
              </a:extLst>
            </p:cNvPr>
            <p:cNvSpPr/>
            <p:nvPr userDrawn="1"/>
          </p:nvSpPr>
          <p:spPr>
            <a:xfrm>
              <a:off x="9441188" y="4302582"/>
              <a:ext cx="326531" cy="1036383"/>
            </a:xfrm>
            <a:custGeom>
              <a:avLst/>
              <a:gdLst>
                <a:gd name="connsiteX0" fmla="*/ 0 w 326531"/>
                <a:gd name="connsiteY0" fmla="*/ 1018125 h 1036382"/>
                <a:gd name="connsiteX1" fmla="*/ 66726 w 326531"/>
                <a:gd name="connsiteY1" fmla="*/ 1046519 h 1036382"/>
                <a:gd name="connsiteX2" fmla="*/ 271163 w 326531"/>
                <a:gd name="connsiteY2" fmla="*/ 695852 h 1036382"/>
                <a:gd name="connsiteX3" fmla="*/ 296718 w 326531"/>
                <a:gd name="connsiteY3" fmla="*/ 582276 h 1036382"/>
                <a:gd name="connsiteX4" fmla="*/ 298137 w 326531"/>
                <a:gd name="connsiteY4" fmla="*/ 562400 h 1036382"/>
                <a:gd name="connsiteX5" fmla="*/ 315174 w 326531"/>
                <a:gd name="connsiteY5" fmla="*/ 416171 h 1036382"/>
                <a:gd name="connsiteX6" fmla="*/ 320853 w 326531"/>
                <a:gd name="connsiteY6" fmla="*/ 390616 h 1036382"/>
                <a:gd name="connsiteX7" fmla="*/ 332210 w 326531"/>
                <a:gd name="connsiteY7" fmla="*/ 118034 h 1036382"/>
                <a:gd name="connsiteX8" fmla="*/ 332210 w 326531"/>
                <a:gd name="connsiteY8" fmla="*/ 54147 h 1036382"/>
                <a:gd name="connsiteX9" fmla="*/ 329371 w 326531"/>
                <a:gd name="connsiteY9" fmla="*/ 52727 h 1036382"/>
                <a:gd name="connsiteX10" fmla="*/ 151908 w 326531"/>
                <a:gd name="connsiteY10" fmla="*/ 32852 h 1036382"/>
                <a:gd name="connsiteX11" fmla="*/ 129193 w 326531"/>
                <a:gd name="connsiteY11" fmla="*/ 99578 h 1036382"/>
                <a:gd name="connsiteX12" fmla="*/ 116415 w 326531"/>
                <a:gd name="connsiteY12" fmla="*/ 336668 h 1036382"/>
                <a:gd name="connsiteX13" fmla="*/ 159006 w 326531"/>
                <a:gd name="connsiteY13" fmla="*/ 535426 h 1036382"/>
                <a:gd name="connsiteX14" fmla="*/ 164686 w 326531"/>
                <a:gd name="connsiteY14" fmla="*/ 623448 h 1036382"/>
                <a:gd name="connsiteX15" fmla="*/ 72405 w 326531"/>
                <a:gd name="connsiteY15" fmla="*/ 839242 h 1036382"/>
                <a:gd name="connsiteX16" fmla="*/ 0 w 326531"/>
                <a:gd name="connsiteY16" fmla="*/ 1018125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6531" h="1036382">
                  <a:moveTo>
                    <a:pt x="0" y="1018125"/>
                  </a:moveTo>
                  <a:lnTo>
                    <a:pt x="66726" y="1046519"/>
                  </a:lnTo>
                  <a:cubicBezTo>
                    <a:pt x="75244" y="1006767"/>
                    <a:pt x="259805" y="727086"/>
                    <a:pt x="271163" y="695852"/>
                  </a:cubicBezTo>
                  <a:cubicBezTo>
                    <a:pt x="283940" y="664619"/>
                    <a:pt x="296718" y="604991"/>
                    <a:pt x="296718" y="582276"/>
                  </a:cubicBezTo>
                  <a:cubicBezTo>
                    <a:pt x="296718" y="578017"/>
                    <a:pt x="296718" y="572338"/>
                    <a:pt x="298137" y="562400"/>
                  </a:cubicBezTo>
                  <a:cubicBezTo>
                    <a:pt x="300977" y="528328"/>
                    <a:pt x="306656" y="465861"/>
                    <a:pt x="315174" y="416171"/>
                  </a:cubicBezTo>
                  <a:cubicBezTo>
                    <a:pt x="316593" y="407653"/>
                    <a:pt x="318013" y="397715"/>
                    <a:pt x="320853" y="390616"/>
                  </a:cubicBezTo>
                  <a:cubicBezTo>
                    <a:pt x="330790" y="348025"/>
                    <a:pt x="332210" y="203216"/>
                    <a:pt x="332210" y="118034"/>
                  </a:cubicBezTo>
                  <a:cubicBezTo>
                    <a:pt x="332210" y="79702"/>
                    <a:pt x="332210" y="54147"/>
                    <a:pt x="332210" y="54147"/>
                  </a:cubicBezTo>
                  <a:cubicBezTo>
                    <a:pt x="332210" y="54147"/>
                    <a:pt x="330790" y="54147"/>
                    <a:pt x="329371" y="52727"/>
                  </a:cubicBezTo>
                  <a:cubicBezTo>
                    <a:pt x="310915" y="38530"/>
                    <a:pt x="193080" y="-45232"/>
                    <a:pt x="151908" y="32852"/>
                  </a:cubicBezTo>
                  <a:cubicBezTo>
                    <a:pt x="140550" y="54147"/>
                    <a:pt x="133452" y="76862"/>
                    <a:pt x="129193" y="99578"/>
                  </a:cubicBezTo>
                  <a:cubicBezTo>
                    <a:pt x="116415" y="170563"/>
                    <a:pt x="106478" y="262843"/>
                    <a:pt x="116415" y="336668"/>
                  </a:cubicBezTo>
                  <a:cubicBezTo>
                    <a:pt x="124934" y="399135"/>
                    <a:pt x="144809" y="470120"/>
                    <a:pt x="159006" y="535426"/>
                  </a:cubicBezTo>
                  <a:cubicBezTo>
                    <a:pt x="166105" y="570919"/>
                    <a:pt x="173203" y="609251"/>
                    <a:pt x="164686" y="623448"/>
                  </a:cubicBezTo>
                  <a:cubicBezTo>
                    <a:pt x="141970" y="663199"/>
                    <a:pt x="119255" y="697272"/>
                    <a:pt x="72405" y="839242"/>
                  </a:cubicBezTo>
                  <a:cubicBezTo>
                    <a:pt x="56788" y="884673"/>
                    <a:pt x="0" y="1018125"/>
                    <a:pt x="0" y="1018125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7" name="任意多边形: 形状 10106">
              <a:extLst>
                <a:ext uri="{FF2B5EF4-FFF2-40B4-BE49-F238E27FC236}">
                  <a16:creationId xmlns:a16="http://schemas.microsoft.com/office/drawing/2014/main" id="{E595D42A-475F-4824-8919-89CAC237D951}"/>
                </a:ext>
              </a:extLst>
            </p:cNvPr>
            <p:cNvSpPr/>
            <p:nvPr userDrawn="1"/>
          </p:nvSpPr>
          <p:spPr>
            <a:xfrm>
              <a:off x="9543406" y="3798786"/>
              <a:ext cx="369123" cy="709851"/>
            </a:xfrm>
            <a:custGeom>
              <a:avLst/>
              <a:gdLst>
                <a:gd name="connsiteX0" fmla="*/ 68146 w 369122"/>
                <a:gd name="connsiteY0" fmla="*/ 413133 h 709851"/>
                <a:gd name="connsiteX1" fmla="*/ 4259 w 369122"/>
                <a:gd name="connsiteY1" fmla="*/ 682877 h 709851"/>
                <a:gd name="connsiteX2" fmla="*/ 119255 w 369122"/>
                <a:gd name="connsiteY2" fmla="*/ 707012 h 709851"/>
                <a:gd name="connsiteX3" fmla="*/ 369123 w 369122"/>
                <a:gd name="connsiteY3" fmla="*/ 664421 h 709851"/>
                <a:gd name="connsiteX4" fmla="*/ 369123 w 369122"/>
                <a:gd name="connsiteY4" fmla="*/ 664421 h 709851"/>
                <a:gd name="connsiteX5" fmla="*/ 310915 w 369122"/>
                <a:gd name="connsiteY5" fmla="*/ 435849 h 709851"/>
                <a:gd name="connsiteX6" fmla="*/ 318014 w 369122"/>
                <a:gd name="connsiteY6" fmla="*/ 299557 h 709851"/>
                <a:gd name="connsiteX7" fmla="*/ 327951 w 369122"/>
                <a:gd name="connsiteY7" fmla="*/ 262645 h 709851"/>
                <a:gd name="connsiteX8" fmla="*/ 327951 w 369122"/>
                <a:gd name="connsiteY8" fmla="*/ 262645 h 709851"/>
                <a:gd name="connsiteX9" fmla="*/ 344988 w 369122"/>
                <a:gd name="connsiteY9" fmla="*/ 195919 h 709851"/>
                <a:gd name="connsiteX10" fmla="*/ 336470 w 369122"/>
                <a:gd name="connsiteY10" fmla="*/ 161846 h 709851"/>
                <a:gd name="connsiteX11" fmla="*/ 336470 w 369122"/>
                <a:gd name="connsiteY11" fmla="*/ 161846 h 709851"/>
                <a:gd name="connsiteX12" fmla="*/ 313754 w 369122"/>
                <a:gd name="connsiteY12" fmla="*/ 122094 h 709851"/>
                <a:gd name="connsiteX13" fmla="*/ 296718 w 369122"/>
                <a:gd name="connsiteY13" fmla="*/ 96540 h 709851"/>
                <a:gd name="connsiteX14" fmla="*/ 251287 w 369122"/>
                <a:gd name="connsiteY14" fmla="*/ 36912 h 709851"/>
                <a:gd name="connsiteX15" fmla="*/ 232831 w 369122"/>
                <a:gd name="connsiteY15" fmla="*/ 22715 h 709851"/>
                <a:gd name="connsiteX16" fmla="*/ 232831 w 369122"/>
                <a:gd name="connsiteY16" fmla="*/ 22715 h 709851"/>
                <a:gd name="connsiteX17" fmla="*/ 215795 w 369122"/>
                <a:gd name="connsiteY17" fmla="*/ 12777 h 709851"/>
                <a:gd name="connsiteX18" fmla="*/ 215795 w 369122"/>
                <a:gd name="connsiteY18" fmla="*/ 12777 h 709851"/>
                <a:gd name="connsiteX19" fmla="*/ 214375 w 369122"/>
                <a:gd name="connsiteY19" fmla="*/ 12777 h 709851"/>
                <a:gd name="connsiteX20" fmla="*/ 134872 w 369122"/>
                <a:gd name="connsiteY20" fmla="*/ 0 h 709851"/>
                <a:gd name="connsiteX21" fmla="*/ 114996 w 369122"/>
                <a:gd name="connsiteY21" fmla="*/ 7099 h 709851"/>
                <a:gd name="connsiteX22" fmla="*/ 63887 w 369122"/>
                <a:gd name="connsiteY22" fmla="*/ 22715 h 709851"/>
                <a:gd name="connsiteX23" fmla="*/ 63887 w 369122"/>
                <a:gd name="connsiteY23" fmla="*/ 22715 h 709851"/>
                <a:gd name="connsiteX24" fmla="*/ 56788 w 369122"/>
                <a:gd name="connsiteY24" fmla="*/ 24135 h 709851"/>
                <a:gd name="connsiteX25" fmla="*/ 28394 w 369122"/>
                <a:gd name="connsiteY25" fmla="*/ 45430 h 709851"/>
                <a:gd name="connsiteX26" fmla="*/ 0 w 369122"/>
                <a:gd name="connsiteY26" fmla="*/ 137711 h 709851"/>
                <a:gd name="connsiteX27" fmla="*/ 59628 w 369122"/>
                <a:gd name="connsiteY27" fmla="*/ 325112 h 709851"/>
                <a:gd name="connsiteX28" fmla="*/ 68146 w 369122"/>
                <a:gd name="connsiteY28" fmla="*/ 413133 h 70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69122" h="709851">
                  <a:moveTo>
                    <a:pt x="68146" y="413133"/>
                  </a:moveTo>
                  <a:cubicBezTo>
                    <a:pt x="56788" y="455724"/>
                    <a:pt x="2840" y="670099"/>
                    <a:pt x="4259" y="682877"/>
                  </a:cubicBezTo>
                  <a:cubicBezTo>
                    <a:pt x="4259" y="687136"/>
                    <a:pt x="63887" y="697074"/>
                    <a:pt x="119255" y="707012"/>
                  </a:cubicBezTo>
                  <a:cubicBezTo>
                    <a:pt x="210116" y="722628"/>
                    <a:pt x="329371" y="688556"/>
                    <a:pt x="369123" y="664421"/>
                  </a:cubicBezTo>
                  <a:cubicBezTo>
                    <a:pt x="369123" y="664421"/>
                    <a:pt x="369123" y="664421"/>
                    <a:pt x="369123" y="664421"/>
                  </a:cubicBezTo>
                  <a:cubicBezTo>
                    <a:pt x="367703" y="661581"/>
                    <a:pt x="313754" y="459984"/>
                    <a:pt x="310915" y="435849"/>
                  </a:cubicBezTo>
                  <a:cubicBezTo>
                    <a:pt x="306656" y="411714"/>
                    <a:pt x="315174" y="325112"/>
                    <a:pt x="318014" y="299557"/>
                  </a:cubicBezTo>
                  <a:cubicBezTo>
                    <a:pt x="319433" y="291039"/>
                    <a:pt x="322273" y="276842"/>
                    <a:pt x="327951" y="262645"/>
                  </a:cubicBezTo>
                  <a:lnTo>
                    <a:pt x="327951" y="262645"/>
                  </a:lnTo>
                  <a:cubicBezTo>
                    <a:pt x="335050" y="238510"/>
                    <a:pt x="344988" y="211536"/>
                    <a:pt x="344988" y="195919"/>
                  </a:cubicBezTo>
                  <a:cubicBezTo>
                    <a:pt x="344988" y="184561"/>
                    <a:pt x="342148" y="173204"/>
                    <a:pt x="336470" y="161846"/>
                  </a:cubicBezTo>
                  <a:lnTo>
                    <a:pt x="336470" y="161846"/>
                  </a:lnTo>
                  <a:cubicBezTo>
                    <a:pt x="330791" y="149069"/>
                    <a:pt x="323692" y="136291"/>
                    <a:pt x="313754" y="122094"/>
                  </a:cubicBezTo>
                  <a:cubicBezTo>
                    <a:pt x="308076" y="113576"/>
                    <a:pt x="302397" y="105058"/>
                    <a:pt x="296718" y="96540"/>
                  </a:cubicBezTo>
                  <a:cubicBezTo>
                    <a:pt x="278262" y="69565"/>
                    <a:pt x="259806" y="45430"/>
                    <a:pt x="251287" y="36912"/>
                  </a:cubicBezTo>
                  <a:cubicBezTo>
                    <a:pt x="244189" y="31233"/>
                    <a:pt x="238510" y="25555"/>
                    <a:pt x="232831" y="22715"/>
                  </a:cubicBezTo>
                  <a:cubicBezTo>
                    <a:pt x="232831" y="22715"/>
                    <a:pt x="232831" y="22715"/>
                    <a:pt x="232831" y="22715"/>
                  </a:cubicBezTo>
                  <a:cubicBezTo>
                    <a:pt x="224313" y="17036"/>
                    <a:pt x="218634" y="14197"/>
                    <a:pt x="215795" y="12777"/>
                  </a:cubicBezTo>
                  <a:cubicBezTo>
                    <a:pt x="215795" y="12777"/>
                    <a:pt x="215795" y="12777"/>
                    <a:pt x="215795" y="12777"/>
                  </a:cubicBezTo>
                  <a:cubicBezTo>
                    <a:pt x="214375" y="12777"/>
                    <a:pt x="214375" y="12777"/>
                    <a:pt x="214375" y="12777"/>
                  </a:cubicBezTo>
                  <a:lnTo>
                    <a:pt x="134872" y="0"/>
                  </a:lnTo>
                  <a:cubicBezTo>
                    <a:pt x="134872" y="0"/>
                    <a:pt x="126354" y="2839"/>
                    <a:pt x="114996" y="7099"/>
                  </a:cubicBezTo>
                  <a:cubicBezTo>
                    <a:pt x="100799" y="12777"/>
                    <a:pt x="80923" y="18456"/>
                    <a:pt x="63887" y="22715"/>
                  </a:cubicBezTo>
                  <a:cubicBezTo>
                    <a:pt x="63887" y="22715"/>
                    <a:pt x="63887" y="22715"/>
                    <a:pt x="63887" y="22715"/>
                  </a:cubicBezTo>
                  <a:cubicBezTo>
                    <a:pt x="61047" y="22715"/>
                    <a:pt x="59628" y="24135"/>
                    <a:pt x="56788" y="24135"/>
                  </a:cubicBezTo>
                  <a:cubicBezTo>
                    <a:pt x="56788" y="24135"/>
                    <a:pt x="42591" y="29814"/>
                    <a:pt x="28394" y="45430"/>
                  </a:cubicBezTo>
                  <a:cubicBezTo>
                    <a:pt x="14197" y="61047"/>
                    <a:pt x="0" y="86602"/>
                    <a:pt x="0" y="137711"/>
                  </a:cubicBezTo>
                  <a:cubicBezTo>
                    <a:pt x="0" y="183142"/>
                    <a:pt x="52529" y="291039"/>
                    <a:pt x="59628" y="325112"/>
                  </a:cubicBezTo>
                  <a:cubicBezTo>
                    <a:pt x="65306" y="359185"/>
                    <a:pt x="78084" y="370542"/>
                    <a:pt x="68146" y="413133"/>
                  </a:cubicBez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8" name="任意多边形: 形状 10107">
              <a:extLst>
                <a:ext uri="{FF2B5EF4-FFF2-40B4-BE49-F238E27FC236}">
                  <a16:creationId xmlns:a16="http://schemas.microsoft.com/office/drawing/2014/main" id="{3C71BB07-E70F-44B3-B4B0-24101B168086}"/>
                </a:ext>
              </a:extLst>
            </p:cNvPr>
            <p:cNvSpPr/>
            <p:nvPr userDrawn="1"/>
          </p:nvSpPr>
          <p:spPr>
            <a:xfrm>
              <a:off x="9774818" y="3821501"/>
              <a:ext cx="85182" cy="127773"/>
            </a:xfrm>
            <a:custGeom>
              <a:avLst/>
              <a:gdLst>
                <a:gd name="connsiteX0" fmla="*/ 0 w 85182"/>
                <a:gd name="connsiteY0" fmla="*/ 0 h 127773"/>
                <a:gd name="connsiteX1" fmla="*/ 46850 w 85182"/>
                <a:gd name="connsiteY1" fmla="*/ 72405 h 127773"/>
                <a:gd name="connsiteX2" fmla="*/ 89441 w 85182"/>
                <a:gd name="connsiteY2" fmla="*/ 139131 h 127773"/>
                <a:gd name="connsiteX3" fmla="*/ 82343 w 85182"/>
                <a:gd name="connsiteY3" fmla="*/ 99379 h 127773"/>
                <a:gd name="connsiteX4" fmla="*/ 79503 w 85182"/>
                <a:gd name="connsiteY4" fmla="*/ 80923 h 127773"/>
                <a:gd name="connsiteX5" fmla="*/ 78084 w 85182"/>
                <a:gd name="connsiteY5" fmla="*/ 75244 h 127773"/>
                <a:gd name="connsiteX6" fmla="*/ 78084 w 85182"/>
                <a:gd name="connsiteY6" fmla="*/ 75244 h 127773"/>
                <a:gd name="connsiteX7" fmla="*/ 0 w 85182"/>
                <a:gd name="connsiteY7" fmla="*/ 0 h 127773"/>
                <a:gd name="connsiteX8" fmla="*/ 0 w 85182"/>
                <a:gd name="connsiteY8" fmla="*/ 0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127773">
                  <a:moveTo>
                    <a:pt x="0" y="0"/>
                  </a:moveTo>
                  <a:lnTo>
                    <a:pt x="46850" y="72405"/>
                  </a:lnTo>
                  <a:lnTo>
                    <a:pt x="89441" y="139131"/>
                  </a:lnTo>
                  <a:cubicBezTo>
                    <a:pt x="89441" y="139131"/>
                    <a:pt x="86602" y="129193"/>
                    <a:pt x="82343" y="99379"/>
                  </a:cubicBezTo>
                  <a:cubicBezTo>
                    <a:pt x="80923" y="93700"/>
                    <a:pt x="80923" y="88022"/>
                    <a:pt x="79503" y="80923"/>
                  </a:cubicBezTo>
                  <a:cubicBezTo>
                    <a:pt x="79503" y="79503"/>
                    <a:pt x="78084" y="76664"/>
                    <a:pt x="78084" y="75244"/>
                  </a:cubicBezTo>
                  <a:lnTo>
                    <a:pt x="78084" y="75244"/>
                  </a:lnTo>
                  <a:cubicBezTo>
                    <a:pt x="58208" y="32653"/>
                    <a:pt x="2839" y="142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DAD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9" name="任意多边形: 形状 10108">
              <a:extLst>
                <a:ext uri="{FF2B5EF4-FFF2-40B4-BE49-F238E27FC236}">
                  <a16:creationId xmlns:a16="http://schemas.microsoft.com/office/drawing/2014/main" id="{00445956-7027-4547-93B6-95A43672E1C1}"/>
                </a:ext>
              </a:extLst>
            </p:cNvPr>
            <p:cNvSpPr/>
            <p:nvPr userDrawn="1"/>
          </p:nvSpPr>
          <p:spPr>
            <a:xfrm>
              <a:off x="9652238" y="3695955"/>
              <a:ext cx="99379" cy="127773"/>
            </a:xfrm>
            <a:custGeom>
              <a:avLst/>
              <a:gdLst>
                <a:gd name="connsiteX0" fmla="*/ 6164 w 99379"/>
                <a:gd name="connsiteY0" fmla="*/ 111350 h 127773"/>
                <a:gd name="connsiteX1" fmla="*/ 485 w 99379"/>
                <a:gd name="connsiteY1" fmla="*/ 2032 h 127773"/>
                <a:gd name="connsiteX2" fmla="*/ 98445 w 99379"/>
                <a:gd name="connsiteY2" fmla="*/ 65919 h 127773"/>
                <a:gd name="connsiteX3" fmla="*/ 98445 w 99379"/>
                <a:gd name="connsiteY3" fmla="*/ 71598 h 127773"/>
                <a:gd name="connsiteX4" fmla="*/ 98445 w 99379"/>
                <a:gd name="connsiteY4" fmla="*/ 73018 h 127773"/>
                <a:gd name="connsiteX5" fmla="*/ 98445 w 99379"/>
                <a:gd name="connsiteY5" fmla="*/ 90054 h 127773"/>
                <a:gd name="connsiteX6" fmla="*/ 98445 w 99379"/>
                <a:gd name="connsiteY6" fmla="*/ 92893 h 127773"/>
                <a:gd name="connsiteX7" fmla="*/ 108383 w 99379"/>
                <a:gd name="connsiteY7" fmla="*/ 129806 h 127773"/>
                <a:gd name="connsiteX8" fmla="*/ 6164 w 99379"/>
                <a:gd name="connsiteY8" fmla="*/ 111350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379" h="127773">
                  <a:moveTo>
                    <a:pt x="6164" y="111350"/>
                  </a:moveTo>
                  <a:cubicBezTo>
                    <a:pt x="6164" y="111350"/>
                    <a:pt x="9003" y="16230"/>
                    <a:pt x="485" y="2032"/>
                  </a:cubicBezTo>
                  <a:cubicBezTo>
                    <a:pt x="-8033" y="-13584"/>
                    <a:pt x="98445" y="65919"/>
                    <a:pt x="98445" y="65919"/>
                  </a:cubicBezTo>
                  <a:cubicBezTo>
                    <a:pt x="98445" y="65919"/>
                    <a:pt x="98445" y="70178"/>
                    <a:pt x="98445" y="71598"/>
                  </a:cubicBezTo>
                  <a:cubicBezTo>
                    <a:pt x="98445" y="71598"/>
                    <a:pt x="98445" y="73018"/>
                    <a:pt x="98445" y="73018"/>
                  </a:cubicBezTo>
                  <a:cubicBezTo>
                    <a:pt x="98445" y="81536"/>
                    <a:pt x="98445" y="82955"/>
                    <a:pt x="98445" y="90054"/>
                  </a:cubicBezTo>
                  <a:cubicBezTo>
                    <a:pt x="98445" y="91474"/>
                    <a:pt x="98445" y="91474"/>
                    <a:pt x="98445" y="92893"/>
                  </a:cubicBezTo>
                  <a:cubicBezTo>
                    <a:pt x="99864" y="105671"/>
                    <a:pt x="102704" y="118448"/>
                    <a:pt x="108383" y="129806"/>
                  </a:cubicBezTo>
                  <a:cubicBezTo>
                    <a:pt x="119740" y="153941"/>
                    <a:pt x="6164" y="111350"/>
                    <a:pt x="6164" y="11135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0" name="任意多边形: 形状 10109">
              <a:extLst>
                <a:ext uri="{FF2B5EF4-FFF2-40B4-BE49-F238E27FC236}">
                  <a16:creationId xmlns:a16="http://schemas.microsoft.com/office/drawing/2014/main" id="{0A385F5A-0F93-41FB-805F-A22D14C02814}"/>
                </a:ext>
              </a:extLst>
            </p:cNvPr>
            <p:cNvSpPr/>
            <p:nvPr userDrawn="1"/>
          </p:nvSpPr>
          <p:spPr>
            <a:xfrm>
              <a:off x="9774818" y="3821501"/>
              <a:ext cx="70985" cy="99379"/>
            </a:xfrm>
            <a:custGeom>
              <a:avLst/>
              <a:gdLst>
                <a:gd name="connsiteX0" fmla="*/ 76664 w 70985"/>
                <a:gd name="connsiteY0" fmla="*/ 75244 h 99379"/>
                <a:gd name="connsiteX1" fmla="*/ 76664 w 70985"/>
                <a:gd name="connsiteY1" fmla="*/ 75244 h 99379"/>
                <a:gd name="connsiteX2" fmla="*/ 80923 w 70985"/>
                <a:gd name="connsiteY2" fmla="*/ 100799 h 99379"/>
                <a:gd name="connsiteX3" fmla="*/ 63887 w 70985"/>
                <a:gd name="connsiteY3" fmla="*/ 75244 h 99379"/>
                <a:gd name="connsiteX4" fmla="*/ 24135 w 70985"/>
                <a:gd name="connsiteY4" fmla="*/ 21296 h 99379"/>
                <a:gd name="connsiteX5" fmla="*/ 0 w 70985"/>
                <a:gd name="connsiteY5" fmla="*/ 0 h 99379"/>
                <a:gd name="connsiteX6" fmla="*/ 76664 w 70985"/>
                <a:gd name="connsiteY6" fmla="*/ 75244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99379">
                  <a:moveTo>
                    <a:pt x="76664" y="75244"/>
                  </a:moveTo>
                  <a:lnTo>
                    <a:pt x="76664" y="75244"/>
                  </a:lnTo>
                  <a:cubicBezTo>
                    <a:pt x="76664" y="75244"/>
                    <a:pt x="79503" y="80923"/>
                    <a:pt x="80923" y="100799"/>
                  </a:cubicBezTo>
                  <a:lnTo>
                    <a:pt x="63887" y="75244"/>
                  </a:lnTo>
                  <a:cubicBezTo>
                    <a:pt x="63887" y="75244"/>
                    <a:pt x="34073" y="32653"/>
                    <a:pt x="24135" y="21296"/>
                  </a:cubicBezTo>
                  <a:cubicBezTo>
                    <a:pt x="14197" y="9938"/>
                    <a:pt x="0" y="0"/>
                    <a:pt x="0" y="0"/>
                  </a:cubicBezTo>
                  <a:cubicBezTo>
                    <a:pt x="0" y="0"/>
                    <a:pt x="59627" y="28394"/>
                    <a:pt x="76664" y="75244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1" name="任意多边形: 形状 10110">
              <a:extLst>
                <a:ext uri="{FF2B5EF4-FFF2-40B4-BE49-F238E27FC236}">
                  <a16:creationId xmlns:a16="http://schemas.microsoft.com/office/drawing/2014/main" id="{133B5917-B5C5-4F27-8506-18085B6045A1}"/>
                </a:ext>
              </a:extLst>
            </p:cNvPr>
            <p:cNvSpPr/>
            <p:nvPr userDrawn="1"/>
          </p:nvSpPr>
          <p:spPr>
            <a:xfrm>
              <a:off x="9634268" y="3798671"/>
              <a:ext cx="156167" cy="99379"/>
            </a:xfrm>
            <a:custGeom>
              <a:avLst/>
              <a:gdLst>
                <a:gd name="connsiteX0" fmla="*/ 122094 w 156167"/>
                <a:gd name="connsiteY0" fmla="*/ 12892 h 99379"/>
                <a:gd name="connsiteX1" fmla="*/ 157587 w 156167"/>
                <a:gd name="connsiteY1" fmla="*/ 102333 h 99379"/>
                <a:gd name="connsiteX2" fmla="*/ 0 w 156167"/>
                <a:gd name="connsiteY2" fmla="*/ 14312 h 99379"/>
                <a:gd name="connsiteX3" fmla="*/ 122094 w 156167"/>
                <a:gd name="connsiteY3" fmla="*/ 12892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67" h="99379">
                  <a:moveTo>
                    <a:pt x="122094" y="12892"/>
                  </a:moveTo>
                  <a:cubicBezTo>
                    <a:pt x="122094" y="12892"/>
                    <a:pt x="176043" y="95235"/>
                    <a:pt x="157587" y="102333"/>
                  </a:cubicBezTo>
                  <a:cubicBezTo>
                    <a:pt x="139131" y="109432"/>
                    <a:pt x="41171" y="92396"/>
                    <a:pt x="0" y="14312"/>
                  </a:cubicBezTo>
                  <a:cubicBezTo>
                    <a:pt x="0" y="14312"/>
                    <a:pt x="61047" y="-16922"/>
                    <a:pt x="122094" y="128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2" name="任意多边形: 形状 10111">
              <a:extLst>
                <a:ext uri="{FF2B5EF4-FFF2-40B4-BE49-F238E27FC236}">
                  <a16:creationId xmlns:a16="http://schemas.microsoft.com/office/drawing/2014/main" id="{23C5634D-4D87-4934-85A5-94691A08CB4C}"/>
                </a:ext>
              </a:extLst>
            </p:cNvPr>
            <p:cNvSpPr/>
            <p:nvPr userDrawn="1"/>
          </p:nvSpPr>
          <p:spPr>
            <a:xfrm>
              <a:off x="9860000" y="4098343"/>
              <a:ext cx="14197" cy="14197"/>
            </a:xfrm>
            <a:custGeom>
              <a:avLst/>
              <a:gdLst>
                <a:gd name="connsiteX0" fmla="*/ 0 w 0"/>
                <a:gd name="connsiteY0" fmla="*/ 1420 h 0"/>
                <a:gd name="connsiteX1" fmla="*/ 0 w 0"/>
                <a:gd name="connsiteY1" fmla="*/ 0 h 0"/>
                <a:gd name="connsiteX2" fmla="*/ 0 w 0"/>
                <a:gd name="connsiteY2" fmla="*/ 1420 h 0"/>
                <a:gd name="connsiteX3" fmla="*/ 0 w 0"/>
                <a:gd name="connsiteY3" fmla="*/ 14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42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420"/>
                  </a:cubicBezTo>
                  <a:cubicBezTo>
                    <a:pt x="0" y="1420"/>
                    <a:pt x="0" y="1420"/>
                    <a:pt x="0" y="1420"/>
                  </a:cubicBezTo>
                  <a:close/>
                </a:path>
              </a:pathLst>
            </a:custGeom>
            <a:solidFill>
              <a:srgbClr val="2F456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3" name="任意多边形: 形状 10112">
              <a:extLst>
                <a:ext uri="{FF2B5EF4-FFF2-40B4-BE49-F238E27FC236}">
                  <a16:creationId xmlns:a16="http://schemas.microsoft.com/office/drawing/2014/main" id="{122AB035-DF43-4C24-B89E-3C9D927A40B4}"/>
                </a:ext>
              </a:extLst>
            </p:cNvPr>
            <p:cNvSpPr/>
            <p:nvPr userDrawn="1"/>
          </p:nvSpPr>
          <p:spPr>
            <a:xfrm>
              <a:off x="9540567" y="3819327"/>
              <a:ext cx="113576" cy="127773"/>
            </a:xfrm>
            <a:custGeom>
              <a:avLst/>
              <a:gdLst>
                <a:gd name="connsiteX0" fmla="*/ 89441 w 113576"/>
                <a:gd name="connsiteY0" fmla="*/ 135626 h 127773"/>
                <a:gd name="connsiteX1" fmla="*/ 0 w 113576"/>
                <a:gd name="connsiteY1" fmla="*/ 110071 h 127773"/>
                <a:gd name="connsiteX2" fmla="*/ 86602 w 113576"/>
                <a:gd name="connsiteY2" fmla="*/ 754 h 127773"/>
                <a:gd name="connsiteX3" fmla="*/ 89441 w 113576"/>
                <a:gd name="connsiteY3" fmla="*/ 13562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89441" y="135626"/>
                  </a:moveTo>
                  <a:cubicBezTo>
                    <a:pt x="89441" y="135626"/>
                    <a:pt x="21296" y="111491"/>
                    <a:pt x="0" y="110071"/>
                  </a:cubicBezTo>
                  <a:cubicBezTo>
                    <a:pt x="0" y="110071"/>
                    <a:pt x="15617" y="-10603"/>
                    <a:pt x="86602" y="754"/>
                  </a:cubicBezTo>
                  <a:cubicBezTo>
                    <a:pt x="156167" y="13532"/>
                    <a:pt x="89441" y="135626"/>
                    <a:pt x="89441" y="135626"/>
                  </a:cubicBezTo>
                  <a:close/>
                </a:path>
              </a:pathLst>
            </a:custGeom>
            <a:solidFill>
              <a:srgbClr val="EDDAD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4" name="任意多边形: 形状 10113">
              <a:extLst>
                <a:ext uri="{FF2B5EF4-FFF2-40B4-BE49-F238E27FC236}">
                  <a16:creationId xmlns:a16="http://schemas.microsoft.com/office/drawing/2014/main" id="{3251A2AF-3643-40BD-8F95-3569AF5B1A83}"/>
                </a:ext>
              </a:extLst>
            </p:cNvPr>
            <p:cNvSpPr/>
            <p:nvPr userDrawn="1"/>
          </p:nvSpPr>
          <p:spPr>
            <a:xfrm>
              <a:off x="9611552" y="3786009"/>
              <a:ext cx="184561" cy="127773"/>
            </a:xfrm>
            <a:custGeom>
              <a:avLst/>
              <a:gdLst>
                <a:gd name="connsiteX0" fmla="*/ 140550 w 184561"/>
                <a:gd name="connsiteY0" fmla="*/ 11358 h 127773"/>
                <a:gd name="connsiteX1" fmla="*/ 48270 w 184561"/>
                <a:gd name="connsiteY1" fmla="*/ 0 h 127773"/>
                <a:gd name="connsiteX2" fmla="*/ 44011 w 184561"/>
                <a:gd name="connsiteY2" fmla="*/ 19876 h 127773"/>
                <a:gd name="connsiteX3" fmla="*/ 0 w 184561"/>
                <a:gd name="connsiteY3" fmla="*/ 34073 h 127773"/>
                <a:gd name="connsiteX4" fmla="*/ 183141 w 184561"/>
                <a:gd name="connsiteY4" fmla="*/ 123514 h 127773"/>
                <a:gd name="connsiteX5" fmla="*/ 146229 w 184561"/>
                <a:gd name="connsiteY5" fmla="*/ 26974 h 127773"/>
                <a:gd name="connsiteX6" fmla="*/ 140550 w 184561"/>
                <a:gd name="connsiteY6" fmla="*/ 11358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27773">
                  <a:moveTo>
                    <a:pt x="140550" y="11358"/>
                  </a:moveTo>
                  <a:cubicBezTo>
                    <a:pt x="140550" y="11358"/>
                    <a:pt x="136291" y="26974"/>
                    <a:pt x="48270" y="0"/>
                  </a:cubicBezTo>
                  <a:lnTo>
                    <a:pt x="44011" y="19876"/>
                  </a:lnTo>
                  <a:cubicBezTo>
                    <a:pt x="44011" y="19876"/>
                    <a:pt x="32653" y="21296"/>
                    <a:pt x="0" y="34073"/>
                  </a:cubicBezTo>
                  <a:cubicBezTo>
                    <a:pt x="0" y="34073"/>
                    <a:pt x="159006" y="184561"/>
                    <a:pt x="183141" y="123514"/>
                  </a:cubicBezTo>
                  <a:cubicBezTo>
                    <a:pt x="207277" y="62467"/>
                    <a:pt x="146229" y="26974"/>
                    <a:pt x="146229" y="26974"/>
                  </a:cubicBezTo>
                  <a:lnTo>
                    <a:pt x="140550" y="11358"/>
                  </a:ln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5" name="任意多边形: 形状 10114">
              <a:extLst>
                <a:ext uri="{FF2B5EF4-FFF2-40B4-BE49-F238E27FC236}">
                  <a16:creationId xmlns:a16="http://schemas.microsoft.com/office/drawing/2014/main" id="{A4AA2841-064D-41DF-A9BB-368685CB74E2}"/>
                </a:ext>
              </a:extLst>
            </p:cNvPr>
            <p:cNvSpPr/>
            <p:nvPr userDrawn="1"/>
          </p:nvSpPr>
          <p:spPr>
            <a:xfrm>
              <a:off x="9757781" y="3812983"/>
              <a:ext cx="113576" cy="141970"/>
            </a:xfrm>
            <a:custGeom>
              <a:avLst/>
              <a:gdLst>
                <a:gd name="connsiteX0" fmla="*/ 0 w 113576"/>
                <a:gd name="connsiteY0" fmla="*/ 0 h 141970"/>
                <a:gd name="connsiteX1" fmla="*/ 120675 w 113576"/>
                <a:gd name="connsiteY1" fmla="*/ 149069 h 141970"/>
                <a:gd name="connsiteX2" fmla="*/ 97959 w 113576"/>
                <a:gd name="connsiteY2" fmla="*/ 109317 h 141970"/>
                <a:gd name="connsiteX3" fmla="*/ 80923 w 113576"/>
                <a:gd name="connsiteY3" fmla="*/ 83762 h 141970"/>
                <a:gd name="connsiteX4" fmla="*/ 35493 w 113576"/>
                <a:gd name="connsiteY4" fmla="*/ 24135 h 141970"/>
                <a:gd name="connsiteX5" fmla="*/ 17037 w 113576"/>
                <a:gd name="connsiteY5" fmla="*/ 9938 h 141970"/>
                <a:gd name="connsiteX6" fmla="*/ 17037 w 113576"/>
                <a:gd name="connsiteY6" fmla="*/ 9938 h 141970"/>
                <a:gd name="connsiteX7" fmla="*/ 0 w 113576"/>
                <a:gd name="connsiteY7" fmla="*/ 0 h 141970"/>
                <a:gd name="connsiteX8" fmla="*/ 0 w 113576"/>
                <a:gd name="connsiteY8" fmla="*/ 0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576" h="141970">
                  <a:moveTo>
                    <a:pt x="0" y="0"/>
                  </a:moveTo>
                  <a:lnTo>
                    <a:pt x="120675" y="149069"/>
                  </a:lnTo>
                  <a:cubicBezTo>
                    <a:pt x="114996" y="136291"/>
                    <a:pt x="107897" y="123514"/>
                    <a:pt x="97959" y="109317"/>
                  </a:cubicBezTo>
                  <a:cubicBezTo>
                    <a:pt x="92281" y="100799"/>
                    <a:pt x="86602" y="92281"/>
                    <a:pt x="80923" y="83762"/>
                  </a:cubicBezTo>
                  <a:cubicBezTo>
                    <a:pt x="62467" y="56788"/>
                    <a:pt x="44011" y="32653"/>
                    <a:pt x="35493" y="24135"/>
                  </a:cubicBezTo>
                  <a:cubicBezTo>
                    <a:pt x="28394" y="18456"/>
                    <a:pt x="22715" y="12777"/>
                    <a:pt x="17037" y="9938"/>
                  </a:cubicBezTo>
                  <a:cubicBezTo>
                    <a:pt x="17037" y="9938"/>
                    <a:pt x="17037" y="9938"/>
                    <a:pt x="17037" y="9938"/>
                  </a:cubicBezTo>
                  <a:cubicBezTo>
                    <a:pt x="8518" y="2839"/>
                    <a:pt x="284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6" name="任意多边形: 形状 10115">
              <a:extLst>
                <a:ext uri="{FF2B5EF4-FFF2-40B4-BE49-F238E27FC236}">
                  <a16:creationId xmlns:a16="http://schemas.microsoft.com/office/drawing/2014/main" id="{7486CD7B-7A12-4841-B21D-399183865CDE}"/>
                </a:ext>
              </a:extLst>
            </p:cNvPr>
            <p:cNvSpPr/>
            <p:nvPr userDrawn="1"/>
          </p:nvSpPr>
          <p:spPr>
            <a:xfrm>
              <a:off x="9757781" y="3811563"/>
              <a:ext cx="127773" cy="283940"/>
            </a:xfrm>
            <a:custGeom>
              <a:avLst/>
              <a:gdLst>
                <a:gd name="connsiteX0" fmla="*/ 102219 w 127773"/>
                <a:gd name="connsiteY0" fmla="*/ 286780 h 283940"/>
                <a:gd name="connsiteX1" fmla="*/ 129193 w 127773"/>
                <a:gd name="connsiteY1" fmla="*/ 184561 h 283940"/>
                <a:gd name="connsiteX2" fmla="*/ 120675 w 127773"/>
                <a:gd name="connsiteY2" fmla="*/ 150488 h 283940"/>
                <a:gd name="connsiteX3" fmla="*/ 120675 w 127773"/>
                <a:gd name="connsiteY3" fmla="*/ 150488 h 283940"/>
                <a:gd name="connsiteX4" fmla="*/ 97959 w 127773"/>
                <a:gd name="connsiteY4" fmla="*/ 109317 h 283940"/>
                <a:gd name="connsiteX5" fmla="*/ 76664 w 127773"/>
                <a:gd name="connsiteY5" fmla="*/ 78084 h 283940"/>
                <a:gd name="connsiteX6" fmla="*/ 35493 w 127773"/>
                <a:gd name="connsiteY6" fmla="*/ 24135 h 283940"/>
                <a:gd name="connsiteX7" fmla="*/ 17037 w 127773"/>
                <a:gd name="connsiteY7" fmla="*/ 8518 h 283940"/>
                <a:gd name="connsiteX8" fmla="*/ 17037 w 127773"/>
                <a:gd name="connsiteY8" fmla="*/ 8518 h 283940"/>
                <a:gd name="connsiteX9" fmla="*/ 0 w 127773"/>
                <a:gd name="connsiteY9" fmla="*/ 0 h 283940"/>
                <a:gd name="connsiteX10" fmla="*/ 0 w 127773"/>
                <a:gd name="connsiteY10" fmla="*/ 0 h 283940"/>
                <a:gd name="connsiteX11" fmla="*/ 102219 w 127773"/>
                <a:gd name="connsiteY11" fmla="*/ 28678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773" h="283940">
                  <a:moveTo>
                    <a:pt x="102219" y="286780"/>
                  </a:moveTo>
                  <a:cubicBezTo>
                    <a:pt x="110737" y="262645"/>
                    <a:pt x="130613" y="207276"/>
                    <a:pt x="129193" y="184561"/>
                  </a:cubicBezTo>
                  <a:cubicBezTo>
                    <a:pt x="127773" y="173204"/>
                    <a:pt x="124934" y="161846"/>
                    <a:pt x="120675" y="150488"/>
                  </a:cubicBezTo>
                  <a:lnTo>
                    <a:pt x="120675" y="150488"/>
                  </a:lnTo>
                  <a:cubicBezTo>
                    <a:pt x="114996" y="137711"/>
                    <a:pt x="107897" y="123514"/>
                    <a:pt x="97959" y="109317"/>
                  </a:cubicBezTo>
                  <a:cubicBezTo>
                    <a:pt x="92281" y="100799"/>
                    <a:pt x="82343" y="86602"/>
                    <a:pt x="76664" y="78084"/>
                  </a:cubicBezTo>
                  <a:cubicBezTo>
                    <a:pt x="58208" y="51109"/>
                    <a:pt x="44011" y="32653"/>
                    <a:pt x="35493" y="24135"/>
                  </a:cubicBezTo>
                  <a:cubicBezTo>
                    <a:pt x="28394" y="18456"/>
                    <a:pt x="22715" y="12777"/>
                    <a:pt x="17037" y="8518"/>
                  </a:cubicBezTo>
                  <a:cubicBezTo>
                    <a:pt x="17037" y="8518"/>
                    <a:pt x="17037" y="8518"/>
                    <a:pt x="17037" y="8518"/>
                  </a:cubicBezTo>
                  <a:cubicBezTo>
                    <a:pt x="8518" y="2839"/>
                    <a:pt x="2840" y="142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27773" y="114996"/>
                    <a:pt x="102219" y="28678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7" name="任意多边形: 形状 10116">
              <a:extLst>
                <a:ext uri="{FF2B5EF4-FFF2-40B4-BE49-F238E27FC236}">
                  <a16:creationId xmlns:a16="http://schemas.microsoft.com/office/drawing/2014/main" id="{B2C14B2F-2F02-4065-9D96-5BE5594DEBF6}"/>
                </a:ext>
              </a:extLst>
            </p:cNvPr>
            <p:cNvSpPr/>
            <p:nvPr userDrawn="1"/>
          </p:nvSpPr>
          <p:spPr>
            <a:xfrm>
              <a:off x="9547179" y="4322656"/>
              <a:ext cx="56788" cy="56788"/>
            </a:xfrm>
            <a:custGeom>
              <a:avLst/>
              <a:gdLst>
                <a:gd name="connsiteX0" fmla="*/ 40239 w 56788"/>
                <a:gd name="connsiteY0" fmla="*/ 0 h 56788"/>
                <a:gd name="connsiteX1" fmla="*/ 54436 w 56788"/>
                <a:gd name="connsiteY1" fmla="*/ 15617 h 56788"/>
                <a:gd name="connsiteX2" fmla="*/ 65793 w 56788"/>
                <a:gd name="connsiteY2" fmla="*/ 31233 h 56788"/>
                <a:gd name="connsiteX3" fmla="*/ 31720 w 56788"/>
                <a:gd name="connsiteY3" fmla="*/ 56788 h 56788"/>
                <a:gd name="connsiteX4" fmla="*/ 3326 w 56788"/>
                <a:gd name="connsiteY4" fmla="*/ 17036 h 56788"/>
                <a:gd name="connsiteX5" fmla="*/ 40239 w 56788"/>
                <a:gd name="connsiteY5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40239" y="0"/>
                  </a:moveTo>
                  <a:cubicBezTo>
                    <a:pt x="40239" y="0"/>
                    <a:pt x="48757" y="12777"/>
                    <a:pt x="54436" y="15617"/>
                  </a:cubicBezTo>
                  <a:cubicBezTo>
                    <a:pt x="60114" y="18456"/>
                    <a:pt x="65793" y="31233"/>
                    <a:pt x="65793" y="31233"/>
                  </a:cubicBezTo>
                  <a:lnTo>
                    <a:pt x="31720" y="56788"/>
                  </a:lnTo>
                  <a:cubicBezTo>
                    <a:pt x="31720" y="56788"/>
                    <a:pt x="18943" y="26974"/>
                    <a:pt x="3326" y="17036"/>
                  </a:cubicBezTo>
                  <a:cubicBezTo>
                    <a:pt x="-13710" y="8518"/>
                    <a:pt x="40239" y="0"/>
                    <a:pt x="40239" y="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8" name="任意多边形: 形状 10117">
              <a:extLst>
                <a:ext uri="{FF2B5EF4-FFF2-40B4-BE49-F238E27FC236}">
                  <a16:creationId xmlns:a16="http://schemas.microsoft.com/office/drawing/2014/main" id="{42FAFFB5-B978-4EAB-8692-55F56CE88D48}"/>
                </a:ext>
              </a:extLst>
            </p:cNvPr>
            <p:cNvSpPr/>
            <p:nvPr userDrawn="1"/>
          </p:nvSpPr>
          <p:spPr>
            <a:xfrm>
              <a:off x="9427922" y="3832128"/>
              <a:ext cx="212955" cy="525290"/>
            </a:xfrm>
            <a:custGeom>
              <a:avLst/>
              <a:gdLst>
                <a:gd name="connsiteX0" fmla="*/ 106967 w 212955"/>
                <a:gd name="connsiteY0" fmla="*/ 60358 h 525289"/>
                <a:gd name="connsiteX1" fmla="*/ 193568 w 212955"/>
                <a:gd name="connsiteY1" fmla="*/ 4989 h 525289"/>
                <a:gd name="connsiteX2" fmla="*/ 166594 w 212955"/>
                <a:gd name="connsiteY2" fmla="*/ 139861 h 525289"/>
                <a:gd name="connsiteX3" fmla="*/ 89930 w 212955"/>
                <a:gd name="connsiteY3" fmla="*/ 263375 h 525289"/>
                <a:gd name="connsiteX4" fmla="*/ 82831 w 212955"/>
                <a:gd name="connsiteY4" fmla="*/ 345718 h 525289"/>
                <a:gd name="connsiteX5" fmla="*/ 162335 w 212955"/>
                <a:gd name="connsiteY5" fmla="*/ 486268 h 525289"/>
                <a:gd name="connsiteX6" fmla="*/ 111225 w 212955"/>
                <a:gd name="connsiteY6" fmla="*/ 523181 h 525289"/>
                <a:gd name="connsiteX7" fmla="*/ 33142 w 212955"/>
                <a:gd name="connsiteY7" fmla="*/ 403926 h 525289"/>
                <a:gd name="connsiteX8" fmla="*/ 9007 w 212955"/>
                <a:gd name="connsiteY8" fmla="*/ 264795 h 525289"/>
                <a:gd name="connsiteX9" fmla="*/ 106967 w 212955"/>
                <a:gd name="connsiteY9" fmla="*/ 60358 h 52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955" h="525289">
                  <a:moveTo>
                    <a:pt x="106967" y="60358"/>
                  </a:moveTo>
                  <a:cubicBezTo>
                    <a:pt x="106967" y="60358"/>
                    <a:pt x="135361" y="-20565"/>
                    <a:pt x="193568" y="4989"/>
                  </a:cubicBezTo>
                  <a:cubicBezTo>
                    <a:pt x="250356" y="29124"/>
                    <a:pt x="173692" y="128504"/>
                    <a:pt x="166594" y="139861"/>
                  </a:cubicBezTo>
                  <a:cubicBezTo>
                    <a:pt x="159495" y="152638"/>
                    <a:pt x="95609" y="249178"/>
                    <a:pt x="89930" y="263375"/>
                  </a:cubicBezTo>
                  <a:cubicBezTo>
                    <a:pt x="70054" y="304547"/>
                    <a:pt x="77153" y="325842"/>
                    <a:pt x="82831" y="345718"/>
                  </a:cubicBezTo>
                  <a:cubicBezTo>
                    <a:pt x="105547" y="412444"/>
                    <a:pt x="150977" y="474911"/>
                    <a:pt x="162335" y="486268"/>
                  </a:cubicBezTo>
                  <a:cubicBezTo>
                    <a:pt x="173692" y="497626"/>
                    <a:pt x="128262" y="535958"/>
                    <a:pt x="111225" y="523181"/>
                  </a:cubicBezTo>
                  <a:cubicBezTo>
                    <a:pt x="87090" y="507564"/>
                    <a:pt x="45919" y="422382"/>
                    <a:pt x="33142" y="403926"/>
                  </a:cubicBezTo>
                  <a:cubicBezTo>
                    <a:pt x="18945" y="379791"/>
                    <a:pt x="-16548" y="338619"/>
                    <a:pt x="9007" y="264795"/>
                  </a:cubicBezTo>
                  <a:cubicBezTo>
                    <a:pt x="26043" y="213686"/>
                    <a:pt x="106967" y="60358"/>
                    <a:pt x="106967" y="60358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9" name="任意多边形: 形状 10118">
              <a:extLst>
                <a:ext uri="{FF2B5EF4-FFF2-40B4-BE49-F238E27FC236}">
                  <a16:creationId xmlns:a16="http://schemas.microsoft.com/office/drawing/2014/main" id="{98768A61-0F52-446D-B4C0-465161454BCF}"/>
                </a:ext>
              </a:extLst>
            </p:cNvPr>
            <p:cNvSpPr/>
            <p:nvPr userDrawn="1"/>
          </p:nvSpPr>
          <p:spPr>
            <a:xfrm>
              <a:off x="9547666" y="4329754"/>
              <a:ext cx="85182" cy="113576"/>
            </a:xfrm>
            <a:custGeom>
              <a:avLst/>
              <a:gdLst>
                <a:gd name="connsiteX0" fmla="*/ 73824 w 85182"/>
                <a:gd name="connsiteY0" fmla="*/ 0 h 113576"/>
                <a:gd name="connsiteX1" fmla="*/ 0 w 85182"/>
                <a:gd name="connsiteY1" fmla="*/ 59627 h 113576"/>
                <a:gd name="connsiteX2" fmla="*/ 86602 w 85182"/>
                <a:gd name="connsiteY2" fmla="*/ 110737 h 113576"/>
                <a:gd name="connsiteX3" fmla="*/ 73824 w 85182"/>
                <a:gd name="connsiteY3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182" h="113576">
                  <a:moveTo>
                    <a:pt x="73824" y="0"/>
                  </a:moveTo>
                  <a:lnTo>
                    <a:pt x="0" y="59627"/>
                  </a:lnTo>
                  <a:cubicBezTo>
                    <a:pt x="0" y="59627"/>
                    <a:pt x="58208" y="147649"/>
                    <a:pt x="86602" y="110737"/>
                  </a:cubicBezTo>
                  <a:cubicBezTo>
                    <a:pt x="113576" y="72405"/>
                    <a:pt x="73824" y="0"/>
                    <a:pt x="73824" y="0"/>
                  </a:cubicBezTo>
                  <a:close/>
                </a:path>
              </a:pathLst>
            </a:custGeom>
            <a:solidFill>
              <a:srgbClr val="DBCAC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0" name="任意多边形: 形状 10119">
              <a:extLst>
                <a:ext uri="{FF2B5EF4-FFF2-40B4-BE49-F238E27FC236}">
                  <a16:creationId xmlns:a16="http://schemas.microsoft.com/office/drawing/2014/main" id="{C21A428D-EBCF-436C-8044-2F7D369FD080}"/>
                </a:ext>
              </a:extLst>
            </p:cNvPr>
            <p:cNvSpPr/>
            <p:nvPr userDrawn="1"/>
          </p:nvSpPr>
          <p:spPr>
            <a:xfrm>
              <a:off x="9361685" y="3784589"/>
              <a:ext cx="411714" cy="1078974"/>
            </a:xfrm>
            <a:custGeom>
              <a:avLst/>
              <a:gdLst>
                <a:gd name="connsiteX0" fmla="*/ 414553 w 411713"/>
                <a:gd name="connsiteY0" fmla="*/ 208696 h 1078973"/>
                <a:gd name="connsiteX1" fmla="*/ 414553 w 411713"/>
                <a:gd name="connsiteY1" fmla="*/ 208696 h 1078973"/>
                <a:gd name="connsiteX2" fmla="*/ 298137 w 411713"/>
                <a:gd name="connsiteY2" fmla="*/ 0 h 1078973"/>
                <a:gd name="connsiteX3" fmla="*/ 293879 w 411713"/>
                <a:gd name="connsiteY3" fmla="*/ 19876 h 1078973"/>
                <a:gd name="connsiteX4" fmla="*/ 293879 w 411713"/>
                <a:gd name="connsiteY4" fmla="*/ 19876 h 1078973"/>
                <a:gd name="connsiteX5" fmla="*/ 178883 w 411713"/>
                <a:gd name="connsiteY5" fmla="*/ 146229 h 1078973"/>
                <a:gd name="connsiteX6" fmla="*/ 194499 w 411713"/>
                <a:gd name="connsiteY6" fmla="*/ 249868 h 1078973"/>
                <a:gd name="connsiteX7" fmla="*/ 207277 w 411713"/>
                <a:gd name="connsiteY7" fmla="*/ 299557 h 1078973"/>
                <a:gd name="connsiteX8" fmla="*/ 228572 w 411713"/>
                <a:gd name="connsiteY8" fmla="*/ 435849 h 1078973"/>
                <a:gd name="connsiteX9" fmla="*/ 0 w 411713"/>
                <a:gd name="connsiteY9" fmla="*/ 888734 h 1078973"/>
                <a:gd name="connsiteX10" fmla="*/ 194499 w 411713"/>
                <a:gd name="connsiteY10" fmla="*/ 1078974 h 1078973"/>
                <a:gd name="connsiteX11" fmla="*/ 414553 w 411713"/>
                <a:gd name="connsiteY11" fmla="*/ 208696 h 107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1713" h="1078973">
                  <a:moveTo>
                    <a:pt x="414553" y="208696"/>
                  </a:moveTo>
                  <a:lnTo>
                    <a:pt x="414553" y="208696"/>
                  </a:lnTo>
                  <a:cubicBezTo>
                    <a:pt x="401776" y="78084"/>
                    <a:pt x="298137" y="0"/>
                    <a:pt x="298137" y="0"/>
                  </a:cubicBezTo>
                  <a:lnTo>
                    <a:pt x="293879" y="19876"/>
                  </a:lnTo>
                  <a:lnTo>
                    <a:pt x="293879" y="19876"/>
                  </a:lnTo>
                  <a:cubicBezTo>
                    <a:pt x="185981" y="49690"/>
                    <a:pt x="184561" y="73825"/>
                    <a:pt x="178883" y="146229"/>
                  </a:cubicBezTo>
                  <a:cubicBezTo>
                    <a:pt x="177463" y="173204"/>
                    <a:pt x="184561" y="210116"/>
                    <a:pt x="194499" y="249868"/>
                  </a:cubicBezTo>
                  <a:cubicBezTo>
                    <a:pt x="198758" y="265484"/>
                    <a:pt x="203017" y="282521"/>
                    <a:pt x="207277" y="299557"/>
                  </a:cubicBezTo>
                  <a:cubicBezTo>
                    <a:pt x="220054" y="349247"/>
                    <a:pt x="231411" y="397517"/>
                    <a:pt x="228572" y="435849"/>
                  </a:cubicBezTo>
                  <a:cubicBezTo>
                    <a:pt x="224313" y="519611"/>
                    <a:pt x="0" y="888734"/>
                    <a:pt x="0" y="888734"/>
                  </a:cubicBezTo>
                  <a:cubicBezTo>
                    <a:pt x="0" y="966817"/>
                    <a:pt x="194499" y="1078974"/>
                    <a:pt x="194499" y="1078974"/>
                  </a:cubicBezTo>
                  <a:cubicBezTo>
                    <a:pt x="184561" y="975335"/>
                    <a:pt x="431589" y="312334"/>
                    <a:pt x="414553" y="208696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1" name="任意多边形: 形状 10120">
              <a:extLst>
                <a:ext uri="{FF2B5EF4-FFF2-40B4-BE49-F238E27FC236}">
                  <a16:creationId xmlns:a16="http://schemas.microsoft.com/office/drawing/2014/main" id="{14004C7A-1205-4483-A39E-62B9A9346A95}"/>
                </a:ext>
              </a:extLst>
            </p:cNvPr>
            <p:cNvSpPr/>
            <p:nvPr userDrawn="1"/>
          </p:nvSpPr>
          <p:spPr>
            <a:xfrm>
              <a:off x="9556184" y="3927979"/>
              <a:ext cx="56788" cy="141970"/>
            </a:xfrm>
            <a:custGeom>
              <a:avLst/>
              <a:gdLst>
                <a:gd name="connsiteX0" fmla="*/ 12777 w 56788"/>
                <a:gd name="connsiteY0" fmla="*/ 154748 h 141970"/>
                <a:gd name="connsiteX1" fmla="*/ 12777 w 56788"/>
                <a:gd name="connsiteY1" fmla="*/ 154748 h 141970"/>
                <a:gd name="connsiteX2" fmla="*/ 65306 w 56788"/>
                <a:gd name="connsiteY2" fmla="*/ 0 h 141970"/>
                <a:gd name="connsiteX3" fmla="*/ 0 w 56788"/>
                <a:gd name="connsiteY3" fmla="*/ 105058 h 141970"/>
                <a:gd name="connsiteX4" fmla="*/ 0 w 56788"/>
                <a:gd name="connsiteY4" fmla="*/ 105058 h 141970"/>
                <a:gd name="connsiteX5" fmla="*/ 12777 w 56788"/>
                <a:gd name="connsiteY5" fmla="*/ 154748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141970">
                  <a:moveTo>
                    <a:pt x="12777" y="154748"/>
                  </a:moveTo>
                  <a:lnTo>
                    <a:pt x="12777" y="154748"/>
                  </a:lnTo>
                  <a:cubicBezTo>
                    <a:pt x="46850" y="114996"/>
                    <a:pt x="65306" y="0"/>
                    <a:pt x="65306" y="0"/>
                  </a:cubicBezTo>
                  <a:cubicBezTo>
                    <a:pt x="45430" y="56788"/>
                    <a:pt x="0" y="105058"/>
                    <a:pt x="0" y="105058"/>
                  </a:cubicBezTo>
                  <a:cubicBezTo>
                    <a:pt x="0" y="105058"/>
                    <a:pt x="0" y="105058"/>
                    <a:pt x="0" y="105058"/>
                  </a:cubicBezTo>
                  <a:cubicBezTo>
                    <a:pt x="4259" y="122094"/>
                    <a:pt x="8518" y="137711"/>
                    <a:pt x="12777" y="154748"/>
                  </a:cubicBezTo>
                  <a:close/>
                </a:path>
              </a:pathLst>
            </a:custGeom>
            <a:solidFill>
              <a:srgbClr val="B3933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2" name="任意多边形: 形状 10121">
              <a:extLst>
                <a:ext uri="{FF2B5EF4-FFF2-40B4-BE49-F238E27FC236}">
                  <a16:creationId xmlns:a16="http://schemas.microsoft.com/office/drawing/2014/main" id="{FD933B79-FBE6-4ACD-B9F8-0E5C03AE5A29}"/>
                </a:ext>
              </a:extLst>
            </p:cNvPr>
            <p:cNvSpPr/>
            <p:nvPr userDrawn="1"/>
          </p:nvSpPr>
          <p:spPr>
            <a:xfrm>
              <a:off x="9754942" y="4551228"/>
              <a:ext cx="42591" cy="212955"/>
            </a:xfrm>
            <a:custGeom>
              <a:avLst/>
              <a:gdLst>
                <a:gd name="connsiteX0" fmla="*/ 0 w 42591"/>
                <a:gd name="connsiteY0" fmla="*/ 167525 h 212955"/>
                <a:gd name="connsiteX1" fmla="*/ 0 w 42591"/>
                <a:gd name="connsiteY1" fmla="*/ 167525 h 212955"/>
                <a:gd name="connsiteX2" fmla="*/ 17036 w 42591"/>
                <a:gd name="connsiteY2" fmla="*/ 220054 h 212955"/>
                <a:gd name="connsiteX3" fmla="*/ 48270 w 42591"/>
                <a:gd name="connsiteY3" fmla="*/ 0 h 212955"/>
                <a:gd name="connsiteX4" fmla="*/ 0 w 42591"/>
                <a:gd name="connsiteY4" fmla="*/ 167525 h 21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212955">
                  <a:moveTo>
                    <a:pt x="0" y="167525"/>
                  </a:moveTo>
                  <a:cubicBezTo>
                    <a:pt x="0" y="167525"/>
                    <a:pt x="0" y="167525"/>
                    <a:pt x="0" y="167525"/>
                  </a:cubicBezTo>
                  <a:cubicBezTo>
                    <a:pt x="5679" y="184561"/>
                    <a:pt x="11357" y="203017"/>
                    <a:pt x="17036" y="220054"/>
                  </a:cubicBezTo>
                  <a:cubicBezTo>
                    <a:pt x="44010" y="116416"/>
                    <a:pt x="48270" y="0"/>
                    <a:pt x="48270" y="0"/>
                  </a:cubicBezTo>
                  <a:cubicBezTo>
                    <a:pt x="41171" y="65306"/>
                    <a:pt x="0" y="167525"/>
                    <a:pt x="0" y="167525"/>
                  </a:cubicBezTo>
                  <a:close/>
                </a:path>
              </a:pathLst>
            </a:custGeom>
            <a:solidFill>
              <a:srgbClr val="15162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3" name="任意多边形: 形状 10122">
              <a:extLst>
                <a:ext uri="{FF2B5EF4-FFF2-40B4-BE49-F238E27FC236}">
                  <a16:creationId xmlns:a16="http://schemas.microsoft.com/office/drawing/2014/main" id="{BC3700F4-05AC-40F0-AC42-FF0977F9BF73}"/>
                </a:ext>
              </a:extLst>
            </p:cNvPr>
            <p:cNvSpPr/>
            <p:nvPr userDrawn="1"/>
          </p:nvSpPr>
          <p:spPr>
            <a:xfrm>
              <a:off x="9551925" y="3830019"/>
              <a:ext cx="99379" cy="340728"/>
            </a:xfrm>
            <a:custGeom>
              <a:avLst/>
              <a:gdLst>
                <a:gd name="connsiteX0" fmla="*/ 7099 w 99379"/>
                <a:gd name="connsiteY0" fmla="*/ 346407 h 340728"/>
                <a:gd name="connsiteX1" fmla="*/ 0 w 99379"/>
                <a:gd name="connsiteY1" fmla="*/ 335050 h 340728"/>
                <a:gd name="connsiteX2" fmla="*/ 89441 w 99379"/>
                <a:gd name="connsiteY2" fmla="*/ 204437 h 340728"/>
                <a:gd name="connsiteX3" fmla="*/ 18456 w 99379"/>
                <a:gd name="connsiteY3" fmla="*/ 8518 h 340728"/>
                <a:gd name="connsiteX4" fmla="*/ 29814 w 99379"/>
                <a:gd name="connsiteY4" fmla="*/ 0 h 340728"/>
                <a:gd name="connsiteX5" fmla="*/ 100799 w 99379"/>
                <a:gd name="connsiteY5" fmla="*/ 205857 h 340728"/>
                <a:gd name="connsiteX6" fmla="*/ 7099 w 99379"/>
                <a:gd name="connsiteY6" fmla="*/ 346407 h 340728"/>
                <a:gd name="connsiteX7" fmla="*/ 4259 w 99379"/>
                <a:gd name="connsiteY7" fmla="*/ 340728 h 340728"/>
                <a:gd name="connsiteX8" fmla="*/ 1420 w 99379"/>
                <a:gd name="connsiteY8" fmla="*/ 335050 h 340728"/>
                <a:gd name="connsiteX9" fmla="*/ 1420 w 99379"/>
                <a:gd name="connsiteY9" fmla="*/ 335050 h 340728"/>
                <a:gd name="connsiteX10" fmla="*/ 4259 w 99379"/>
                <a:gd name="connsiteY10" fmla="*/ 340728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379" h="340728">
                  <a:moveTo>
                    <a:pt x="7099" y="346407"/>
                  </a:moveTo>
                  <a:lnTo>
                    <a:pt x="0" y="335050"/>
                  </a:lnTo>
                  <a:cubicBezTo>
                    <a:pt x="1420" y="335050"/>
                    <a:pt x="75244" y="288200"/>
                    <a:pt x="89441" y="204437"/>
                  </a:cubicBezTo>
                  <a:cubicBezTo>
                    <a:pt x="99379" y="143390"/>
                    <a:pt x="75244" y="76664"/>
                    <a:pt x="18456" y="8518"/>
                  </a:cubicBezTo>
                  <a:lnTo>
                    <a:pt x="29814" y="0"/>
                  </a:lnTo>
                  <a:cubicBezTo>
                    <a:pt x="88022" y="70985"/>
                    <a:pt x="112156" y="140550"/>
                    <a:pt x="100799" y="205857"/>
                  </a:cubicBezTo>
                  <a:cubicBezTo>
                    <a:pt x="88022" y="296718"/>
                    <a:pt x="11358" y="344988"/>
                    <a:pt x="7099" y="346407"/>
                  </a:cubicBezTo>
                  <a:close/>
                  <a:moveTo>
                    <a:pt x="4259" y="340728"/>
                  </a:moveTo>
                  <a:lnTo>
                    <a:pt x="1420" y="335050"/>
                  </a:lnTo>
                  <a:lnTo>
                    <a:pt x="1420" y="335050"/>
                  </a:lnTo>
                  <a:lnTo>
                    <a:pt x="4259" y="340728"/>
                  </a:ln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4" name="任意多边形: 形状 10123">
              <a:extLst>
                <a:ext uri="{FF2B5EF4-FFF2-40B4-BE49-F238E27FC236}">
                  <a16:creationId xmlns:a16="http://schemas.microsoft.com/office/drawing/2014/main" id="{6FCB3BD2-704C-4471-862C-5A8270D1C037}"/>
                </a:ext>
              </a:extLst>
            </p:cNvPr>
            <p:cNvSpPr/>
            <p:nvPr userDrawn="1"/>
          </p:nvSpPr>
          <p:spPr>
            <a:xfrm>
              <a:off x="9570381" y="3830019"/>
              <a:ext cx="14197" cy="14197"/>
            </a:xfrm>
            <a:custGeom>
              <a:avLst/>
              <a:gdLst>
                <a:gd name="connsiteX0" fmla="*/ 0 w 0"/>
                <a:gd name="connsiteY0" fmla="*/ 8518 h 0"/>
                <a:gd name="connsiteX1" fmla="*/ 11357 w 0"/>
                <a:gd name="connsiteY1" fmla="*/ 0 h 0"/>
                <a:gd name="connsiteX2" fmla="*/ 0 w 0"/>
                <a:gd name="connsiteY2" fmla="*/ 851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8518"/>
                  </a:moveTo>
                  <a:cubicBezTo>
                    <a:pt x="0" y="8518"/>
                    <a:pt x="4259" y="2839"/>
                    <a:pt x="11357" y="0"/>
                  </a:cubicBezTo>
                  <a:cubicBezTo>
                    <a:pt x="12777" y="1420"/>
                    <a:pt x="11357" y="8518"/>
                    <a:pt x="0" y="8518"/>
                  </a:cubicBez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5" name="任意多边形: 形状 10124">
              <a:extLst>
                <a:ext uri="{FF2B5EF4-FFF2-40B4-BE49-F238E27FC236}">
                  <a16:creationId xmlns:a16="http://schemas.microsoft.com/office/drawing/2014/main" id="{F1AB1A71-9D61-4599-807D-1EE1E0C8380E}"/>
                </a:ext>
              </a:extLst>
            </p:cNvPr>
            <p:cNvSpPr/>
            <p:nvPr userDrawn="1"/>
          </p:nvSpPr>
          <p:spPr>
            <a:xfrm>
              <a:off x="9634249" y="3511547"/>
              <a:ext cx="170364" cy="255546"/>
            </a:xfrm>
            <a:custGeom>
              <a:avLst/>
              <a:gdLst>
                <a:gd name="connsiteX0" fmla="*/ 116434 w 170364"/>
                <a:gd name="connsiteY0" fmla="*/ 13237 h 255546"/>
                <a:gd name="connsiteX1" fmla="*/ 168963 w 170364"/>
                <a:gd name="connsiteY1" fmla="*/ 185021 h 255546"/>
                <a:gd name="connsiteX2" fmla="*/ 42610 w 170364"/>
                <a:gd name="connsiteY2" fmla="*/ 233291 h 255546"/>
                <a:gd name="connsiteX3" fmla="*/ 1438 w 170364"/>
                <a:gd name="connsiteY3" fmla="*/ 116875 h 255546"/>
                <a:gd name="connsiteX4" fmla="*/ 116434 w 170364"/>
                <a:gd name="connsiteY4" fmla="*/ 13237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55546">
                  <a:moveTo>
                    <a:pt x="116434" y="13237"/>
                  </a:moveTo>
                  <a:cubicBezTo>
                    <a:pt x="116434" y="13237"/>
                    <a:pt x="193098" y="62926"/>
                    <a:pt x="168963" y="185021"/>
                  </a:cubicBezTo>
                  <a:cubicBezTo>
                    <a:pt x="143408" y="307115"/>
                    <a:pt x="52547" y="240389"/>
                    <a:pt x="42610" y="233291"/>
                  </a:cubicBezTo>
                  <a:cubicBezTo>
                    <a:pt x="32672" y="226192"/>
                    <a:pt x="2858" y="150948"/>
                    <a:pt x="1438" y="116875"/>
                  </a:cubicBezTo>
                  <a:cubicBezTo>
                    <a:pt x="19" y="85642"/>
                    <a:pt x="-17018" y="-40712"/>
                    <a:pt x="116434" y="13237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6" name="任意多边形: 形状 10125">
              <a:extLst>
                <a:ext uri="{FF2B5EF4-FFF2-40B4-BE49-F238E27FC236}">
                  <a16:creationId xmlns:a16="http://schemas.microsoft.com/office/drawing/2014/main" id="{68A71A24-77EC-4BBF-B20B-92B7DE5D07A5}"/>
                </a:ext>
              </a:extLst>
            </p:cNvPr>
            <p:cNvSpPr/>
            <p:nvPr userDrawn="1"/>
          </p:nvSpPr>
          <p:spPr>
            <a:xfrm>
              <a:off x="9626569" y="3499958"/>
              <a:ext cx="184561" cy="198758"/>
            </a:xfrm>
            <a:custGeom>
              <a:avLst/>
              <a:gdLst>
                <a:gd name="connsiteX0" fmla="*/ 118436 w 184561"/>
                <a:gd name="connsiteY0" fmla="*/ 48960 h 198758"/>
                <a:gd name="connsiteX1" fmla="*/ 68746 w 184561"/>
                <a:gd name="connsiteY1" fmla="*/ 111427 h 198758"/>
                <a:gd name="connsiteX2" fmla="*/ 24735 w 184561"/>
                <a:gd name="connsiteY2" fmla="*/ 192350 h 198758"/>
                <a:gd name="connsiteX3" fmla="*/ 2020 w 184561"/>
                <a:gd name="connsiteY3" fmla="*/ 73095 h 198758"/>
                <a:gd name="connsiteX4" fmla="*/ 119855 w 184561"/>
                <a:gd name="connsiteY4" fmla="*/ 17727 h 198758"/>
                <a:gd name="connsiteX5" fmla="*/ 189421 w 184561"/>
                <a:gd name="connsiteY5" fmla="*/ 154018 h 198758"/>
                <a:gd name="connsiteX6" fmla="*/ 118436 w 184561"/>
                <a:gd name="connsiteY6" fmla="*/ 489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98758">
                  <a:moveTo>
                    <a:pt x="118436" y="48960"/>
                  </a:moveTo>
                  <a:cubicBezTo>
                    <a:pt x="109917" y="46121"/>
                    <a:pt x="82943" y="98650"/>
                    <a:pt x="68746" y="111427"/>
                  </a:cubicBezTo>
                  <a:cubicBezTo>
                    <a:pt x="54549" y="124204"/>
                    <a:pt x="27575" y="156858"/>
                    <a:pt x="24735" y="192350"/>
                  </a:cubicBezTo>
                  <a:cubicBezTo>
                    <a:pt x="21896" y="227843"/>
                    <a:pt x="-7918" y="114267"/>
                    <a:pt x="2020" y="73095"/>
                  </a:cubicBezTo>
                  <a:cubicBezTo>
                    <a:pt x="11958" y="30504"/>
                    <a:pt x="26155" y="-30543"/>
                    <a:pt x="119855" y="17727"/>
                  </a:cubicBezTo>
                  <a:cubicBezTo>
                    <a:pt x="213556" y="65997"/>
                    <a:pt x="189421" y="154018"/>
                    <a:pt x="189421" y="154018"/>
                  </a:cubicBezTo>
                  <a:cubicBezTo>
                    <a:pt x="189421" y="154018"/>
                    <a:pt x="159607" y="60318"/>
                    <a:pt x="118436" y="48960"/>
                  </a:cubicBezTo>
                  <a:close/>
                </a:path>
              </a:pathLst>
            </a:custGeom>
            <a:solidFill>
              <a:srgbClr val="3B3B4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7" name="任意多边形: 形状 10126">
              <a:extLst>
                <a:ext uri="{FF2B5EF4-FFF2-40B4-BE49-F238E27FC236}">
                  <a16:creationId xmlns:a16="http://schemas.microsoft.com/office/drawing/2014/main" id="{78263E55-9236-457F-B01C-6643470F6015}"/>
                </a:ext>
              </a:extLst>
            </p:cNvPr>
            <p:cNvSpPr/>
            <p:nvPr userDrawn="1"/>
          </p:nvSpPr>
          <p:spPr>
            <a:xfrm>
              <a:off x="9645625" y="3616017"/>
              <a:ext cx="28394" cy="56788"/>
            </a:xfrm>
            <a:custGeom>
              <a:avLst/>
              <a:gdLst>
                <a:gd name="connsiteX0" fmla="*/ 34073 w 28394"/>
                <a:gd name="connsiteY0" fmla="*/ 16663 h 56788"/>
                <a:gd name="connsiteX1" fmla="*/ 0 w 28394"/>
                <a:gd name="connsiteY1" fmla="*/ 12404 h 56788"/>
                <a:gd name="connsiteX2" fmla="*/ 28394 w 28394"/>
                <a:gd name="connsiteY2" fmla="*/ 57835 h 56788"/>
                <a:gd name="connsiteX3" fmla="*/ 34073 w 28394"/>
                <a:gd name="connsiteY3" fmla="*/ 16663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34073" y="16663"/>
                  </a:moveTo>
                  <a:cubicBezTo>
                    <a:pt x="31234" y="2466"/>
                    <a:pt x="0" y="-10311"/>
                    <a:pt x="0" y="12404"/>
                  </a:cubicBezTo>
                  <a:cubicBezTo>
                    <a:pt x="0" y="33700"/>
                    <a:pt x="18456" y="59254"/>
                    <a:pt x="28394" y="57835"/>
                  </a:cubicBezTo>
                  <a:cubicBezTo>
                    <a:pt x="38332" y="54995"/>
                    <a:pt x="36912" y="29441"/>
                    <a:pt x="34073" y="16663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8" name="任意多边形: 形状 10127">
              <a:extLst>
                <a:ext uri="{FF2B5EF4-FFF2-40B4-BE49-F238E27FC236}">
                  <a16:creationId xmlns:a16="http://schemas.microsoft.com/office/drawing/2014/main" id="{7691DDB3-4607-4DC4-A270-E5B923DAAD73}"/>
                </a:ext>
              </a:extLst>
            </p:cNvPr>
            <p:cNvSpPr/>
            <p:nvPr userDrawn="1"/>
          </p:nvSpPr>
          <p:spPr>
            <a:xfrm>
              <a:off x="9676859" y="3743417"/>
              <a:ext cx="70985" cy="42591"/>
            </a:xfrm>
            <a:custGeom>
              <a:avLst/>
              <a:gdLst>
                <a:gd name="connsiteX0" fmla="*/ 73824 w 70985"/>
                <a:gd name="connsiteY0" fmla="*/ 42591 h 42591"/>
                <a:gd name="connsiteX1" fmla="*/ 73824 w 70985"/>
                <a:gd name="connsiteY1" fmla="*/ 42591 h 42591"/>
                <a:gd name="connsiteX2" fmla="*/ 0 w 70985"/>
                <a:gd name="connsiteY2" fmla="*/ 0 h 42591"/>
                <a:gd name="connsiteX3" fmla="*/ 73824 w 70985"/>
                <a:gd name="connsiteY3" fmla="*/ 24135 h 42591"/>
                <a:gd name="connsiteX4" fmla="*/ 73824 w 70985"/>
                <a:gd name="connsiteY4" fmla="*/ 25555 h 42591"/>
                <a:gd name="connsiteX5" fmla="*/ 73824 w 70985"/>
                <a:gd name="connsiteY5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42591">
                  <a:moveTo>
                    <a:pt x="73824" y="42591"/>
                  </a:moveTo>
                  <a:lnTo>
                    <a:pt x="73824" y="42591"/>
                  </a:lnTo>
                  <a:cubicBezTo>
                    <a:pt x="18456" y="42591"/>
                    <a:pt x="0" y="0"/>
                    <a:pt x="0" y="0"/>
                  </a:cubicBezTo>
                  <a:cubicBezTo>
                    <a:pt x="38332" y="29814"/>
                    <a:pt x="69565" y="24135"/>
                    <a:pt x="73824" y="24135"/>
                  </a:cubicBezTo>
                  <a:cubicBezTo>
                    <a:pt x="73824" y="24135"/>
                    <a:pt x="73824" y="25555"/>
                    <a:pt x="73824" y="25555"/>
                  </a:cubicBezTo>
                  <a:cubicBezTo>
                    <a:pt x="72404" y="34073"/>
                    <a:pt x="72404" y="35493"/>
                    <a:pt x="73824" y="42591"/>
                  </a:cubicBezTo>
                  <a:close/>
                </a:path>
              </a:pathLst>
            </a:custGeom>
            <a:solidFill>
              <a:srgbClr val="A8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9" name="任意多边形: 形状 10128">
              <a:extLst>
                <a:ext uri="{FF2B5EF4-FFF2-40B4-BE49-F238E27FC236}">
                  <a16:creationId xmlns:a16="http://schemas.microsoft.com/office/drawing/2014/main" id="{92CC1FE0-BBF9-498A-86A1-10F5B86DC5F9}"/>
                </a:ext>
              </a:extLst>
            </p:cNvPr>
            <p:cNvSpPr/>
            <p:nvPr userDrawn="1"/>
          </p:nvSpPr>
          <p:spPr>
            <a:xfrm>
              <a:off x="4849645" y="5042445"/>
              <a:ext cx="255546" cy="113576"/>
            </a:xfrm>
            <a:custGeom>
              <a:avLst/>
              <a:gdLst>
                <a:gd name="connsiteX0" fmla="*/ 200405 w 255546"/>
                <a:gd name="connsiteY0" fmla="*/ 0 h 113576"/>
                <a:gd name="connsiteX1" fmla="*/ 137938 w 255546"/>
                <a:gd name="connsiteY1" fmla="*/ 36912 h 113576"/>
                <a:gd name="connsiteX2" fmla="*/ 3067 w 255546"/>
                <a:gd name="connsiteY2" fmla="*/ 53949 h 113576"/>
                <a:gd name="connsiteX3" fmla="*/ 227 w 255546"/>
                <a:gd name="connsiteY3" fmla="*/ 89441 h 113576"/>
                <a:gd name="connsiteX4" fmla="*/ 193307 w 255546"/>
                <a:gd name="connsiteY4" fmla="*/ 102219 h 113576"/>
                <a:gd name="connsiteX5" fmla="*/ 196146 w 255546"/>
                <a:gd name="connsiteY5" fmla="*/ 112156 h 113576"/>
                <a:gd name="connsiteX6" fmla="*/ 261452 w 255546"/>
                <a:gd name="connsiteY6" fmla="*/ 116416 h 113576"/>
                <a:gd name="connsiteX7" fmla="*/ 262872 w 255546"/>
                <a:gd name="connsiteY7" fmla="*/ 32653 h 113576"/>
                <a:gd name="connsiteX8" fmla="*/ 200405 w 255546"/>
                <a:gd name="connsiteY8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46" h="113576">
                  <a:moveTo>
                    <a:pt x="200405" y="0"/>
                  </a:moveTo>
                  <a:cubicBezTo>
                    <a:pt x="200405" y="0"/>
                    <a:pt x="160653" y="35493"/>
                    <a:pt x="137938" y="36912"/>
                  </a:cubicBezTo>
                  <a:cubicBezTo>
                    <a:pt x="115223" y="38332"/>
                    <a:pt x="8745" y="52529"/>
                    <a:pt x="3067" y="53949"/>
                  </a:cubicBezTo>
                  <a:cubicBezTo>
                    <a:pt x="-1193" y="55368"/>
                    <a:pt x="227" y="89441"/>
                    <a:pt x="227" y="89441"/>
                  </a:cubicBezTo>
                  <a:cubicBezTo>
                    <a:pt x="227" y="89441"/>
                    <a:pt x="140778" y="124934"/>
                    <a:pt x="193307" y="102219"/>
                  </a:cubicBezTo>
                  <a:lnTo>
                    <a:pt x="196146" y="112156"/>
                  </a:lnTo>
                  <a:cubicBezTo>
                    <a:pt x="196146" y="112156"/>
                    <a:pt x="258613" y="122094"/>
                    <a:pt x="261452" y="116416"/>
                  </a:cubicBezTo>
                  <a:cubicBezTo>
                    <a:pt x="264292" y="110737"/>
                    <a:pt x="268551" y="52529"/>
                    <a:pt x="262872" y="32653"/>
                  </a:cubicBezTo>
                  <a:cubicBezTo>
                    <a:pt x="255774" y="14197"/>
                    <a:pt x="200405" y="0"/>
                    <a:pt x="200405" y="0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0" name="任意多边形: 形状 10129">
              <a:extLst>
                <a:ext uri="{FF2B5EF4-FFF2-40B4-BE49-F238E27FC236}">
                  <a16:creationId xmlns:a16="http://schemas.microsoft.com/office/drawing/2014/main" id="{368257D0-E074-4B12-AA46-1730CD9E8A06}"/>
                </a:ext>
              </a:extLst>
            </p:cNvPr>
            <p:cNvSpPr/>
            <p:nvPr userDrawn="1"/>
          </p:nvSpPr>
          <p:spPr>
            <a:xfrm>
              <a:off x="5050050" y="5018310"/>
              <a:ext cx="70985" cy="42591"/>
            </a:xfrm>
            <a:custGeom>
              <a:avLst/>
              <a:gdLst>
                <a:gd name="connsiteX0" fmla="*/ 12777 w 70985"/>
                <a:gd name="connsiteY0" fmla="*/ 0 h 42591"/>
                <a:gd name="connsiteX1" fmla="*/ 0 w 70985"/>
                <a:gd name="connsiteY1" fmla="*/ 24135 h 42591"/>
                <a:gd name="connsiteX2" fmla="*/ 62467 w 70985"/>
                <a:gd name="connsiteY2" fmla="*/ 56788 h 42591"/>
                <a:gd name="connsiteX3" fmla="*/ 79503 w 70985"/>
                <a:gd name="connsiteY3" fmla="*/ 34073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85" h="42591">
                  <a:moveTo>
                    <a:pt x="12777" y="0"/>
                  </a:moveTo>
                  <a:lnTo>
                    <a:pt x="0" y="24135"/>
                  </a:lnTo>
                  <a:lnTo>
                    <a:pt x="62467" y="56788"/>
                  </a:lnTo>
                  <a:lnTo>
                    <a:pt x="79503" y="34073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1" name="任意多边形: 形状 10130">
              <a:extLst>
                <a:ext uri="{FF2B5EF4-FFF2-40B4-BE49-F238E27FC236}">
                  <a16:creationId xmlns:a16="http://schemas.microsoft.com/office/drawing/2014/main" id="{230BC8EB-0EEC-439B-BF2D-552F91384738}"/>
                </a:ext>
              </a:extLst>
            </p:cNvPr>
            <p:cNvSpPr/>
            <p:nvPr userDrawn="1"/>
          </p:nvSpPr>
          <p:spPr>
            <a:xfrm>
              <a:off x="4578709" y="4807897"/>
              <a:ext cx="184561" cy="241349"/>
            </a:xfrm>
            <a:custGeom>
              <a:avLst/>
              <a:gdLst>
                <a:gd name="connsiteX0" fmla="*/ 178882 w 184561"/>
                <a:gd name="connsiteY0" fmla="*/ 142267 h 241349"/>
                <a:gd name="connsiteX1" fmla="*/ 117835 w 184561"/>
                <a:gd name="connsiteY1" fmla="*/ 112453 h 241349"/>
                <a:gd name="connsiteX2" fmla="*/ 31233 w 184561"/>
                <a:gd name="connsiteY2" fmla="*/ 297 h 241349"/>
                <a:gd name="connsiteX3" fmla="*/ 0 w 184561"/>
                <a:gd name="connsiteY3" fmla="*/ 15914 h 241349"/>
                <a:gd name="connsiteX4" fmla="*/ 88022 w 184561"/>
                <a:gd name="connsiteY4" fmla="*/ 187698 h 241349"/>
                <a:gd name="connsiteX5" fmla="*/ 80923 w 184561"/>
                <a:gd name="connsiteY5" fmla="*/ 196216 h 241349"/>
                <a:gd name="connsiteX6" fmla="*/ 110737 w 184561"/>
                <a:gd name="connsiteY6" fmla="*/ 254424 h 241349"/>
                <a:gd name="connsiteX7" fmla="*/ 183142 w 184561"/>
                <a:gd name="connsiteY7" fmla="*/ 211833 h 241349"/>
                <a:gd name="connsiteX8" fmla="*/ 178882 w 184561"/>
                <a:gd name="connsiteY8" fmla="*/ 142267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561" h="241349">
                  <a:moveTo>
                    <a:pt x="178882" y="142267"/>
                  </a:moveTo>
                  <a:cubicBezTo>
                    <a:pt x="178882" y="142267"/>
                    <a:pt x="130613" y="130910"/>
                    <a:pt x="117835" y="112453"/>
                  </a:cubicBezTo>
                  <a:cubicBezTo>
                    <a:pt x="105058" y="93997"/>
                    <a:pt x="35493" y="4556"/>
                    <a:pt x="31233" y="297"/>
                  </a:cubicBezTo>
                  <a:cubicBezTo>
                    <a:pt x="26974" y="-2542"/>
                    <a:pt x="0" y="15914"/>
                    <a:pt x="0" y="15914"/>
                  </a:cubicBezTo>
                  <a:cubicBezTo>
                    <a:pt x="0" y="15914"/>
                    <a:pt x="41171" y="155045"/>
                    <a:pt x="88022" y="187698"/>
                  </a:cubicBezTo>
                  <a:lnTo>
                    <a:pt x="80923" y="196216"/>
                  </a:lnTo>
                  <a:cubicBezTo>
                    <a:pt x="80923" y="196216"/>
                    <a:pt x="105058" y="254424"/>
                    <a:pt x="110737" y="254424"/>
                  </a:cubicBezTo>
                  <a:cubicBezTo>
                    <a:pt x="116416" y="254424"/>
                    <a:pt x="168945" y="227449"/>
                    <a:pt x="183142" y="211833"/>
                  </a:cubicBezTo>
                  <a:cubicBezTo>
                    <a:pt x="197339" y="197636"/>
                    <a:pt x="178882" y="142267"/>
                    <a:pt x="178882" y="142267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2" name="任意多边形: 形状 10131">
              <a:extLst>
                <a:ext uri="{FF2B5EF4-FFF2-40B4-BE49-F238E27FC236}">
                  <a16:creationId xmlns:a16="http://schemas.microsoft.com/office/drawing/2014/main" id="{8EAFD33B-F3CB-4E6B-87C1-79B64E974F01}"/>
                </a:ext>
              </a:extLst>
            </p:cNvPr>
            <p:cNvSpPr/>
            <p:nvPr userDrawn="1"/>
          </p:nvSpPr>
          <p:spPr>
            <a:xfrm>
              <a:off x="4757591" y="4948745"/>
              <a:ext cx="28394" cy="70985"/>
            </a:xfrm>
            <a:custGeom>
              <a:avLst/>
              <a:gdLst>
                <a:gd name="connsiteX0" fmla="*/ 28394 w 28394"/>
                <a:gd name="connsiteY0" fmla="*/ 0 h 70985"/>
                <a:gd name="connsiteX1" fmla="*/ 0 w 28394"/>
                <a:gd name="connsiteY1" fmla="*/ 1420 h 70985"/>
                <a:gd name="connsiteX2" fmla="*/ 4259 w 28394"/>
                <a:gd name="connsiteY2" fmla="*/ 72405 h 70985"/>
                <a:gd name="connsiteX3" fmla="*/ 34073 w 28394"/>
                <a:gd name="connsiteY3" fmla="*/ 75244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70985">
                  <a:moveTo>
                    <a:pt x="28394" y="0"/>
                  </a:moveTo>
                  <a:lnTo>
                    <a:pt x="0" y="1420"/>
                  </a:lnTo>
                  <a:lnTo>
                    <a:pt x="4259" y="72405"/>
                  </a:lnTo>
                  <a:lnTo>
                    <a:pt x="34073" y="75244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3" name="任意多边形: 形状 10132">
              <a:extLst>
                <a:ext uri="{FF2B5EF4-FFF2-40B4-BE49-F238E27FC236}">
                  <a16:creationId xmlns:a16="http://schemas.microsoft.com/office/drawing/2014/main" id="{AE48A564-535A-447F-A73A-00D15308C562}"/>
                </a:ext>
              </a:extLst>
            </p:cNvPr>
            <p:cNvSpPr/>
            <p:nvPr userDrawn="1"/>
          </p:nvSpPr>
          <p:spPr>
            <a:xfrm>
              <a:off x="4767529" y="4833749"/>
              <a:ext cx="1050579" cy="198758"/>
            </a:xfrm>
            <a:custGeom>
              <a:avLst/>
              <a:gdLst>
                <a:gd name="connsiteX0" fmla="*/ 0 w 1050579"/>
                <a:gd name="connsiteY0" fmla="*/ 106478 h 198758"/>
                <a:gd name="connsiteX1" fmla="*/ 9938 w 1050579"/>
                <a:gd name="connsiteY1" fmla="*/ 207276 h 198758"/>
                <a:gd name="connsiteX2" fmla="*/ 364863 w 1050579"/>
                <a:gd name="connsiteY2" fmla="*/ 180302 h 198758"/>
                <a:gd name="connsiteX3" fmla="*/ 552264 w 1050579"/>
                <a:gd name="connsiteY3" fmla="*/ 168945 h 198758"/>
                <a:gd name="connsiteX4" fmla="*/ 908609 w 1050579"/>
                <a:gd name="connsiteY4" fmla="*/ 173204 h 198758"/>
                <a:gd name="connsiteX5" fmla="*/ 973916 w 1050579"/>
                <a:gd name="connsiteY5" fmla="*/ 173204 h 198758"/>
                <a:gd name="connsiteX6" fmla="*/ 973916 w 1050579"/>
                <a:gd name="connsiteY6" fmla="*/ 173204 h 198758"/>
                <a:gd name="connsiteX7" fmla="*/ 1047740 w 1050579"/>
                <a:gd name="connsiteY7" fmla="*/ 173204 h 198758"/>
                <a:gd name="connsiteX8" fmla="*/ 769478 w 1050579"/>
                <a:gd name="connsiteY8" fmla="*/ 0 h 198758"/>
                <a:gd name="connsiteX9" fmla="*/ 492637 w 1050579"/>
                <a:gd name="connsiteY9" fmla="*/ 51109 h 198758"/>
                <a:gd name="connsiteX10" fmla="*/ 208696 w 1050579"/>
                <a:gd name="connsiteY10" fmla="*/ 92281 h 198758"/>
                <a:gd name="connsiteX11" fmla="*/ 0 w 1050579"/>
                <a:gd name="connsiteY11" fmla="*/ 106478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579" h="198758">
                  <a:moveTo>
                    <a:pt x="0" y="106478"/>
                  </a:moveTo>
                  <a:lnTo>
                    <a:pt x="9938" y="207276"/>
                  </a:lnTo>
                  <a:cubicBezTo>
                    <a:pt x="9938" y="207276"/>
                    <a:pt x="306656" y="184561"/>
                    <a:pt x="364863" y="180302"/>
                  </a:cubicBezTo>
                  <a:cubicBezTo>
                    <a:pt x="421651" y="177463"/>
                    <a:pt x="498315" y="166105"/>
                    <a:pt x="552264" y="168945"/>
                  </a:cubicBezTo>
                  <a:cubicBezTo>
                    <a:pt x="586337" y="170364"/>
                    <a:pt x="775157" y="171784"/>
                    <a:pt x="908609" y="173204"/>
                  </a:cubicBezTo>
                  <a:cubicBezTo>
                    <a:pt x="932744" y="173204"/>
                    <a:pt x="954040" y="173204"/>
                    <a:pt x="973916" y="173204"/>
                  </a:cubicBezTo>
                  <a:cubicBezTo>
                    <a:pt x="973916" y="173204"/>
                    <a:pt x="973916" y="173204"/>
                    <a:pt x="973916" y="173204"/>
                  </a:cubicBezTo>
                  <a:cubicBezTo>
                    <a:pt x="1016507" y="173204"/>
                    <a:pt x="1044901" y="173204"/>
                    <a:pt x="1047740" y="173204"/>
                  </a:cubicBezTo>
                  <a:cubicBezTo>
                    <a:pt x="1057678" y="171784"/>
                    <a:pt x="1140021" y="28394"/>
                    <a:pt x="769478" y="0"/>
                  </a:cubicBezTo>
                  <a:cubicBezTo>
                    <a:pt x="769478" y="0"/>
                    <a:pt x="535228" y="44011"/>
                    <a:pt x="492637" y="51109"/>
                  </a:cubicBezTo>
                  <a:cubicBezTo>
                    <a:pt x="450046" y="56788"/>
                    <a:pt x="256966" y="90861"/>
                    <a:pt x="208696" y="92281"/>
                  </a:cubicBezTo>
                  <a:cubicBezTo>
                    <a:pt x="157587" y="92281"/>
                    <a:pt x="0" y="106478"/>
                    <a:pt x="0" y="106478"/>
                  </a:cubicBezTo>
                  <a:close/>
                </a:path>
              </a:pathLst>
            </a:custGeom>
            <a:solidFill>
              <a:srgbClr val="995D3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4" name="任意多边形: 形状 10133">
              <a:extLst>
                <a:ext uri="{FF2B5EF4-FFF2-40B4-BE49-F238E27FC236}">
                  <a16:creationId xmlns:a16="http://schemas.microsoft.com/office/drawing/2014/main" id="{61669022-47CD-4B2D-877E-A76286405A6E}"/>
                </a:ext>
              </a:extLst>
            </p:cNvPr>
            <p:cNvSpPr/>
            <p:nvPr userDrawn="1"/>
          </p:nvSpPr>
          <p:spPr>
            <a:xfrm>
              <a:off x="5830886" y="4598078"/>
              <a:ext cx="241349" cy="28394"/>
            </a:xfrm>
            <a:custGeom>
              <a:avLst/>
              <a:gdLst>
                <a:gd name="connsiteX0" fmla="*/ 0 w 241349"/>
                <a:gd name="connsiteY0" fmla="*/ 38332 h 28394"/>
                <a:gd name="connsiteX1" fmla="*/ 249868 w 241349"/>
                <a:gd name="connsiteY1" fmla="*/ 38332 h 28394"/>
                <a:gd name="connsiteX2" fmla="*/ 237090 w 241349"/>
                <a:gd name="connsiteY2" fmla="*/ 8518 h 28394"/>
                <a:gd name="connsiteX3" fmla="*/ 234251 w 241349"/>
                <a:gd name="connsiteY3" fmla="*/ 0 h 28394"/>
                <a:gd name="connsiteX4" fmla="*/ 1420 w 241349"/>
                <a:gd name="connsiteY4" fmla="*/ 0 h 28394"/>
                <a:gd name="connsiteX5" fmla="*/ 0 w 241349"/>
                <a:gd name="connsiteY5" fmla="*/ 38332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49" h="28394">
                  <a:moveTo>
                    <a:pt x="0" y="38332"/>
                  </a:moveTo>
                  <a:lnTo>
                    <a:pt x="249868" y="38332"/>
                  </a:lnTo>
                  <a:cubicBezTo>
                    <a:pt x="242769" y="19876"/>
                    <a:pt x="237090" y="8518"/>
                    <a:pt x="237090" y="8518"/>
                  </a:cubicBezTo>
                  <a:cubicBezTo>
                    <a:pt x="235671" y="5679"/>
                    <a:pt x="235671" y="2839"/>
                    <a:pt x="234251" y="0"/>
                  </a:cubicBezTo>
                  <a:lnTo>
                    <a:pt x="1420" y="0"/>
                  </a:lnTo>
                  <a:lnTo>
                    <a:pt x="0" y="38332"/>
                  </a:lnTo>
                  <a:close/>
                </a:path>
              </a:pathLst>
            </a:custGeom>
            <a:solidFill>
              <a:srgbClr val="3C639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5" name="任意多边形: 形状 10134">
              <a:extLst>
                <a:ext uri="{FF2B5EF4-FFF2-40B4-BE49-F238E27FC236}">
                  <a16:creationId xmlns:a16="http://schemas.microsoft.com/office/drawing/2014/main" id="{F31E0A76-7270-40DF-9BE2-7F128F6B3B5C}"/>
                </a:ext>
              </a:extLst>
            </p:cNvPr>
            <p:cNvSpPr/>
            <p:nvPr userDrawn="1"/>
          </p:nvSpPr>
          <p:spPr>
            <a:xfrm>
              <a:off x="5578414" y="4299758"/>
              <a:ext cx="354926" cy="582078"/>
            </a:xfrm>
            <a:custGeom>
              <a:avLst/>
              <a:gdLst>
                <a:gd name="connsiteX0" fmla="*/ 106242 w 354925"/>
                <a:gd name="connsiteY0" fmla="*/ 28577 h 582077"/>
                <a:gd name="connsiteX1" fmla="*/ 5444 w 354925"/>
                <a:gd name="connsiteY1" fmla="*/ 79686 h 582077"/>
                <a:gd name="connsiteX2" fmla="*/ 16801 w 354925"/>
                <a:gd name="connsiteY2" fmla="*/ 294061 h 582077"/>
                <a:gd name="connsiteX3" fmla="*/ 15381 w 354925"/>
                <a:gd name="connsiteY3" fmla="*/ 485721 h 582077"/>
                <a:gd name="connsiteX4" fmla="*/ 317778 w 354925"/>
                <a:gd name="connsiteY4" fmla="*/ 592198 h 582077"/>
                <a:gd name="connsiteX5" fmla="*/ 346172 w 354925"/>
                <a:gd name="connsiteY5" fmla="*/ 379243 h 582077"/>
                <a:gd name="connsiteX6" fmla="*/ 356110 w 354925"/>
                <a:gd name="connsiteY6" fmla="*/ 177645 h 582077"/>
                <a:gd name="connsiteX7" fmla="*/ 366048 w 354925"/>
                <a:gd name="connsiteY7" fmla="*/ 41354 h 582077"/>
                <a:gd name="connsiteX8" fmla="*/ 209881 w 354925"/>
                <a:gd name="connsiteY8" fmla="*/ 183 h 582077"/>
                <a:gd name="connsiteX9" fmla="*/ 106242 w 354925"/>
                <a:gd name="connsiteY9" fmla="*/ 28577 h 58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4925" h="582077">
                  <a:moveTo>
                    <a:pt x="106242" y="28577"/>
                  </a:moveTo>
                  <a:cubicBezTo>
                    <a:pt x="106242" y="28577"/>
                    <a:pt x="22480" y="56971"/>
                    <a:pt x="5444" y="79686"/>
                  </a:cubicBezTo>
                  <a:cubicBezTo>
                    <a:pt x="-11593" y="100981"/>
                    <a:pt x="16801" y="294061"/>
                    <a:pt x="16801" y="294061"/>
                  </a:cubicBezTo>
                  <a:lnTo>
                    <a:pt x="15381" y="485721"/>
                  </a:lnTo>
                  <a:cubicBezTo>
                    <a:pt x="15381" y="485721"/>
                    <a:pt x="211300" y="586519"/>
                    <a:pt x="317778" y="592198"/>
                  </a:cubicBezTo>
                  <a:cubicBezTo>
                    <a:pt x="317778" y="592198"/>
                    <a:pt x="347592" y="444549"/>
                    <a:pt x="346172" y="379243"/>
                  </a:cubicBezTo>
                  <a:cubicBezTo>
                    <a:pt x="344752" y="313937"/>
                    <a:pt x="356110" y="177645"/>
                    <a:pt x="356110" y="177645"/>
                  </a:cubicBezTo>
                  <a:cubicBezTo>
                    <a:pt x="356110" y="177645"/>
                    <a:pt x="346172" y="72587"/>
                    <a:pt x="366048" y="41354"/>
                  </a:cubicBezTo>
                  <a:cubicBezTo>
                    <a:pt x="366048" y="41354"/>
                    <a:pt x="251052" y="1602"/>
                    <a:pt x="209881" y="183"/>
                  </a:cubicBezTo>
                  <a:cubicBezTo>
                    <a:pt x="170129" y="-2657"/>
                    <a:pt x="106242" y="28577"/>
                    <a:pt x="106242" y="28577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6" name="任意多边形: 形状 10135">
              <a:extLst>
                <a:ext uri="{FF2B5EF4-FFF2-40B4-BE49-F238E27FC236}">
                  <a16:creationId xmlns:a16="http://schemas.microsoft.com/office/drawing/2014/main" id="{FAE7313D-A8CD-4451-BA07-9EA9A9D9B764}"/>
                </a:ext>
              </a:extLst>
            </p:cNvPr>
            <p:cNvSpPr/>
            <p:nvPr userDrawn="1"/>
          </p:nvSpPr>
          <p:spPr>
            <a:xfrm>
              <a:off x="5825207" y="4338273"/>
              <a:ext cx="298137" cy="369123"/>
            </a:xfrm>
            <a:custGeom>
              <a:avLst/>
              <a:gdLst>
                <a:gd name="connsiteX0" fmla="*/ 120675 w 298137"/>
                <a:gd name="connsiteY0" fmla="*/ 0 h 369122"/>
                <a:gd name="connsiteX1" fmla="*/ 184561 w 298137"/>
                <a:gd name="connsiteY1" fmla="*/ 69565 h 369122"/>
                <a:gd name="connsiteX2" fmla="*/ 300977 w 298137"/>
                <a:gd name="connsiteY2" fmla="*/ 271163 h 369122"/>
                <a:gd name="connsiteX3" fmla="*/ 235671 w 298137"/>
                <a:gd name="connsiteY3" fmla="*/ 318013 h 369122"/>
                <a:gd name="connsiteX4" fmla="*/ 28394 w 298137"/>
                <a:gd name="connsiteY4" fmla="*/ 376221 h 369122"/>
                <a:gd name="connsiteX5" fmla="*/ 0 w 298137"/>
                <a:gd name="connsiteY5" fmla="*/ 312334 h 369122"/>
                <a:gd name="connsiteX6" fmla="*/ 184561 w 298137"/>
                <a:gd name="connsiteY6" fmla="*/ 254127 h 369122"/>
                <a:gd name="connsiteX7" fmla="*/ 110737 w 298137"/>
                <a:gd name="connsiteY7" fmla="*/ 146229 h 369122"/>
                <a:gd name="connsiteX8" fmla="*/ 120675 w 298137"/>
                <a:gd name="connsiteY8" fmla="*/ 0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137" h="369122">
                  <a:moveTo>
                    <a:pt x="120675" y="0"/>
                  </a:moveTo>
                  <a:cubicBezTo>
                    <a:pt x="120675" y="0"/>
                    <a:pt x="170364" y="48270"/>
                    <a:pt x="184561" y="69565"/>
                  </a:cubicBezTo>
                  <a:cubicBezTo>
                    <a:pt x="201598" y="93700"/>
                    <a:pt x="305236" y="254127"/>
                    <a:pt x="300977" y="271163"/>
                  </a:cubicBezTo>
                  <a:cubicBezTo>
                    <a:pt x="298137" y="289619"/>
                    <a:pt x="282521" y="303816"/>
                    <a:pt x="235671" y="318013"/>
                  </a:cubicBezTo>
                  <a:cubicBezTo>
                    <a:pt x="187401" y="330791"/>
                    <a:pt x="28394" y="376221"/>
                    <a:pt x="28394" y="376221"/>
                  </a:cubicBezTo>
                  <a:lnTo>
                    <a:pt x="0" y="312334"/>
                  </a:lnTo>
                  <a:cubicBezTo>
                    <a:pt x="0" y="312334"/>
                    <a:pt x="166105" y="266904"/>
                    <a:pt x="184561" y="254127"/>
                  </a:cubicBezTo>
                  <a:cubicBezTo>
                    <a:pt x="203017" y="242769"/>
                    <a:pt x="110737" y="146229"/>
                    <a:pt x="110737" y="146229"/>
                  </a:cubicBezTo>
                  <a:cubicBezTo>
                    <a:pt x="110737" y="146229"/>
                    <a:pt x="70985" y="28394"/>
                    <a:pt x="120675" y="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7" name="任意多边形: 形状 10136">
              <a:extLst>
                <a:ext uri="{FF2B5EF4-FFF2-40B4-BE49-F238E27FC236}">
                  <a16:creationId xmlns:a16="http://schemas.microsoft.com/office/drawing/2014/main" id="{00836333-EF66-45DE-9ED0-1DE7F36C5B3D}"/>
                </a:ext>
              </a:extLst>
            </p:cNvPr>
            <p:cNvSpPr/>
            <p:nvPr userDrawn="1"/>
          </p:nvSpPr>
          <p:spPr>
            <a:xfrm>
              <a:off x="5464825" y="4379384"/>
              <a:ext cx="141970" cy="198758"/>
            </a:xfrm>
            <a:custGeom>
              <a:avLst/>
              <a:gdLst>
                <a:gd name="connsiteX0" fmla="*/ 119033 w 141970"/>
                <a:gd name="connsiteY0" fmla="*/ 60 h 198758"/>
                <a:gd name="connsiteX1" fmla="*/ 1197 w 141970"/>
                <a:gd name="connsiteY1" fmla="*/ 164745 h 198758"/>
                <a:gd name="connsiteX2" fmla="*/ 82120 w 141970"/>
                <a:gd name="connsiteY2" fmla="*/ 207336 h 198758"/>
                <a:gd name="connsiteX3" fmla="*/ 143168 w 141970"/>
                <a:gd name="connsiteY3" fmla="*/ 103698 h 198758"/>
                <a:gd name="connsiteX4" fmla="*/ 119033 w 141970"/>
                <a:gd name="connsiteY4" fmla="*/ 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70" h="198758">
                  <a:moveTo>
                    <a:pt x="119033" y="60"/>
                  </a:moveTo>
                  <a:cubicBezTo>
                    <a:pt x="119033" y="60"/>
                    <a:pt x="13975" y="150548"/>
                    <a:pt x="1197" y="164745"/>
                  </a:cubicBezTo>
                  <a:cubicBezTo>
                    <a:pt x="-11580" y="178942"/>
                    <a:pt x="82120" y="207336"/>
                    <a:pt x="82120" y="207336"/>
                  </a:cubicBezTo>
                  <a:cubicBezTo>
                    <a:pt x="82120" y="207336"/>
                    <a:pt x="130390" y="110796"/>
                    <a:pt x="143168" y="103698"/>
                  </a:cubicBezTo>
                  <a:cubicBezTo>
                    <a:pt x="157365" y="96599"/>
                    <a:pt x="161624" y="-2780"/>
                    <a:pt x="119033" y="6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8" name="任意多边形: 形状 10137">
              <a:extLst>
                <a:ext uri="{FF2B5EF4-FFF2-40B4-BE49-F238E27FC236}">
                  <a16:creationId xmlns:a16="http://schemas.microsoft.com/office/drawing/2014/main" id="{154CB66F-4C4C-4C3B-9B15-166BD4B9166F}"/>
                </a:ext>
              </a:extLst>
            </p:cNvPr>
            <p:cNvSpPr/>
            <p:nvPr userDrawn="1"/>
          </p:nvSpPr>
          <p:spPr>
            <a:xfrm>
              <a:off x="5041531" y="4670275"/>
              <a:ext cx="851821" cy="397517"/>
            </a:xfrm>
            <a:custGeom>
              <a:avLst/>
              <a:gdLst>
                <a:gd name="connsiteX0" fmla="*/ 854661 w 851821"/>
                <a:gd name="connsiteY0" fmla="*/ 245816 h 397516"/>
                <a:gd name="connsiteX1" fmla="*/ 793613 w 851821"/>
                <a:gd name="connsiteY1" fmla="*/ 343775 h 397516"/>
                <a:gd name="connsiteX2" fmla="*/ 552264 w 851821"/>
                <a:gd name="connsiteY2" fmla="*/ 278469 h 397516"/>
                <a:gd name="connsiteX3" fmla="*/ 300977 w 851821"/>
                <a:gd name="connsiteY3" fmla="*/ 177670 h 397516"/>
                <a:gd name="connsiteX4" fmla="*/ 102219 w 851821"/>
                <a:gd name="connsiteY4" fmla="*/ 407662 h 397516"/>
                <a:gd name="connsiteX5" fmla="*/ 0 w 851821"/>
                <a:gd name="connsiteY5" fmla="*/ 360812 h 397516"/>
                <a:gd name="connsiteX6" fmla="*/ 198758 w 851821"/>
                <a:gd name="connsiteY6" fmla="*/ 79711 h 397516"/>
                <a:gd name="connsiteX7" fmla="*/ 283940 w 851821"/>
                <a:gd name="connsiteY7" fmla="*/ 208 h 397516"/>
                <a:gd name="connsiteX8" fmla="*/ 854661 w 851821"/>
                <a:gd name="connsiteY8" fmla="*/ 200386 h 397516"/>
                <a:gd name="connsiteX9" fmla="*/ 854661 w 851821"/>
                <a:gd name="connsiteY9" fmla="*/ 245816 h 39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1821" h="397516">
                  <a:moveTo>
                    <a:pt x="854661" y="245816"/>
                  </a:moveTo>
                  <a:cubicBezTo>
                    <a:pt x="854661" y="245816"/>
                    <a:pt x="861759" y="335257"/>
                    <a:pt x="793613" y="343775"/>
                  </a:cubicBezTo>
                  <a:cubicBezTo>
                    <a:pt x="725468" y="350874"/>
                    <a:pt x="650224" y="329578"/>
                    <a:pt x="552264" y="278469"/>
                  </a:cubicBezTo>
                  <a:cubicBezTo>
                    <a:pt x="454305" y="225940"/>
                    <a:pt x="323692" y="167732"/>
                    <a:pt x="300977" y="177670"/>
                  </a:cubicBezTo>
                  <a:cubicBezTo>
                    <a:pt x="278262" y="187608"/>
                    <a:pt x="102219" y="407662"/>
                    <a:pt x="102219" y="407662"/>
                  </a:cubicBezTo>
                  <a:lnTo>
                    <a:pt x="0" y="360812"/>
                  </a:lnTo>
                  <a:cubicBezTo>
                    <a:pt x="0" y="360812"/>
                    <a:pt x="190240" y="102426"/>
                    <a:pt x="198758" y="79711"/>
                  </a:cubicBezTo>
                  <a:cubicBezTo>
                    <a:pt x="207277" y="58415"/>
                    <a:pt x="244189" y="-4052"/>
                    <a:pt x="283940" y="208"/>
                  </a:cubicBezTo>
                  <a:cubicBezTo>
                    <a:pt x="322272" y="4467"/>
                    <a:pt x="854661" y="200386"/>
                    <a:pt x="854661" y="200386"/>
                  </a:cubicBezTo>
                  <a:lnTo>
                    <a:pt x="854661" y="245816"/>
                  </a:lnTo>
                  <a:close/>
                </a:path>
              </a:pathLst>
            </a:custGeom>
            <a:solidFill>
              <a:srgbClr val="A3633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9" name="任意多边形: 形状 10138">
              <a:extLst>
                <a:ext uri="{FF2B5EF4-FFF2-40B4-BE49-F238E27FC236}">
                  <a16:creationId xmlns:a16="http://schemas.microsoft.com/office/drawing/2014/main" id="{1AB554C6-C7C9-472D-81CB-7C3B4F9D994B}"/>
                </a:ext>
              </a:extLst>
            </p:cNvPr>
            <p:cNvSpPr/>
            <p:nvPr userDrawn="1"/>
          </p:nvSpPr>
          <p:spPr>
            <a:xfrm>
              <a:off x="5601097" y="4025955"/>
              <a:ext cx="184561" cy="269743"/>
            </a:xfrm>
            <a:custGeom>
              <a:avLst/>
              <a:gdLst>
                <a:gd name="connsiteX0" fmla="*/ 65104 w 184561"/>
                <a:gd name="connsiteY0" fmla="*/ 1403 h 269743"/>
                <a:gd name="connsiteX1" fmla="*/ 4057 w 184561"/>
                <a:gd name="connsiteY1" fmla="*/ 141953 h 269743"/>
                <a:gd name="connsiteX2" fmla="*/ 104855 w 184561"/>
                <a:gd name="connsiteY2" fmla="*/ 272566 h 269743"/>
                <a:gd name="connsiteX3" fmla="*/ 177260 w 184561"/>
                <a:gd name="connsiteY3" fmla="*/ 183125 h 269743"/>
                <a:gd name="connsiteX4" fmla="*/ 177260 w 184561"/>
                <a:gd name="connsiteY4" fmla="*/ 32636 h 269743"/>
                <a:gd name="connsiteX5" fmla="*/ 65104 w 184561"/>
                <a:gd name="connsiteY5" fmla="*/ 1403 h 26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561" h="269743">
                  <a:moveTo>
                    <a:pt x="65104" y="1403"/>
                  </a:moveTo>
                  <a:cubicBezTo>
                    <a:pt x="26772" y="5662"/>
                    <a:pt x="-12980" y="55352"/>
                    <a:pt x="4057" y="141953"/>
                  </a:cubicBezTo>
                  <a:cubicBezTo>
                    <a:pt x="21093" y="228555"/>
                    <a:pt x="65104" y="276825"/>
                    <a:pt x="104855" y="272566"/>
                  </a:cubicBezTo>
                  <a:cubicBezTo>
                    <a:pt x="144607" y="266887"/>
                    <a:pt x="155965" y="232814"/>
                    <a:pt x="177260" y="183125"/>
                  </a:cubicBezTo>
                  <a:cubicBezTo>
                    <a:pt x="197136" y="133435"/>
                    <a:pt x="197136" y="46833"/>
                    <a:pt x="177260" y="32636"/>
                  </a:cubicBezTo>
                  <a:cubicBezTo>
                    <a:pt x="155965" y="15600"/>
                    <a:pt x="138928" y="-5696"/>
                    <a:pt x="65104" y="140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0" name="任意多边形: 形状 10139">
              <a:extLst>
                <a:ext uri="{FF2B5EF4-FFF2-40B4-BE49-F238E27FC236}">
                  <a16:creationId xmlns:a16="http://schemas.microsoft.com/office/drawing/2014/main" id="{B7B55D01-FA75-4F0B-86E9-747BA357770C}"/>
                </a:ext>
              </a:extLst>
            </p:cNvPr>
            <p:cNvSpPr/>
            <p:nvPr userDrawn="1"/>
          </p:nvSpPr>
          <p:spPr>
            <a:xfrm>
              <a:off x="5680397" y="4177484"/>
              <a:ext cx="99379" cy="170364"/>
            </a:xfrm>
            <a:custGeom>
              <a:avLst/>
              <a:gdLst>
                <a:gd name="connsiteX0" fmla="*/ 0 w 99379"/>
                <a:gd name="connsiteY0" fmla="*/ 106840 h 170364"/>
                <a:gd name="connsiteX1" fmla="*/ 8518 w 99379"/>
                <a:gd name="connsiteY1" fmla="*/ 166468 h 170364"/>
                <a:gd name="connsiteX2" fmla="*/ 109317 w 99379"/>
                <a:gd name="connsiteY2" fmla="*/ 140913 h 170364"/>
                <a:gd name="connsiteX3" fmla="*/ 106478 w 99379"/>
                <a:gd name="connsiteY3" fmla="*/ 10300 h 170364"/>
                <a:gd name="connsiteX4" fmla="*/ 0 w 99379"/>
                <a:gd name="connsiteY4" fmla="*/ 106840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170364">
                  <a:moveTo>
                    <a:pt x="0" y="106840"/>
                  </a:moveTo>
                  <a:cubicBezTo>
                    <a:pt x="0" y="106840"/>
                    <a:pt x="9938" y="145172"/>
                    <a:pt x="8518" y="166468"/>
                  </a:cubicBezTo>
                  <a:cubicBezTo>
                    <a:pt x="8518" y="166468"/>
                    <a:pt x="68146" y="192022"/>
                    <a:pt x="109317" y="140913"/>
                  </a:cubicBezTo>
                  <a:cubicBezTo>
                    <a:pt x="109317" y="140913"/>
                    <a:pt x="93700" y="59990"/>
                    <a:pt x="106478" y="10300"/>
                  </a:cubicBezTo>
                  <a:cubicBezTo>
                    <a:pt x="117835" y="-39389"/>
                    <a:pt x="0" y="106840"/>
                    <a:pt x="0" y="10684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1" name="任意多边形: 形状 10140">
              <a:extLst>
                <a:ext uri="{FF2B5EF4-FFF2-40B4-BE49-F238E27FC236}">
                  <a16:creationId xmlns:a16="http://schemas.microsoft.com/office/drawing/2014/main" id="{4AE7E0E3-CFF5-4750-A7D4-909986127502}"/>
                </a:ext>
              </a:extLst>
            </p:cNvPr>
            <p:cNvSpPr/>
            <p:nvPr userDrawn="1"/>
          </p:nvSpPr>
          <p:spPr>
            <a:xfrm>
              <a:off x="5598121" y="4022414"/>
              <a:ext cx="198758" cy="184561"/>
            </a:xfrm>
            <a:custGeom>
              <a:avLst/>
              <a:gdLst>
                <a:gd name="connsiteX0" fmla="*/ 2773 w 198758"/>
                <a:gd name="connsiteY0" fmla="*/ 141236 h 184561"/>
                <a:gd name="connsiteX1" fmla="*/ 83696 w 198758"/>
                <a:gd name="connsiteY1" fmla="*/ 110002 h 184561"/>
                <a:gd name="connsiteX2" fmla="*/ 130546 w 198758"/>
                <a:gd name="connsiteY2" fmla="*/ 144075 h 184561"/>
                <a:gd name="connsiteX3" fmla="*/ 147583 w 198758"/>
                <a:gd name="connsiteY3" fmla="*/ 151174 h 184561"/>
                <a:gd name="connsiteX4" fmla="*/ 183075 w 198758"/>
                <a:gd name="connsiteY4" fmla="*/ 185246 h 184561"/>
                <a:gd name="connsiteX5" fmla="*/ 204371 w 198758"/>
                <a:gd name="connsiteY5" fmla="*/ 74510 h 184561"/>
                <a:gd name="connsiteX6" fmla="*/ 73758 w 198758"/>
                <a:gd name="connsiteY6" fmla="*/ 685 h 184561"/>
                <a:gd name="connsiteX7" fmla="*/ 2773 w 198758"/>
                <a:gd name="connsiteY7" fmla="*/ 141236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758" h="184561">
                  <a:moveTo>
                    <a:pt x="2773" y="141236"/>
                  </a:moveTo>
                  <a:cubicBezTo>
                    <a:pt x="2773" y="141236"/>
                    <a:pt x="56722" y="114261"/>
                    <a:pt x="83696" y="110002"/>
                  </a:cubicBezTo>
                  <a:cubicBezTo>
                    <a:pt x="112090" y="105743"/>
                    <a:pt x="137645" y="117101"/>
                    <a:pt x="130546" y="144075"/>
                  </a:cubicBezTo>
                  <a:lnTo>
                    <a:pt x="147583" y="151174"/>
                  </a:lnTo>
                  <a:cubicBezTo>
                    <a:pt x="147583" y="151174"/>
                    <a:pt x="178816" y="166790"/>
                    <a:pt x="183075" y="185246"/>
                  </a:cubicBezTo>
                  <a:cubicBezTo>
                    <a:pt x="183075" y="185246"/>
                    <a:pt x="202951" y="102904"/>
                    <a:pt x="204371" y="74510"/>
                  </a:cubicBezTo>
                  <a:cubicBezTo>
                    <a:pt x="205791" y="43276"/>
                    <a:pt x="173137" y="-6413"/>
                    <a:pt x="73758" y="685"/>
                  </a:cubicBezTo>
                  <a:cubicBezTo>
                    <a:pt x="-24201" y="4944"/>
                    <a:pt x="4193" y="128458"/>
                    <a:pt x="2773" y="141236"/>
                  </a:cubicBezTo>
                  <a:close/>
                </a:path>
              </a:pathLst>
            </a:custGeom>
            <a:solidFill>
              <a:srgbClr val="283B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2" name="任意多边形: 形状 10141">
              <a:extLst>
                <a:ext uri="{FF2B5EF4-FFF2-40B4-BE49-F238E27FC236}">
                  <a16:creationId xmlns:a16="http://schemas.microsoft.com/office/drawing/2014/main" id="{CF19A26C-46E3-4DC1-8154-D1CC97ED477C}"/>
                </a:ext>
              </a:extLst>
            </p:cNvPr>
            <p:cNvSpPr/>
            <p:nvPr userDrawn="1"/>
          </p:nvSpPr>
          <p:spPr>
            <a:xfrm>
              <a:off x="5738824" y="4134519"/>
              <a:ext cx="28394" cy="56788"/>
            </a:xfrm>
            <a:custGeom>
              <a:avLst/>
              <a:gdLst>
                <a:gd name="connsiteX0" fmla="*/ 2621 w 28394"/>
                <a:gd name="connsiteY0" fmla="*/ 19192 h 56788"/>
                <a:gd name="connsiteX1" fmla="*/ 32435 w 28394"/>
                <a:gd name="connsiteY1" fmla="*/ 7835 h 56788"/>
                <a:gd name="connsiteX2" fmla="*/ 9719 w 28394"/>
                <a:gd name="connsiteY2" fmla="*/ 57524 h 56788"/>
                <a:gd name="connsiteX3" fmla="*/ 2621 w 28394"/>
                <a:gd name="connsiteY3" fmla="*/ 1919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621" y="19192"/>
                  </a:moveTo>
                  <a:cubicBezTo>
                    <a:pt x="5460" y="7835"/>
                    <a:pt x="22497" y="-10621"/>
                    <a:pt x="32435" y="7835"/>
                  </a:cubicBezTo>
                  <a:cubicBezTo>
                    <a:pt x="42373" y="26291"/>
                    <a:pt x="21077" y="57524"/>
                    <a:pt x="9719" y="57524"/>
                  </a:cubicBezTo>
                  <a:cubicBezTo>
                    <a:pt x="-1638" y="57524"/>
                    <a:pt x="-1638" y="34809"/>
                    <a:pt x="2621" y="191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3" name="任意多边形: 形状 10142">
              <a:extLst>
                <a:ext uri="{FF2B5EF4-FFF2-40B4-BE49-F238E27FC236}">
                  <a16:creationId xmlns:a16="http://schemas.microsoft.com/office/drawing/2014/main" id="{A4EAED12-3DC7-4937-96B3-CE373FF26608}"/>
                </a:ext>
              </a:extLst>
            </p:cNvPr>
            <p:cNvSpPr/>
            <p:nvPr userDrawn="1"/>
          </p:nvSpPr>
          <p:spPr>
            <a:xfrm>
              <a:off x="5483059" y="4457625"/>
              <a:ext cx="582078" cy="454305"/>
            </a:xfrm>
            <a:custGeom>
              <a:avLst/>
              <a:gdLst>
                <a:gd name="connsiteX0" fmla="*/ 15617 w 582077"/>
                <a:gd name="connsiteY0" fmla="*/ 68049 h 454304"/>
                <a:gd name="connsiteX1" fmla="*/ 173204 w 582077"/>
                <a:gd name="connsiteY1" fmla="*/ 28297 h 454304"/>
                <a:gd name="connsiteX2" fmla="*/ 454305 w 582077"/>
                <a:gd name="connsiteY2" fmla="*/ 70888 h 454304"/>
                <a:gd name="connsiteX3" fmla="*/ 572140 w 582077"/>
                <a:gd name="connsiteY3" fmla="*/ 337792 h 454304"/>
                <a:gd name="connsiteX4" fmla="*/ 570720 w 582077"/>
                <a:gd name="connsiteY4" fmla="*/ 342051 h 454304"/>
                <a:gd name="connsiteX5" fmla="*/ 549425 w 582077"/>
                <a:gd name="connsiteY5" fmla="*/ 381803 h 454304"/>
                <a:gd name="connsiteX6" fmla="*/ 299557 w 582077"/>
                <a:gd name="connsiteY6" fmla="*/ 451368 h 454304"/>
                <a:gd name="connsiteX7" fmla="*/ 69565 w 582077"/>
                <a:gd name="connsiteY7" fmla="*/ 282424 h 454304"/>
                <a:gd name="connsiteX8" fmla="*/ 89441 w 582077"/>
                <a:gd name="connsiteY8" fmla="*/ 166008 h 454304"/>
                <a:gd name="connsiteX9" fmla="*/ 0 w 582077"/>
                <a:gd name="connsiteY9" fmla="*/ 102122 h 454304"/>
                <a:gd name="connsiteX10" fmla="*/ 15617 w 582077"/>
                <a:gd name="connsiteY10" fmla="*/ 68049 h 45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2077" h="454304">
                  <a:moveTo>
                    <a:pt x="15617" y="68049"/>
                  </a:moveTo>
                  <a:cubicBezTo>
                    <a:pt x="38332" y="25458"/>
                    <a:pt x="89441" y="-37009"/>
                    <a:pt x="173204" y="28297"/>
                  </a:cubicBezTo>
                  <a:cubicBezTo>
                    <a:pt x="292459" y="119158"/>
                    <a:pt x="305236" y="11261"/>
                    <a:pt x="454305" y="70888"/>
                  </a:cubicBezTo>
                  <a:cubicBezTo>
                    <a:pt x="559363" y="112060"/>
                    <a:pt x="618990" y="224216"/>
                    <a:pt x="572140" y="337792"/>
                  </a:cubicBezTo>
                  <a:lnTo>
                    <a:pt x="570720" y="342051"/>
                  </a:lnTo>
                  <a:cubicBezTo>
                    <a:pt x="565041" y="356248"/>
                    <a:pt x="557943" y="369026"/>
                    <a:pt x="549425" y="381803"/>
                  </a:cubicBezTo>
                  <a:cubicBezTo>
                    <a:pt x="494056" y="464146"/>
                    <a:pt x="391838" y="488281"/>
                    <a:pt x="299557" y="451368"/>
                  </a:cubicBezTo>
                  <a:cubicBezTo>
                    <a:pt x="150488" y="393161"/>
                    <a:pt x="185981" y="298041"/>
                    <a:pt x="69565" y="282424"/>
                  </a:cubicBezTo>
                  <a:cubicBezTo>
                    <a:pt x="-61047" y="265387"/>
                    <a:pt x="89441" y="166008"/>
                    <a:pt x="89441" y="166008"/>
                  </a:cubicBezTo>
                  <a:lnTo>
                    <a:pt x="0" y="102122"/>
                  </a:lnTo>
                  <a:cubicBezTo>
                    <a:pt x="1420" y="100702"/>
                    <a:pt x="7099" y="86505"/>
                    <a:pt x="15617" y="68049"/>
                  </a:cubicBezTo>
                  <a:close/>
                </a:path>
              </a:pathLst>
            </a:custGeom>
            <a:solidFill>
              <a:srgbClr val="FCBC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4" name="任意多边形: 形状 10143">
              <a:extLst>
                <a:ext uri="{FF2B5EF4-FFF2-40B4-BE49-F238E27FC236}">
                  <a16:creationId xmlns:a16="http://schemas.microsoft.com/office/drawing/2014/main" id="{731E4ED4-4A5F-464D-87A0-8CE7030B98CE}"/>
                </a:ext>
              </a:extLst>
            </p:cNvPr>
            <p:cNvSpPr/>
            <p:nvPr userDrawn="1"/>
          </p:nvSpPr>
          <p:spPr>
            <a:xfrm>
              <a:off x="5477380" y="4449466"/>
              <a:ext cx="596275" cy="468502"/>
            </a:xfrm>
            <a:custGeom>
              <a:avLst/>
              <a:gdLst>
                <a:gd name="connsiteX0" fmla="*/ 2839 w 596274"/>
                <a:gd name="connsiteY0" fmla="*/ 100342 h 468501"/>
                <a:gd name="connsiteX1" fmla="*/ 1420 w 596274"/>
                <a:gd name="connsiteY1" fmla="*/ 106021 h 468501"/>
                <a:gd name="connsiteX2" fmla="*/ 0 w 596274"/>
                <a:gd name="connsiteY2" fmla="*/ 110280 h 468501"/>
                <a:gd name="connsiteX3" fmla="*/ 85182 w 596274"/>
                <a:gd name="connsiteY3" fmla="*/ 171327 h 468501"/>
                <a:gd name="connsiteX4" fmla="*/ 18456 w 596274"/>
                <a:gd name="connsiteY4" fmla="*/ 263608 h 468501"/>
                <a:gd name="connsiteX5" fmla="*/ 78084 w 596274"/>
                <a:gd name="connsiteY5" fmla="*/ 296261 h 468501"/>
                <a:gd name="connsiteX6" fmla="*/ 174623 w 596274"/>
                <a:gd name="connsiteY6" fmla="*/ 361568 h 468501"/>
                <a:gd name="connsiteX7" fmla="*/ 306656 w 596274"/>
                <a:gd name="connsiteY7" fmla="*/ 465206 h 468501"/>
                <a:gd name="connsiteX8" fmla="*/ 565041 w 596274"/>
                <a:gd name="connsiteY8" fmla="*/ 392801 h 468501"/>
                <a:gd name="connsiteX9" fmla="*/ 583498 w 596274"/>
                <a:gd name="connsiteY9" fmla="*/ 357308 h 468501"/>
                <a:gd name="connsiteX10" fmla="*/ 586337 w 596274"/>
                <a:gd name="connsiteY10" fmla="*/ 351630 h 468501"/>
                <a:gd name="connsiteX11" fmla="*/ 587757 w 596274"/>
                <a:gd name="connsiteY11" fmla="*/ 347371 h 468501"/>
                <a:gd name="connsiteX12" fmla="*/ 584917 w 596274"/>
                <a:gd name="connsiteY12" fmla="*/ 181265 h 468501"/>
                <a:gd name="connsiteX13" fmla="*/ 464243 w 596274"/>
                <a:gd name="connsiteY13" fmla="*/ 70529 h 468501"/>
                <a:gd name="connsiteX14" fmla="*/ 313754 w 596274"/>
                <a:gd name="connsiteY14" fmla="*/ 59171 h 468501"/>
                <a:gd name="connsiteX15" fmla="*/ 184561 w 596274"/>
                <a:gd name="connsiteY15" fmla="*/ 29357 h 468501"/>
                <a:gd name="connsiteX16" fmla="*/ 96540 w 596274"/>
                <a:gd name="connsiteY16" fmla="*/ 963 h 468501"/>
                <a:gd name="connsiteX17" fmla="*/ 14197 w 596274"/>
                <a:gd name="connsiteY17" fmla="*/ 71948 h 468501"/>
                <a:gd name="connsiteX18" fmla="*/ 2839 w 596274"/>
                <a:gd name="connsiteY18" fmla="*/ 100342 h 468501"/>
                <a:gd name="connsiteX19" fmla="*/ 51109 w 596274"/>
                <a:gd name="connsiteY19" fmla="*/ 131576 h 468501"/>
                <a:gd name="connsiteX20" fmla="*/ 15617 w 596274"/>
                <a:gd name="connsiteY20" fmla="*/ 106021 h 468501"/>
                <a:gd name="connsiteX21" fmla="*/ 17036 w 596274"/>
                <a:gd name="connsiteY21" fmla="*/ 101762 h 468501"/>
                <a:gd name="connsiteX22" fmla="*/ 26974 w 596274"/>
                <a:gd name="connsiteY22" fmla="*/ 79047 h 468501"/>
                <a:gd name="connsiteX23" fmla="*/ 99379 w 596274"/>
                <a:gd name="connsiteY23" fmla="*/ 15160 h 468501"/>
                <a:gd name="connsiteX24" fmla="*/ 174623 w 596274"/>
                <a:gd name="connsiteY24" fmla="*/ 40715 h 468501"/>
                <a:gd name="connsiteX25" fmla="*/ 318013 w 596274"/>
                <a:gd name="connsiteY25" fmla="*/ 73368 h 468501"/>
                <a:gd name="connsiteX26" fmla="*/ 458564 w 596274"/>
                <a:gd name="connsiteY26" fmla="*/ 83306 h 468501"/>
                <a:gd name="connsiteX27" fmla="*/ 572140 w 596274"/>
                <a:gd name="connsiteY27" fmla="*/ 341692 h 468501"/>
                <a:gd name="connsiteX28" fmla="*/ 570720 w 596274"/>
                <a:gd name="connsiteY28" fmla="*/ 345951 h 468501"/>
                <a:gd name="connsiteX29" fmla="*/ 569301 w 596274"/>
                <a:gd name="connsiteY29" fmla="*/ 348790 h 468501"/>
                <a:gd name="connsiteX30" fmla="*/ 549425 w 596274"/>
                <a:gd name="connsiteY30" fmla="*/ 384283 h 468501"/>
                <a:gd name="connsiteX31" fmla="*/ 309495 w 596274"/>
                <a:gd name="connsiteY31" fmla="*/ 451009 h 468501"/>
                <a:gd name="connsiteX32" fmla="*/ 184561 w 596274"/>
                <a:gd name="connsiteY32" fmla="*/ 353049 h 468501"/>
                <a:gd name="connsiteX33" fmla="*/ 76664 w 596274"/>
                <a:gd name="connsiteY33" fmla="*/ 282064 h 468501"/>
                <a:gd name="connsiteX34" fmla="*/ 29814 w 596274"/>
                <a:gd name="connsiteY34" fmla="*/ 260769 h 468501"/>
                <a:gd name="connsiteX35" fmla="*/ 99379 w 596274"/>
                <a:gd name="connsiteY35" fmla="*/ 178426 h 468501"/>
                <a:gd name="connsiteX36" fmla="*/ 107897 w 596274"/>
                <a:gd name="connsiteY36" fmla="*/ 172747 h 468501"/>
                <a:gd name="connsiteX37" fmla="*/ 51109 w 596274"/>
                <a:gd name="connsiteY37" fmla="*/ 131576 h 46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6274" h="468501">
                  <a:moveTo>
                    <a:pt x="2839" y="100342"/>
                  </a:moveTo>
                  <a:cubicBezTo>
                    <a:pt x="1420" y="103182"/>
                    <a:pt x="1420" y="106021"/>
                    <a:pt x="1420" y="106021"/>
                  </a:cubicBezTo>
                  <a:lnTo>
                    <a:pt x="0" y="110280"/>
                  </a:lnTo>
                  <a:lnTo>
                    <a:pt x="85182" y="171327"/>
                  </a:lnTo>
                  <a:cubicBezTo>
                    <a:pt x="62467" y="186944"/>
                    <a:pt x="8518" y="229535"/>
                    <a:pt x="18456" y="263608"/>
                  </a:cubicBezTo>
                  <a:cubicBezTo>
                    <a:pt x="24135" y="280644"/>
                    <a:pt x="44011" y="290582"/>
                    <a:pt x="78084" y="296261"/>
                  </a:cubicBezTo>
                  <a:cubicBezTo>
                    <a:pt x="132032" y="303360"/>
                    <a:pt x="151908" y="328914"/>
                    <a:pt x="174623" y="361568"/>
                  </a:cubicBezTo>
                  <a:cubicBezTo>
                    <a:pt x="198758" y="394221"/>
                    <a:pt x="228572" y="435392"/>
                    <a:pt x="306656" y="465206"/>
                  </a:cubicBezTo>
                  <a:cubicBezTo>
                    <a:pt x="406035" y="504957"/>
                    <a:pt x="509673" y="475144"/>
                    <a:pt x="565041" y="392801"/>
                  </a:cubicBezTo>
                  <a:cubicBezTo>
                    <a:pt x="572140" y="381443"/>
                    <a:pt x="579238" y="370086"/>
                    <a:pt x="583498" y="357308"/>
                  </a:cubicBezTo>
                  <a:cubicBezTo>
                    <a:pt x="584917" y="355889"/>
                    <a:pt x="584917" y="353049"/>
                    <a:pt x="586337" y="351630"/>
                  </a:cubicBezTo>
                  <a:lnTo>
                    <a:pt x="587757" y="347371"/>
                  </a:lnTo>
                  <a:cubicBezTo>
                    <a:pt x="610472" y="292002"/>
                    <a:pt x="609052" y="232375"/>
                    <a:pt x="584917" y="181265"/>
                  </a:cubicBezTo>
                  <a:cubicBezTo>
                    <a:pt x="562202" y="131576"/>
                    <a:pt x="519611" y="91824"/>
                    <a:pt x="464243" y="70529"/>
                  </a:cubicBezTo>
                  <a:cubicBezTo>
                    <a:pt x="391838" y="42135"/>
                    <a:pt x="350666" y="52072"/>
                    <a:pt x="313754" y="59171"/>
                  </a:cubicBezTo>
                  <a:cubicBezTo>
                    <a:pt x="275422" y="67689"/>
                    <a:pt x="244189" y="74788"/>
                    <a:pt x="184561" y="29357"/>
                  </a:cubicBezTo>
                  <a:cubicBezTo>
                    <a:pt x="153328" y="6642"/>
                    <a:pt x="124934" y="-3296"/>
                    <a:pt x="96540" y="963"/>
                  </a:cubicBezTo>
                  <a:cubicBezTo>
                    <a:pt x="56788" y="8062"/>
                    <a:pt x="29814" y="43554"/>
                    <a:pt x="14197" y="71948"/>
                  </a:cubicBezTo>
                  <a:cubicBezTo>
                    <a:pt x="8518" y="84726"/>
                    <a:pt x="4259" y="94663"/>
                    <a:pt x="2839" y="100342"/>
                  </a:cubicBezTo>
                  <a:close/>
                  <a:moveTo>
                    <a:pt x="51109" y="131576"/>
                  </a:moveTo>
                  <a:lnTo>
                    <a:pt x="15617" y="106021"/>
                  </a:lnTo>
                  <a:cubicBezTo>
                    <a:pt x="15617" y="104601"/>
                    <a:pt x="17036" y="103182"/>
                    <a:pt x="17036" y="101762"/>
                  </a:cubicBezTo>
                  <a:cubicBezTo>
                    <a:pt x="19876" y="96083"/>
                    <a:pt x="22715" y="87565"/>
                    <a:pt x="26974" y="79047"/>
                  </a:cubicBezTo>
                  <a:cubicBezTo>
                    <a:pt x="41171" y="53492"/>
                    <a:pt x="65306" y="20839"/>
                    <a:pt x="99379" y="15160"/>
                  </a:cubicBezTo>
                  <a:cubicBezTo>
                    <a:pt x="122094" y="10901"/>
                    <a:pt x="147649" y="19419"/>
                    <a:pt x="174623" y="40715"/>
                  </a:cubicBezTo>
                  <a:cubicBezTo>
                    <a:pt x="241349" y="91824"/>
                    <a:pt x="278262" y="83306"/>
                    <a:pt x="318013" y="73368"/>
                  </a:cubicBezTo>
                  <a:cubicBezTo>
                    <a:pt x="352086" y="64850"/>
                    <a:pt x="390418" y="56332"/>
                    <a:pt x="458564" y="83306"/>
                  </a:cubicBezTo>
                  <a:cubicBezTo>
                    <a:pt x="565041" y="125897"/>
                    <a:pt x="614731" y="236634"/>
                    <a:pt x="572140" y="341692"/>
                  </a:cubicBezTo>
                  <a:lnTo>
                    <a:pt x="570720" y="345951"/>
                  </a:lnTo>
                  <a:cubicBezTo>
                    <a:pt x="570720" y="347371"/>
                    <a:pt x="570720" y="347371"/>
                    <a:pt x="569301" y="348790"/>
                  </a:cubicBezTo>
                  <a:cubicBezTo>
                    <a:pt x="563622" y="361568"/>
                    <a:pt x="557943" y="374345"/>
                    <a:pt x="549425" y="384283"/>
                  </a:cubicBezTo>
                  <a:cubicBezTo>
                    <a:pt x="498315" y="460947"/>
                    <a:pt x="401776" y="487921"/>
                    <a:pt x="309495" y="451009"/>
                  </a:cubicBezTo>
                  <a:cubicBezTo>
                    <a:pt x="237090" y="422615"/>
                    <a:pt x="208696" y="385702"/>
                    <a:pt x="184561" y="353049"/>
                  </a:cubicBezTo>
                  <a:cubicBezTo>
                    <a:pt x="159007" y="318976"/>
                    <a:pt x="137711" y="290582"/>
                    <a:pt x="76664" y="282064"/>
                  </a:cubicBezTo>
                  <a:cubicBezTo>
                    <a:pt x="58208" y="279225"/>
                    <a:pt x="34073" y="273546"/>
                    <a:pt x="29814" y="260769"/>
                  </a:cubicBezTo>
                  <a:cubicBezTo>
                    <a:pt x="22715" y="238053"/>
                    <a:pt x="69565" y="198302"/>
                    <a:pt x="99379" y="178426"/>
                  </a:cubicBezTo>
                  <a:lnTo>
                    <a:pt x="107897" y="172747"/>
                  </a:lnTo>
                  <a:lnTo>
                    <a:pt x="51109" y="131576"/>
                  </a:lnTo>
                  <a:close/>
                </a:path>
              </a:pathLst>
            </a:custGeom>
            <a:solidFill>
              <a:srgbClr val="E0A76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5" name="任意多边形: 形状 10144">
              <a:extLst>
                <a:ext uri="{FF2B5EF4-FFF2-40B4-BE49-F238E27FC236}">
                  <a16:creationId xmlns:a16="http://schemas.microsoft.com/office/drawing/2014/main" id="{811AAEEC-7226-4746-BAC5-EC2ADB14A493}"/>
                </a:ext>
              </a:extLst>
            </p:cNvPr>
            <p:cNvSpPr/>
            <p:nvPr userDrawn="1"/>
          </p:nvSpPr>
          <p:spPr>
            <a:xfrm>
              <a:off x="5877736" y="4652027"/>
              <a:ext cx="85182" cy="170364"/>
            </a:xfrm>
            <a:custGeom>
              <a:avLst/>
              <a:gdLst>
                <a:gd name="connsiteX0" fmla="*/ 14197 w 85182"/>
                <a:gd name="connsiteY0" fmla="*/ 134872 h 170364"/>
                <a:gd name="connsiteX1" fmla="*/ 69565 w 85182"/>
                <a:gd name="connsiteY1" fmla="*/ 0 h 170364"/>
                <a:gd name="connsiteX2" fmla="*/ 93700 w 85182"/>
                <a:gd name="connsiteY2" fmla="*/ 9938 h 170364"/>
                <a:gd name="connsiteX3" fmla="*/ 86602 w 85182"/>
                <a:gd name="connsiteY3" fmla="*/ 29814 h 170364"/>
                <a:gd name="connsiteX4" fmla="*/ 92281 w 85182"/>
                <a:gd name="connsiteY4" fmla="*/ 32653 h 170364"/>
                <a:gd name="connsiteX5" fmla="*/ 51109 w 85182"/>
                <a:gd name="connsiteY5" fmla="*/ 133452 h 170364"/>
                <a:gd name="connsiteX6" fmla="*/ 51109 w 85182"/>
                <a:gd name="connsiteY6" fmla="*/ 133452 h 170364"/>
                <a:gd name="connsiteX7" fmla="*/ 39752 w 85182"/>
                <a:gd name="connsiteY7" fmla="*/ 163266 h 170364"/>
                <a:gd name="connsiteX8" fmla="*/ 34073 w 85182"/>
                <a:gd name="connsiteY8" fmla="*/ 160426 h 170364"/>
                <a:gd name="connsiteX9" fmla="*/ 25555 w 85182"/>
                <a:gd name="connsiteY9" fmla="*/ 180302 h 170364"/>
                <a:gd name="connsiteX10" fmla="*/ 0 w 85182"/>
                <a:gd name="connsiteY10" fmla="*/ 170364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182" h="170364">
                  <a:moveTo>
                    <a:pt x="14197" y="134872"/>
                  </a:moveTo>
                  <a:lnTo>
                    <a:pt x="69565" y="0"/>
                  </a:lnTo>
                  <a:lnTo>
                    <a:pt x="93700" y="9938"/>
                  </a:lnTo>
                  <a:lnTo>
                    <a:pt x="86602" y="29814"/>
                  </a:lnTo>
                  <a:lnTo>
                    <a:pt x="92281" y="32653"/>
                  </a:lnTo>
                  <a:lnTo>
                    <a:pt x="51109" y="133452"/>
                  </a:lnTo>
                  <a:lnTo>
                    <a:pt x="51109" y="133452"/>
                  </a:lnTo>
                  <a:lnTo>
                    <a:pt x="39752" y="163266"/>
                  </a:lnTo>
                  <a:lnTo>
                    <a:pt x="34073" y="160426"/>
                  </a:lnTo>
                  <a:lnTo>
                    <a:pt x="25555" y="180302"/>
                  </a:lnTo>
                  <a:lnTo>
                    <a:pt x="0" y="170364"/>
                  </a:lnTo>
                  <a:close/>
                </a:path>
              </a:pathLst>
            </a:custGeom>
            <a:solidFill>
              <a:srgbClr val="56361B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6" name="任意多边形: 形状 10145">
              <a:extLst>
                <a:ext uri="{FF2B5EF4-FFF2-40B4-BE49-F238E27FC236}">
                  <a16:creationId xmlns:a16="http://schemas.microsoft.com/office/drawing/2014/main" id="{598B554B-EBF4-4314-8186-054F8DD657E6}"/>
                </a:ext>
              </a:extLst>
            </p:cNvPr>
            <p:cNvSpPr/>
            <p:nvPr userDrawn="1"/>
          </p:nvSpPr>
          <p:spPr>
            <a:xfrm>
              <a:off x="4974805" y="4314138"/>
              <a:ext cx="14197" cy="14197"/>
            </a:xfrm>
            <a:custGeom>
              <a:avLst/>
              <a:gdLst>
                <a:gd name="connsiteX0" fmla="*/ 4259 w 14197"/>
                <a:gd name="connsiteY0" fmla="*/ 25555 h 14197"/>
                <a:gd name="connsiteX1" fmla="*/ 7099 w 14197"/>
                <a:gd name="connsiteY1" fmla="*/ 17036 h 14197"/>
                <a:gd name="connsiteX2" fmla="*/ 7099 w 14197"/>
                <a:gd name="connsiteY2" fmla="*/ 17036 h 14197"/>
                <a:gd name="connsiteX3" fmla="*/ 0 w 14197"/>
                <a:gd name="connsiteY3" fmla="*/ 9938 h 14197"/>
                <a:gd name="connsiteX4" fmla="*/ 4259 w 14197"/>
                <a:gd name="connsiteY4" fmla="*/ 0 h 14197"/>
                <a:gd name="connsiteX5" fmla="*/ 15617 w 14197"/>
                <a:gd name="connsiteY5" fmla="*/ 0 h 14197"/>
                <a:gd name="connsiteX6" fmla="*/ 24135 w 14197"/>
                <a:gd name="connsiteY6" fmla="*/ 7099 h 14197"/>
                <a:gd name="connsiteX7" fmla="*/ 19876 w 14197"/>
                <a:gd name="connsiteY7" fmla="*/ 18456 h 14197"/>
                <a:gd name="connsiteX8" fmla="*/ 9938 w 14197"/>
                <a:gd name="connsiteY8" fmla="*/ 17036 h 14197"/>
                <a:gd name="connsiteX9" fmla="*/ 5679 w 14197"/>
                <a:gd name="connsiteY9" fmla="*/ 26974 h 14197"/>
                <a:gd name="connsiteX10" fmla="*/ 5679 w 14197"/>
                <a:gd name="connsiteY10" fmla="*/ 26974 h 14197"/>
                <a:gd name="connsiteX11" fmla="*/ 5679 w 14197"/>
                <a:gd name="connsiteY11" fmla="*/ 26974 h 14197"/>
                <a:gd name="connsiteX12" fmla="*/ 4259 w 14197"/>
                <a:gd name="connsiteY12" fmla="*/ 25555 h 14197"/>
                <a:gd name="connsiteX13" fmla="*/ 4259 w 14197"/>
                <a:gd name="connsiteY13" fmla="*/ 25555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197" h="14197">
                  <a:moveTo>
                    <a:pt x="4259" y="25555"/>
                  </a:moveTo>
                  <a:lnTo>
                    <a:pt x="7099" y="17036"/>
                  </a:lnTo>
                  <a:lnTo>
                    <a:pt x="7099" y="17036"/>
                  </a:lnTo>
                  <a:lnTo>
                    <a:pt x="0" y="9938"/>
                  </a:lnTo>
                  <a:lnTo>
                    <a:pt x="4259" y="0"/>
                  </a:lnTo>
                  <a:lnTo>
                    <a:pt x="15617" y="0"/>
                  </a:lnTo>
                  <a:lnTo>
                    <a:pt x="24135" y="7099"/>
                  </a:lnTo>
                  <a:lnTo>
                    <a:pt x="19876" y="18456"/>
                  </a:lnTo>
                  <a:lnTo>
                    <a:pt x="9938" y="17036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4259" y="25555"/>
                  </a:lnTo>
                  <a:lnTo>
                    <a:pt x="4259" y="25555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7" name="任意多边形: 形状 10146">
              <a:extLst>
                <a:ext uri="{FF2B5EF4-FFF2-40B4-BE49-F238E27FC236}">
                  <a16:creationId xmlns:a16="http://schemas.microsoft.com/office/drawing/2014/main" id="{5263A921-3681-4DE2-A2EF-6A97E76F8685}"/>
                </a:ext>
              </a:extLst>
            </p:cNvPr>
            <p:cNvSpPr/>
            <p:nvPr userDrawn="1"/>
          </p:nvSpPr>
          <p:spPr>
            <a:xfrm>
              <a:off x="5003200" y="4325495"/>
              <a:ext cx="14197" cy="14197"/>
            </a:xfrm>
            <a:custGeom>
              <a:avLst/>
              <a:gdLst>
                <a:gd name="connsiteX0" fmla="*/ 0 w 14197"/>
                <a:gd name="connsiteY0" fmla="*/ 11358 h 14197"/>
                <a:gd name="connsiteX1" fmla="*/ 4259 w 14197"/>
                <a:gd name="connsiteY1" fmla="*/ 0 h 14197"/>
                <a:gd name="connsiteX2" fmla="*/ 15617 w 14197"/>
                <a:gd name="connsiteY2" fmla="*/ 1420 h 14197"/>
                <a:gd name="connsiteX3" fmla="*/ 15617 w 14197"/>
                <a:gd name="connsiteY3" fmla="*/ 1420 h 14197"/>
                <a:gd name="connsiteX4" fmla="*/ 24135 w 14197"/>
                <a:gd name="connsiteY4" fmla="*/ 8518 h 14197"/>
                <a:gd name="connsiteX5" fmla="*/ 19876 w 14197"/>
                <a:gd name="connsiteY5" fmla="*/ 19876 h 14197"/>
                <a:gd name="connsiteX6" fmla="*/ 9938 w 14197"/>
                <a:gd name="connsiteY6" fmla="*/ 18456 h 14197"/>
                <a:gd name="connsiteX7" fmla="*/ 7099 w 14197"/>
                <a:gd name="connsiteY7" fmla="*/ 26974 h 14197"/>
                <a:gd name="connsiteX8" fmla="*/ 5679 w 14197"/>
                <a:gd name="connsiteY8" fmla="*/ 26974 h 14197"/>
                <a:gd name="connsiteX9" fmla="*/ 4259 w 14197"/>
                <a:gd name="connsiteY9" fmla="*/ 26974 h 14197"/>
                <a:gd name="connsiteX10" fmla="*/ 7099 w 14197"/>
                <a:gd name="connsiteY10" fmla="*/ 1845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4259" y="0"/>
                  </a:lnTo>
                  <a:lnTo>
                    <a:pt x="15617" y="1420"/>
                  </a:lnTo>
                  <a:lnTo>
                    <a:pt x="15617" y="1420"/>
                  </a:lnTo>
                  <a:lnTo>
                    <a:pt x="24135" y="8518"/>
                  </a:lnTo>
                  <a:lnTo>
                    <a:pt x="19876" y="19876"/>
                  </a:lnTo>
                  <a:lnTo>
                    <a:pt x="9938" y="18456"/>
                  </a:lnTo>
                  <a:lnTo>
                    <a:pt x="7099" y="26974"/>
                  </a:lnTo>
                  <a:lnTo>
                    <a:pt x="5679" y="26974"/>
                  </a:lnTo>
                  <a:lnTo>
                    <a:pt x="4259" y="26974"/>
                  </a:lnTo>
                  <a:lnTo>
                    <a:pt x="7099" y="1845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8" name="任意多边形: 形状 10147">
              <a:extLst>
                <a:ext uri="{FF2B5EF4-FFF2-40B4-BE49-F238E27FC236}">
                  <a16:creationId xmlns:a16="http://schemas.microsoft.com/office/drawing/2014/main" id="{4D5DD265-96C9-436E-B55F-04A2D1ECD25C}"/>
                </a:ext>
              </a:extLst>
            </p:cNvPr>
            <p:cNvSpPr/>
            <p:nvPr userDrawn="1"/>
          </p:nvSpPr>
          <p:spPr>
            <a:xfrm>
              <a:off x="5030174" y="4338273"/>
              <a:ext cx="14197" cy="14197"/>
            </a:xfrm>
            <a:custGeom>
              <a:avLst/>
              <a:gdLst>
                <a:gd name="connsiteX0" fmla="*/ 0 w 14197"/>
                <a:gd name="connsiteY0" fmla="*/ 11358 h 14197"/>
                <a:gd name="connsiteX1" fmla="*/ 5679 w 14197"/>
                <a:gd name="connsiteY1" fmla="*/ 0 h 14197"/>
                <a:gd name="connsiteX2" fmla="*/ 17036 w 14197"/>
                <a:gd name="connsiteY2" fmla="*/ 1420 h 14197"/>
                <a:gd name="connsiteX3" fmla="*/ 17036 w 14197"/>
                <a:gd name="connsiteY3" fmla="*/ 1420 h 14197"/>
                <a:gd name="connsiteX4" fmla="*/ 25555 w 14197"/>
                <a:gd name="connsiteY4" fmla="*/ 8518 h 14197"/>
                <a:gd name="connsiteX5" fmla="*/ 21296 w 14197"/>
                <a:gd name="connsiteY5" fmla="*/ 19876 h 14197"/>
                <a:gd name="connsiteX6" fmla="*/ 11358 w 14197"/>
                <a:gd name="connsiteY6" fmla="*/ 18456 h 14197"/>
                <a:gd name="connsiteX7" fmla="*/ 8518 w 14197"/>
                <a:gd name="connsiteY7" fmla="*/ 26974 h 14197"/>
                <a:gd name="connsiteX8" fmla="*/ 5679 w 14197"/>
                <a:gd name="connsiteY8" fmla="*/ 25555 h 14197"/>
                <a:gd name="connsiteX9" fmla="*/ 8518 w 14197"/>
                <a:gd name="connsiteY9" fmla="*/ 1703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5679" y="0"/>
                  </a:lnTo>
                  <a:lnTo>
                    <a:pt x="17036" y="1420"/>
                  </a:lnTo>
                  <a:lnTo>
                    <a:pt x="17036" y="1420"/>
                  </a:lnTo>
                  <a:lnTo>
                    <a:pt x="25555" y="8518"/>
                  </a:lnTo>
                  <a:lnTo>
                    <a:pt x="21296" y="19876"/>
                  </a:lnTo>
                  <a:lnTo>
                    <a:pt x="11358" y="18456"/>
                  </a:lnTo>
                  <a:lnTo>
                    <a:pt x="8518" y="26974"/>
                  </a:lnTo>
                  <a:lnTo>
                    <a:pt x="5679" y="25555"/>
                  </a:lnTo>
                  <a:lnTo>
                    <a:pt x="8518" y="1703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9" name="任意多边形: 形状 10148">
              <a:extLst>
                <a:ext uri="{FF2B5EF4-FFF2-40B4-BE49-F238E27FC236}">
                  <a16:creationId xmlns:a16="http://schemas.microsoft.com/office/drawing/2014/main" id="{D0982DB4-84F2-4D40-8CDA-4E1CB94AC1AE}"/>
                </a:ext>
              </a:extLst>
            </p:cNvPr>
            <p:cNvSpPr/>
            <p:nvPr userDrawn="1"/>
          </p:nvSpPr>
          <p:spPr>
            <a:xfrm>
              <a:off x="5660199" y="4606916"/>
              <a:ext cx="99379" cy="99379"/>
            </a:xfrm>
            <a:custGeom>
              <a:avLst/>
              <a:gdLst>
                <a:gd name="connsiteX0" fmla="*/ 3162 w 99379"/>
                <a:gd name="connsiteY0" fmla="*/ 33753 h 99379"/>
                <a:gd name="connsiteX1" fmla="*/ 75567 w 99379"/>
                <a:gd name="connsiteY1" fmla="*/ 3939 h 99379"/>
                <a:gd name="connsiteX2" fmla="*/ 108220 w 99379"/>
                <a:gd name="connsiteY2" fmla="*/ 74924 h 99379"/>
                <a:gd name="connsiteX3" fmla="*/ 35815 w 99379"/>
                <a:gd name="connsiteY3" fmla="*/ 104738 h 99379"/>
                <a:gd name="connsiteX4" fmla="*/ 3162 w 99379"/>
                <a:gd name="connsiteY4" fmla="*/ 33753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99379">
                  <a:moveTo>
                    <a:pt x="3162" y="33753"/>
                  </a:moveTo>
                  <a:cubicBezTo>
                    <a:pt x="15939" y="6779"/>
                    <a:pt x="47173" y="-7418"/>
                    <a:pt x="75567" y="3939"/>
                  </a:cubicBezTo>
                  <a:cubicBezTo>
                    <a:pt x="103961" y="15297"/>
                    <a:pt x="118158" y="46530"/>
                    <a:pt x="108220" y="74924"/>
                  </a:cubicBezTo>
                  <a:cubicBezTo>
                    <a:pt x="95442" y="101899"/>
                    <a:pt x="64209" y="116096"/>
                    <a:pt x="35815" y="104738"/>
                  </a:cubicBezTo>
                  <a:cubicBezTo>
                    <a:pt x="7421" y="93381"/>
                    <a:pt x="-6776" y="62147"/>
                    <a:pt x="3162" y="33753"/>
                  </a:cubicBezTo>
                  <a:close/>
                </a:path>
              </a:pathLst>
            </a:custGeom>
            <a:solidFill>
              <a:srgbClr val="39241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0" name="任意多边形: 形状 10149">
              <a:extLst>
                <a:ext uri="{FF2B5EF4-FFF2-40B4-BE49-F238E27FC236}">
                  <a16:creationId xmlns:a16="http://schemas.microsoft.com/office/drawing/2014/main" id="{51A06E88-C481-4ACA-8888-B616C8C438BB}"/>
                </a:ext>
              </a:extLst>
            </p:cNvPr>
            <p:cNvSpPr/>
            <p:nvPr userDrawn="1"/>
          </p:nvSpPr>
          <p:spPr>
            <a:xfrm>
              <a:off x="4934996" y="4330812"/>
              <a:ext cx="752442" cy="340728"/>
            </a:xfrm>
            <a:custGeom>
              <a:avLst/>
              <a:gdLst>
                <a:gd name="connsiteX0" fmla="*/ 4317 w 752442"/>
                <a:gd name="connsiteY0" fmla="*/ 54311 h 340728"/>
                <a:gd name="connsiteX1" fmla="*/ 103696 w 752442"/>
                <a:gd name="connsiteY1" fmla="*/ 91223 h 340728"/>
                <a:gd name="connsiteX2" fmla="*/ 106535 w 752442"/>
                <a:gd name="connsiteY2" fmla="*/ 91223 h 340728"/>
                <a:gd name="connsiteX3" fmla="*/ 109375 w 752442"/>
                <a:gd name="connsiteY3" fmla="*/ 91223 h 340728"/>
                <a:gd name="connsiteX4" fmla="*/ 113634 w 752442"/>
                <a:gd name="connsiteY4" fmla="*/ 91223 h 340728"/>
                <a:gd name="connsiteX5" fmla="*/ 115053 w 752442"/>
                <a:gd name="connsiteY5" fmla="*/ 91223 h 340728"/>
                <a:gd name="connsiteX6" fmla="*/ 116473 w 752442"/>
                <a:gd name="connsiteY6" fmla="*/ 91223 h 340728"/>
                <a:gd name="connsiteX7" fmla="*/ 117893 w 752442"/>
                <a:gd name="connsiteY7" fmla="*/ 91223 h 340728"/>
                <a:gd name="connsiteX8" fmla="*/ 119312 w 752442"/>
                <a:gd name="connsiteY8" fmla="*/ 91223 h 340728"/>
                <a:gd name="connsiteX9" fmla="*/ 146287 w 752442"/>
                <a:gd name="connsiteY9" fmla="*/ 102580 h 340728"/>
                <a:gd name="connsiteX10" fmla="*/ 149126 w 752442"/>
                <a:gd name="connsiteY10" fmla="*/ 104000 h 340728"/>
                <a:gd name="connsiteX11" fmla="*/ 169002 w 752442"/>
                <a:gd name="connsiteY11" fmla="*/ 112518 h 340728"/>
                <a:gd name="connsiteX12" fmla="*/ 171841 w 752442"/>
                <a:gd name="connsiteY12" fmla="*/ 113938 h 340728"/>
                <a:gd name="connsiteX13" fmla="*/ 183199 w 752442"/>
                <a:gd name="connsiteY13" fmla="*/ 118197 h 340728"/>
                <a:gd name="connsiteX14" fmla="*/ 186038 w 752442"/>
                <a:gd name="connsiteY14" fmla="*/ 119617 h 340728"/>
                <a:gd name="connsiteX15" fmla="*/ 215852 w 752442"/>
                <a:gd name="connsiteY15" fmla="*/ 132394 h 340728"/>
                <a:gd name="connsiteX16" fmla="*/ 218692 w 752442"/>
                <a:gd name="connsiteY16" fmla="*/ 133814 h 340728"/>
                <a:gd name="connsiteX17" fmla="*/ 218692 w 752442"/>
                <a:gd name="connsiteY17" fmla="*/ 133814 h 340728"/>
                <a:gd name="connsiteX18" fmla="*/ 221531 w 752442"/>
                <a:gd name="connsiteY18" fmla="*/ 135233 h 340728"/>
                <a:gd name="connsiteX19" fmla="*/ 254184 w 752442"/>
                <a:gd name="connsiteY19" fmla="*/ 148011 h 340728"/>
                <a:gd name="connsiteX20" fmla="*/ 257024 w 752442"/>
                <a:gd name="connsiteY20" fmla="*/ 149431 h 340728"/>
                <a:gd name="connsiteX21" fmla="*/ 289677 w 752442"/>
                <a:gd name="connsiteY21" fmla="*/ 163628 h 340728"/>
                <a:gd name="connsiteX22" fmla="*/ 292516 w 752442"/>
                <a:gd name="connsiteY22" fmla="*/ 165047 h 340728"/>
                <a:gd name="connsiteX23" fmla="*/ 325169 w 752442"/>
                <a:gd name="connsiteY23" fmla="*/ 179244 h 340728"/>
                <a:gd name="connsiteX24" fmla="*/ 328009 w 752442"/>
                <a:gd name="connsiteY24" fmla="*/ 180664 h 340728"/>
                <a:gd name="connsiteX25" fmla="*/ 359242 w 752442"/>
                <a:gd name="connsiteY25" fmla="*/ 192022 h 340728"/>
                <a:gd name="connsiteX26" fmla="*/ 362082 w 752442"/>
                <a:gd name="connsiteY26" fmla="*/ 193441 h 340728"/>
                <a:gd name="connsiteX27" fmla="*/ 396154 w 752442"/>
                <a:gd name="connsiteY27" fmla="*/ 207638 h 340728"/>
                <a:gd name="connsiteX28" fmla="*/ 398994 w 752442"/>
                <a:gd name="connsiteY28" fmla="*/ 209058 h 340728"/>
                <a:gd name="connsiteX29" fmla="*/ 433067 w 752442"/>
                <a:gd name="connsiteY29" fmla="*/ 223255 h 340728"/>
                <a:gd name="connsiteX30" fmla="*/ 435906 w 752442"/>
                <a:gd name="connsiteY30" fmla="*/ 224675 h 340728"/>
                <a:gd name="connsiteX31" fmla="*/ 474238 w 752442"/>
                <a:gd name="connsiteY31" fmla="*/ 240291 h 340728"/>
                <a:gd name="connsiteX32" fmla="*/ 477077 w 752442"/>
                <a:gd name="connsiteY32" fmla="*/ 241711 h 340728"/>
                <a:gd name="connsiteX33" fmla="*/ 515409 w 752442"/>
                <a:gd name="connsiteY33" fmla="*/ 257328 h 340728"/>
                <a:gd name="connsiteX34" fmla="*/ 518249 w 752442"/>
                <a:gd name="connsiteY34" fmla="*/ 258748 h 340728"/>
                <a:gd name="connsiteX35" fmla="*/ 546643 w 752442"/>
                <a:gd name="connsiteY35" fmla="*/ 270105 h 340728"/>
                <a:gd name="connsiteX36" fmla="*/ 549482 w 752442"/>
                <a:gd name="connsiteY36" fmla="*/ 271525 h 340728"/>
                <a:gd name="connsiteX37" fmla="*/ 577876 w 752442"/>
                <a:gd name="connsiteY37" fmla="*/ 282883 h 340728"/>
                <a:gd name="connsiteX38" fmla="*/ 580716 w 752442"/>
                <a:gd name="connsiteY38" fmla="*/ 284302 h 340728"/>
                <a:gd name="connsiteX39" fmla="*/ 600592 w 752442"/>
                <a:gd name="connsiteY39" fmla="*/ 291401 h 340728"/>
                <a:gd name="connsiteX40" fmla="*/ 603431 w 752442"/>
                <a:gd name="connsiteY40" fmla="*/ 292820 h 340728"/>
                <a:gd name="connsiteX41" fmla="*/ 623307 w 752442"/>
                <a:gd name="connsiteY41" fmla="*/ 301339 h 340728"/>
                <a:gd name="connsiteX42" fmla="*/ 626146 w 752442"/>
                <a:gd name="connsiteY42" fmla="*/ 302758 h 340728"/>
                <a:gd name="connsiteX43" fmla="*/ 646022 w 752442"/>
                <a:gd name="connsiteY43" fmla="*/ 311277 h 340728"/>
                <a:gd name="connsiteX44" fmla="*/ 648861 w 752442"/>
                <a:gd name="connsiteY44" fmla="*/ 312696 h 340728"/>
                <a:gd name="connsiteX45" fmla="*/ 667317 w 752442"/>
                <a:gd name="connsiteY45" fmla="*/ 319795 h 340728"/>
                <a:gd name="connsiteX46" fmla="*/ 670157 w 752442"/>
                <a:gd name="connsiteY46" fmla="*/ 321214 h 340728"/>
                <a:gd name="connsiteX47" fmla="*/ 688613 w 752442"/>
                <a:gd name="connsiteY47" fmla="*/ 328313 h 340728"/>
                <a:gd name="connsiteX48" fmla="*/ 691452 w 752442"/>
                <a:gd name="connsiteY48" fmla="*/ 329733 h 340728"/>
                <a:gd name="connsiteX49" fmla="*/ 709909 w 752442"/>
                <a:gd name="connsiteY49" fmla="*/ 336831 h 340728"/>
                <a:gd name="connsiteX50" fmla="*/ 712748 w 752442"/>
                <a:gd name="connsiteY50" fmla="*/ 338251 h 340728"/>
                <a:gd name="connsiteX51" fmla="*/ 732624 w 752442"/>
                <a:gd name="connsiteY51" fmla="*/ 346769 h 340728"/>
                <a:gd name="connsiteX52" fmla="*/ 732624 w 752442"/>
                <a:gd name="connsiteY52" fmla="*/ 346769 h 340728"/>
                <a:gd name="connsiteX53" fmla="*/ 758178 w 752442"/>
                <a:gd name="connsiteY53" fmla="*/ 284302 h 340728"/>
                <a:gd name="connsiteX54" fmla="*/ 758178 w 752442"/>
                <a:gd name="connsiteY54" fmla="*/ 284302 h 340728"/>
                <a:gd name="connsiteX55" fmla="*/ 738303 w 752442"/>
                <a:gd name="connsiteY55" fmla="*/ 277204 h 340728"/>
                <a:gd name="connsiteX56" fmla="*/ 735463 w 752442"/>
                <a:gd name="connsiteY56" fmla="*/ 275784 h 340728"/>
                <a:gd name="connsiteX57" fmla="*/ 717007 w 752442"/>
                <a:gd name="connsiteY57" fmla="*/ 268686 h 340728"/>
                <a:gd name="connsiteX58" fmla="*/ 714168 w 752442"/>
                <a:gd name="connsiteY58" fmla="*/ 267266 h 340728"/>
                <a:gd name="connsiteX59" fmla="*/ 695712 w 752442"/>
                <a:gd name="connsiteY59" fmla="*/ 260167 h 340728"/>
                <a:gd name="connsiteX60" fmla="*/ 692872 w 752442"/>
                <a:gd name="connsiteY60" fmla="*/ 258748 h 340728"/>
                <a:gd name="connsiteX61" fmla="*/ 674416 w 752442"/>
                <a:gd name="connsiteY61" fmla="*/ 251649 h 340728"/>
                <a:gd name="connsiteX62" fmla="*/ 671577 w 752442"/>
                <a:gd name="connsiteY62" fmla="*/ 250229 h 340728"/>
                <a:gd name="connsiteX63" fmla="*/ 651701 w 752442"/>
                <a:gd name="connsiteY63" fmla="*/ 243131 h 340728"/>
                <a:gd name="connsiteX64" fmla="*/ 648861 w 752442"/>
                <a:gd name="connsiteY64" fmla="*/ 241711 h 340728"/>
                <a:gd name="connsiteX65" fmla="*/ 626146 w 752442"/>
                <a:gd name="connsiteY65" fmla="*/ 234613 h 340728"/>
                <a:gd name="connsiteX66" fmla="*/ 623307 w 752442"/>
                <a:gd name="connsiteY66" fmla="*/ 233193 h 340728"/>
                <a:gd name="connsiteX67" fmla="*/ 602011 w 752442"/>
                <a:gd name="connsiteY67" fmla="*/ 226094 h 340728"/>
                <a:gd name="connsiteX68" fmla="*/ 600592 w 752442"/>
                <a:gd name="connsiteY68" fmla="*/ 224675 h 340728"/>
                <a:gd name="connsiteX69" fmla="*/ 572197 w 752442"/>
                <a:gd name="connsiteY69" fmla="*/ 214737 h 340728"/>
                <a:gd name="connsiteX70" fmla="*/ 569358 w 752442"/>
                <a:gd name="connsiteY70" fmla="*/ 213317 h 340728"/>
                <a:gd name="connsiteX71" fmla="*/ 540964 w 752442"/>
                <a:gd name="connsiteY71" fmla="*/ 203379 h 340728"/>
                <a:gd name="connsiteX72" fmla="*/ 538125 w 752442"/>
                <a:gd name="connsiteY72" fmla="*/ 201959 h 340728"/>
                <a:gd name="connsiteX73" fmla="*/ 498373 w 752442"/>
                <a:gd name="connsiteY73" fmla="*/ 187762 h 340728"/>
                <a:gd name="connsiteX74" fmla="*/ 495534 w 752442"/>
                <a:gd name="connsiteY74" fmla="*/ 186343 h 340728"/>
                <a:gd name="connsiteX75" fmla="*/ 455782 w 752442"/>
                <a:gd name="connsiteY75" fmla="*/ 172146 h 340728"/>
                <a:gd name="connsiteX76" fmla="*/ 452942 w 752442"/>
                <a:gd name="connsiteY76" fmla="*/ 170726 h 340728"/>
                <a:gd name="connsiteX77" fmla="*/ 418870 w 752442"/>
                <a:gd name="connsiteY77" fmla="*/ 157949 h 340728"/>
                <a:gd name="connsiteX78" fmla="*/ 416030 w 752442"/>
                <a:gd name="connsiteY78" fmla="*/ 156529 h 340728"/>
                <a:gd name="connsiteX79" fmla="*/ 381957 w 752442"/>
                <a:gd name="connsiteY79" fmla="*/ 143752 h 340728"/>
                <a:gd name="connsiteX80" fmla="*/ 379118 w 752442"/>
                <a:gd name="connsiteY80" fmla="*/ 142332 h 340728"/>
                <a:gd name="connsiteX81" fmla="*/ 346465 w 752442"/>
                <a:gd name="connsiteY81" fmla="*/ 129555 h 340728"/>
                <a:gd name="connsiteX82" fmla="*/ 343625 w 752442"/>
                <a:gd name="connsiteY82" fmla="*/ 128135 h 340728"/>
                <a:gd name="connsiteX83" fmla="*/ 310972 w 752442"/>
                <a:gd name="connsiteY83" fmla="*/ 115358 h 340728"/>
                <a:gd name="connsiteX84" fmla="*/ 308133 w 752442"/>
                <a:gd name="connsiteY84" fmla="*/ 113938 h 340728"/>
                <a:gd name="connsiteX85" fmla="*/ 274060 w 752442"/>
                <a:gd name="connsiteY85" fmla="*/ 102580 h 340728"/>
                <a:gd name="connsiteX86" fmla="*/ 271221 w 752442"/>
                <a:gd name="connsiteY86" fmla="*/ 101161 h 340728"/>
                <a:gd name="connsiteX87" fmla="*/ 238567 w 752442"/>
                <a:gd name="connsiteY87" fmla="*/ 88383 h 340728"/>
                <a:gd name="connsiteX88" fmla="*/ 235728 w 752442"/>
                <a:gd name="connsiteY88" fmla="*/ 86964 h 340728"/>
                <a:gd name="connsiteX89" fmla="*/ 235728 w 752442"/>
                <a:gd name="connsiteY89" fmla="*/ 86964 h 340728"/>
                <a:gd name="connsiteX90" fmla="*/ 232889 w 752442"/>
                <a:gd name="connsiteY90" fmla="*/ 85544 h 340728"/>
                <a:gd name="connsiteX91" fmla="*/ 203075 w 752442"/>
                <a:gd name="connsiteY91" fmla="*/ 77026 h 340728"/>
                <a:gd name="connsiteX92" fmla="*/ 200236 w 752442"/>
                <a:gd name="connsiteY92" fmla="*/ 75606 h 340728"/>
                <a:gd name="connsiteX93" fmla="*/ 188878 w 752442"/>
                <a:gd name="connsiteY93" fmla="*/ 71347 h 340728"/>
                <a:gd name="connsiteX94" fmla="*/ 186038 w 752442"/>
                <a:gd name="connsiteY94" fmla="*/ 69927 h 340728"/>
                <a:gd name="connsiteX95" fmla="*/ 166163 w 752442"/>
                <a:gd name="connsiteY95" fmla="*/ 62829 h 340728"/>
                <a:gd name="connsiteX96" fmla="*/ 163323 w 752442"/>
                <a:gd name="connsiteY96" fmla="*/ 61409 h 340728"/>
                <a:gd name="connsiteX97" fmla="*/ 136349 w 752442"/>
                <a:gd name="connsiteY97" fmla="*/ 51471 h 340728"/>
                <a:gd name="connsiteX98" fmla="*/ 134929 w 752442"/>
                <a:gd name="connsiteY98" fmla="*/ 51471 h 340728"/>
                <a:gd name="connsiteX99" fmla="*/ 133510 w 752442"/>
                <a:gd name="connsiteY99" fmla="*/ 51471 h 340728"/>
                <a:gd name="connsiteX100" fmla="*/ 132090 w 752442"/>
                <a:gd name="connsiteY100" fmla="*/ 51471 h 340728"/>
                <a:gd name="connsiteX101" fmla="*/ 132090 w 752442"/>
                <a:gd name="connsiteY101" fmla="*/ 48632 h 340728"/>
                <a:gd name="connsiteX102" fmla="*/ 129250 w 752442"/>
                <a:gd name="connsiteY102" fmla="*/ 45792 h 340728"/>
                <a:gd name="connsiteX103" fmla="*/ 126411 w 752442"/>
                <a:gd name="connsiteY103" fmla="*/ 42953 h 340728"/>
                <a:gd name="connsiteX104" fmla="*/ 124991 w 752442"/>
                <a:gd name="connsiteY104" fmla="*/ 41533 h 340728"/>
                <a:gd name="connsiteX105" fmla="*/ 27032 w 752442"/>
                <a:gd name="connsiteY105" fmla="*/ 362 h 340728"/>
                <a:gd name="connsiteX106" fmla="*/ 14255 w 752442"/>
                <a:gd name="connsiteY106" fmla="*/ 7460 h 340728"/>
                <a:gd name="connsiteX107" fmla="*/ 1477 w 752442"/>
                <a:gd name="connsiteY107" fmla="*/ 40113 h 340728"/>
                <a:gd name="connsiteX108" fmla="*/ 4317 w 752442"/>
                <a:gd name="connsiteY108" fmla="*/ 54311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52442" h="340728">
                  <a:moveTo>
                    <a:pt x="4317" y="54311"/>
                  </a:moveTo>
                  <a:lnTo>
                    <a:pt x="103696" y="91223"/>
                  </a:lnTo>
                  <a:cubicBezTo>
                    <a:pt x="105115" y="91223"/>
                    <a:pt x="105115" y="91223"/>
                    <a:pt x="106535" y="91223"/>
                  </a:cubicBezTo>
                  <a:lnTo>
                    <a:pt x="109375" y="91223"/>
                  </a:lnTo>
                  <a:lnTo>
                    <a:pt x="113634" y="91223"/>
                  </a:lnTo>
                  <a:lnTo>
                    <a:pt x="115053" y="91223"/>
                  </a:lnTo>
                  <a:cubicBezTo>
                    <a:pt x="115053" y="91223"/>
                    <a:pt x="115053" y="91223"/>
                    <a:pt x="116473" y="91223"/>
                  </a:cubicBezTo>
                  <a:cubicBezTo>
                    <a:pt x="116473" y="91223"/>
                    <a:pt x="116473" y="91223"/>
                    <a:pt x="117893" y="91223"/>
                  </a:cubicBezTo>
                  <a:cubicBezTo>
                    <a:pt x="117893" y="91223"/>
                    <a:pt x="117893" y="91223"/>
                    <a:pt x="119312" y="91223"/>
                  </a:cubicBezTo>
                  <a:lnTo>
                    <a:pt x="146287" y="102580"/>
                  </a:lnTo>
                  <a:lnTo>
                    <a:pt x="149126" y="104000"/>
                  </a:lnTo>
                  <a:lnTo>
                    <a:pt x="169002" y="112518"/>
                  </a:lnTo>
                  <a:lnTo>
                    <a:pt x="171841" y="113938"/>
                  </a:lnTo>
                  <a:lnTo>
                    <a:pt x="183199" y="118197"/>
                  </a:lnTo>
                  <a:lnTo>
                    <a:pt x="186038" y="119617"/>
                  </a:lnTo>
                  <a:lnTo>
                    <a:pt x="215852" y="132394"/>
                  </a:lnTo>
                  <a:lnTo>
                    <a:pt x="218692" y="133814"/>
                  </a:lnTo>
                  <a:lnTo>
                    <a:pt x="218692" y="133814"/>
                  </a:lnTo>
                  <a:lnTo>
                    <a:pt x="221531" y="135233"/>
                  </a:lnTo>
                  <a:lnTo>
                    <a:pt x="254184" y="148011"/>
                  </a:lnTo>
                  <a:lnTo>
                    <a:pt x="257024" y="149431"/>
                  </a:lnTo>
                  <a:lnTo>
                    <a:pt x="289677" y="163628"/>
                  </a:lnTo>
                  <a:lnTo>
                    <a:pt x="292516" y="165047"/>
                  </a:lnTo>
                  <a:lnTo>
                    <a:pt x="325169" y="179244"/>
                  </a:lnTo>
                  <a:lnTo>
                    <a:pt x="328009" y="180664"/>
                  </a:lnTo>
                  <a:lnTo>
                    <a:pt x="359242" y="192022"/>
                  </a:lnTo>
                  <a:lnTo>
                    <a:pt x="362082" y="193441"/>
                  </a:lnTo>
                  <a:lnTo>
                    <a:pt x="396154" y="207638"/>
                  </a:lnTo>
                  <a:lnTo>
                    <a:pt x="398994" y="209058"/>
                  </a:lnTo>
                  <a:lnTo>
                    <a:pt x="433067" y="223255"/>
                  </a:lnTo>
                  <a:lnTo>
                    <a:pt x="435906" y="224675"/>
                  </a:lnTo>
                  <a:lnTo>
                    <a:pt x="474238" y="240291"/>
                  </a:lnTo>
                  <a:lnTo>
                    <a:pt x="477077" y="241711"/>
                  </a:lnTo>
                  <a:lnTo>
                    <a:pt x="515409" y="257328"/>
                  </a:lnTo>
                  <a:lnTo>
                    <a:pt x="518249" y="258748"/>
                  </a:lnTo>
                  <a:lnTo>
                    <a:pt x="546643" y="270105"/>
                  </a:lnTo>
                  <a:lnTo>
                    <a:pt x="549482" y="271525"/>
                  </a:lnTo>
                  <a:lnTo>
                    <a:pt x="577876" y="282883"/>
                  </a:lnTo>
                  <a:lnTo>
                    <a:pt x="580716" y="284302"/>
                  </a:lnTo>
                  <a:lnTo>
                    <a:pt x="600592" y="291401"/>
                  </a:lnTo>
                  <a:lnTo>
                    <a:pt x="603431" y="292820"/>
                  </a:lnTo>
                  <a:lnTo>
                    <a:pt x="623307" y="301339"/>
                  </a:lnTo>
                  <a:lnTo>
                    <a:pt x="626146" y="302758"/>
                  </a:lnTo>
                  <a:lnTo>
                    <a:pt x="646022" y="311277"/>
                  </a:lnTo>
                  <a:lnTo>
                    <a:pt x="648861" y="312696"/>
                  </a:lnTo>
                  <a:lnTo>
                    <a:pt x="667317" y="319795"/>
                  </a:lnTo>
                  <a:lnTo>
                    <a:pt x="670157" y="321214"/>
                  </a:lnTo>
                  <a:lnTo>
                    <a:pt x="688613" y="328313"/>
                  </a:lnTo>
                  <a:lnTo>
                    <a:pt x="691452" y="329733"/>
                  </a:lnTo>
                  <a:lnTo>
                    <a:pt x="709909" y="336831"/>
                  </a:lnTo>
                  <a:lnTo>
                    <a:pt x="712748" y="338251"/>
                  </a:lnTo>
                  <a:lnTo>
                    <a:pt x="732624" y="346769"/>
                  </a:lnTo>
                  <a:lnTo>
                    <a:pt x="732624" y="346769"/>
                  </a:lnTo>
                  <a:lnTo>
                    <a:pt x="758178" y="284302"/>
                  </a:lnTo>
                  <a:lnTo>
                    <a:pt x="758178" y="284302"/>
                  </a:lnTo>
                  <a:lnTo>
                    <a:pt x="738303" y="277204"/>
                  </a:lnTo>
                  <a:lnTo>
                    <a:pt x="735463" y="275784"/>
                  </a:lnTo>
                  <a:lnTo>
                    <a:pt x="717007" y="268686"/>
                  </a:lnTo>
                  <a:lnTo>
                    <a:pt x="714168" y="267266"/>
                  </a:lnTo>
                  <a:lnTo>
                    <a:pt x="695712" y="260167"/>
                  </a:lnTo>
                  <a:lnTo>
                    <a:pt x="692872" y="258748"/>
                  </a:lnTo>
                  <a:lnTo>
                    <a:pt x="674416" y="251649"/>
                  </a:lnTo>
                  <a:lnTo>
                    <a:pt x="671577" y="250229"/>
                  </a:lnTo>
                  <a:lnTo>
                    <a:pt x="651701" y="243131"/>
                  </a:lnTo>
                  <a:lnTo>
                    <a:pt x="648861" y="241711"/>
                  </a:lnTo>
                  <a:lnTo>
                    <a:pt x="626146" y="234613"/>
                  </a:lnTo>
                  <a:lnTo>
                    <a:pt x="623307" y="233193"/>
                  </a:lnTo>
                  <a:lnTo>
                    <a:pt x="602011" y="226094"/>
                  </a:lnTo>
                  <a:lnTo>
                    <a:pt x="600592" y="224675"/>
                  </a:lnTo>
                  <a:lnTo>
                    <a:pt x="572197" y="214737"/>
                  </a:lnTo>
                  <a:lnTo>
                    <a:pt x="569358" y="213317"/>
                  </a:lnTo>
                  <a:lnTo>
                    <a:pt x="540964" y="203379"/>
                  </a:lnTo>
                  <a:lnTo>
                    <a:pt x="538125" y="201959"/>
                  </a:lnTo>
                  <a:lnTo>
                    <a:pt x="498373" y="187762"/>
                  </a:lnTo>
                  <a:lnTo>
                    <a:pt x="495534" y="186343"/>
                  </a:lnTo>
                  <a:lnTo>
                    <a:pt x="455782" y="172146"/>
                  </a:lnTo>
                  <a:lnTo>
                    <a:pt x="452942" y="170726"/>
                  </a:lnTo>
                  <a:lnTo>
                    <a:pt x="418870" y="157949"/>
                  </a:lnTo>
                  <a:lnTo>
                    <a:pt x="416030" y="156529"/>
                  </a:lnTo>
                  <a:lnTo>
                    <a:pt x="381957" y="143752"/>
                  </a:lnTo>
                  <a:lnTo>
                    <a:pt x="379118" y="142332"/>
                  </a:lnTo>
                  <a:lnTo>
                    <a:pt x="346465" y="129555"/>
                  </a:lnTo>
                  <a:lnTo>
                    <a:pt x="343625" y="128135"/>
                  </a:lnTo>
                  <a:lnTo>
                    <a:pt x="310972" y="115358"/>
                  </a:lnTo>
                  <a:lnTo>
                    <a:pt x="308133" y="113938"/>
                  </a:lnTo>
                  <a:lnTo>
                    <a:pt x="274060" y="102580"/>
                  </a:lnTo>
                  <a:lnTo>
                    <a:pt x="271221" y="101161"/>
                  </a:lnTo>
                  <a:lnTo>
                    <a:pt x="238567" y="88383"/>
                  </a:lnTo>
                  <a:lnTo>
                    <a:pt x="235728" y="86964"/>
                  </a:lnTo>
                  <a:lnTo>
                    <a:pt x="235728" y="86964"/>
                  </a:lnTo>
                  <a:lnTo>
                    <a:pt x="232889" y="85544"/>
                  </a:lnTo>
                  <a:lnTo>
                    <a:pt x="203075" y="77026"/>
                  </a:lnTo>
                  <a:lnTo>
                    <a:pt x="200236" y="75606"/>
                  </a:lnTo>
                  <a:lnTo>
                    <a:pt x="188878" y="71347"/>
                  </a:lnTo>
                  <a:lnTo>
                    <a:pt x="186038" y="69927"/>
                  </a:lnTo>
                  <a:lnTo>
                    <a:pt x="166163" y="62829"/>
                  </a:lnTo>
                  <a:lnTo>
                    <a:pt x="163323" y="61409"/>
                  </a:lnTo>
                  <a:lnTo>
                    <a:pt x="136349" y="51471"/>
                  </a:lnTo>
                  <a:cubicBezTo>
                    <a:pt x="136349" y="51471"/>
                    <a:pt x="136349" y="51471"/>
                    <a:pt x="134929" y="51471"/>
                  </a:cubicBezTo>
                  <a:cubicBezTo>
                    <a:pt x="134929" y="51471"/>
                    <a:pt x="134929" y="51471"/>
                    <a:pt x="133510" y="51471"/>
                  </a:cubicBezTo>
                  <a:cubicBezTo>
                    <a:pt x="133510" y="51471"/>
                    <a:pt x="133510" y="51471"/>
                    <a:pt x="132090" y="51471"/>
                  </a:cubicBezTo>
                  <a:lnTo>
                    <a:pt x="132090" y="48632"/>
                  </a:lnTo>
                  <a:lnTo>
                    <a:pt x="129250" y="45792"/>
                  </a:lnTo>
                  <a:lnTo>
                    <a:pt x="126411" y="42953"/>
                  </a:lnTo>
                  <a:cubicBezTo>
                    <a:pt x="126411" y="42953"/>
                    <a:pt x="124991" y="41533"/>
                    <a:pt x="124991" y="41533"/>
                  </a:cubicBezTo>
                  <a:lnTo>
                    <a:pt x="27032" y="362"/>
                  </a:lnTo>
                  <a:cubicBezTo>
                    <a:pt x="22773" y="-1058"/>
                    <a:pt x="17094" y="1781"/>
                    <a:pt x="14255" y="7460"/>
                  </a:cubicBezTo>
                  <a:lnTo>
                    <a:pt x="1477" y="40113"/>
                  </a:lnTo>
                  <a:cubicBezTo>
                    <a:pt x="-1362" y="45792"/>
                    <a:pt x="58" y="52891"/>
                    <a:pt x="4317" y="54311"/>
                  </a:cubicBezTo>
                  <a:close/>
                </a:path>
              </a:pathLst>
            </a:custGeom>
            <a:solidFill>
              <a:srgbClr val="63402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1" name="任意多边形: 形状 10150">
              <a:extLst>
                <a:ext uri="{FF2B5EF4-FFF2-40B4-BE49-F238E27FC236}">
                  <a16:creationId xmlns:a16="http://schemas.microsoft.com/office/drawing/2014/main" id="{A9AB75D5-9CA6-47A2-9B9B-D19A38250853}"/>
                </a:ext>
              </a:extLst>
            </p:cNvPr>
            <p:cNvSpPr/>
            <p:nvPr userDrawn="1"/>
          </p:nvSpPr>
          <p:spPr>
            <a:xfrm>
              <a:off x="5187761" y="4433393"/>
              <a:ext cx="14197" cy="42591"/>
            </a:xfrm>
            <a:custGeom>
              <a:avLst/>
              <a:gdLst>
                <a:gd name="connsiteX0" fmla="*/ 21296 w 14197"/>
                <a:gd name="connsiteY0" fmla="*/ 0 h 42591"/>
                <a:gd name="connsiteX1" fmla="*/ 2839 w 14197"/>
                <a:gd name="connsiteY1" fmla="*/ 46850 h 42591"/>
                <a:gd name="connsiteX2" fmla="*/ 0 w 14197"/>
                <a:gd name="connsiteY2" fmla="*/ 45431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1296" y="0"/>
                  </a:moveTo>
                  <a:lnTo>
                    <a:pt x="2839" y="46850"/>
                  </a:lnTo>
                  <a:lnTo>
                    <a:pt x="0" y="45431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2" name="任意多边形: 形状 10151">
              <a:extLst>
                <a:ext uri="{FF2B5EF4-FFF2-40B4-BE49-F238E27FC236}">
                  <a16:creationId xmlns:a16="http://schemas.microsoft.com/office/drawing/2014/main" id="{A128D338-C7DF-4E18-B195-F002B2593D39}"/>
                </a:ext>
              </a:extLst>
            </p:cNvPr>
            <p:cNvSpPr/>
            <p:nvPr userDrawn="1"/>
          </p:nvSpPr>
          <p:spPr>
            <a:xfrm>
              <a:off x="5149429" y="4417776"/>
              <a:ext cx="14197" cy="42591"/>
            </a:xfrm>
            <a:custGeom>
              <a:avLst/>
              <a:gdLst>
                <a:gd name="connsiteX0" fmla="*/ 0 w 14197"/>
                <a:gd name="connsiteY0" fmla="*/ 45431 h 42591"/>
                <a:gd name="connsiteX1" fmla="*/ 2839 w 14197"/>
                <a:gd name="connsiteY1" fmla="*/ 45431 h 42591"/>
                <a:gd name="connsiteX2" fmla="*/ 21296 w 14197"/>
                <a:gd name="connsiteY2" fmla="*/ 142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5431"/>
                  </a:moveTo>
                  <a:lnTo>
                    <a:pt x="2839" y="45431"/>
                  </a:lnTo>
                  <a:lnTo>
                    <a:pt x="21296" y="142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3" name="任意多边形: 形状 10152">
              <a:extLst>
                <a:ext uri="{FF2B5EF4-FFF2-40B4-BE49-F238E27FC236}">
                  <a16:creationId xmlns:a16="http://schemas.microsoft.com/office/drawing/2014/main" id="{EB6A9F6D-91E5-4899-9E9E-90CC62A8CA68}"/>
                </a:ext>
              </a:extLst>
            </p:cNvPr>
            <p:cNvSpPr/>
            <p:nvPr userDrawn="1"/>
          </p:nvSpPr>
          <p:spPr>
            <a:xfrm>
              <a:off x="5103998" y="4400740"/>
              <a:ext cx="14197" cy="42591"/>
            </a:xfrm>
            <a:custGeom>
              <a:avLst/>
              <a:gdLst>
                <a:gd name="connsiteX0" fmla="*/ 0 w 14197"/>
                <a:gd name="connsiteY0" fmla="*/ 42591 h 42591"/>
                <a:gd name="connsiteX1" fmla="*/ 2839 w 14197"/>
                <a:gd name="connsiteY1" fmla="*/ 44011 h 42591"/>
                <a:gd name="connsiteX2" fmla="*/ 19876 w 14197"/>
                <a:gd name="connsiteY2" fmla="*/ 1420 h 42591"/>
                <a:gd name="connsiteX3" fmla="*/ 1703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2839" y="44011"/>
                  </a:lnTo>
                  <a:lnTo>
                    <a:pt x="19876" y="1420"/>
                  </a:lnTo>
                  <a:lnTo>
                    <a:pt x="1703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4" name="任意多边形: 形状 10153">
              <a:extLst>
                <a:ext uri="{FF2B5EF4-FFF2-40B4-BE49-F238E27FC236}">
                  <a16:creationId xmlns:a16="http://schemas.microsoft.com/office/drawing/2014/main" id="{1B7AAF73-9E9A-4403-A249-97F602D0A41E}"/>
                </a:ext>
              </a:extLst>
            </p:cNvPr>
            <p:cNvSpPr/>
            <p:nvPr userDrawn="1"/>
          </p:nvSpPr>
          <p:spPr>
            <a:xfrm>
              <a:off x="5050050" y="4379444"/>
              <a:ext cx="14197" cy="42591"/>
            </a:xfrm>
            <a:custGeom>
              <a:avLst/>
              <a:gdLst>
                <a:gd name="connsiteX0" fmla="*/ 0 w 14197"/>
                <a:gd name="connsiteY0" fmla="*/ 42591 h 42591"/>
                <a:gd name="connsiteX1" fmla="*/ 1420 w 14197"/>
                <a:gd name="connsiteY1" fmla="*/ 42591 h 42591"/>
                <a:gd name="connsiteX2" fmla="*/ 2839 w 14197"/>
                <a:gd name="connsiteY2" fmla="*/ 42591 h 42591"/>
                <a:gd name="connsiteX3" fmla="*/ 4259 w 14197"/>
                <a:gd name="connsiteY3" fmla="*/ 42591 h 42591"/>
                <a:gd name="connsiteX4" fmla="*/ 21296 w 14197"/>
                <a:gd name="connsiteY4" fmla="*/ 1420 h 42591"/>
                <a:gd name="connsiteX5" fmla="*/ 19876 w 14197"/>
                <a:gd name="connsiteY5" fmla="*/ 1420 h 42591"/>
                <a:gd name="connsiteX6" fmla="*/ 18456 w 14197"/>
                <a:gd name="connsiteY6" fmla="*/ 1420 h 42591"/>
                <a:gd name="connsiteX7" fmla="*/ 17036 w 14197"/>
                <a:gd name="connsiteY7" fmla="*/ 0 h 42591"/>
                <a:gd name="connsiteX8" fmla="*/ 0 w 14197"/>
                <a:gd name="connsiteY8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1420" y="42591"/>
                  </a:lnTo>
                  <a:cubicBezTo>
                    <a:pt x="1420" y="42591"/>
                    <a:pt x="1420" y="42591"/>
                    <a:pt x="2839" y="42591"/>
                  </a:cubicBezTo>
                  <a:cubicBezTo>
                    <a:pt x="2839" y="42591"/>
                    <a:pt x="2839" y="42591"/>
                    <a:pt x="4259" y="42591"/>
                  </a:cubicBezTo>
                  <a:lnTo>
                    <a:pt x="21296" y="1420"/>
                  </a:lnTo>
                  <a:cubicBezTo>
                    <a:pt x="21296" y="1420"/>
                    <a:pt x="21296" y="1420"/>
                    <a:pt x="19876" y="1420"/>
                  </a:cubicBezTo>
                  <a:cubicBezTo>
                    <a:pt x="19876" y="1420"/>
                    <a:pt x="19876" y="1420"/>
                    <a:pt x="18456" y="1420"/>
                  </a:cubicBezTo>
                  <a:lnTo>
                    <a:pt x="17036" y="0"/>
                  </a:lnTo>
                  <a:lnTo>
                    <a:pt x="0" y="42591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5" name="任意多边形: 形状 10154">
              <a:extLst>
                <a:ext uri="{FF2B5EF4-FFF2-40B4-BE49-F238E27FC236}">
                  <a16:creationId xmlns:a16="http://schemas.microsoft.com/office/drawing/2014/main" id="{877EB1B6-BAFC-4EA2-9FEF-05A3890099CD}"/>
                </a:ext>
              </a:extLst>
            </p:cNvPr>
            <p:cNvSpPr/>
            <p:nvPr userDrawn="1"/>
          </p:nvSpPr>
          <p:spPr>
            <a:xfrm>
              <a:off x="5223253" y="4446170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8270 h 42591"/>
                <a:gd name="connsiteX2" fmla="*/ 0 w 14197"/>
                <a:gd name="connsiteY2" fmla="*/ 4685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8270"/>
                  </a:lnTo>
                  <a:lnTo>
                    <a:pt x="0" y="4685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6" name="任意多边形: 形状 10155">
              <a:extLst>
                <a:ext uri="{FF2B5EF4-FFF2-40B4-BE49-F238E27FC236}">
                  <a16:creationId xmlns:a16="http://schemas.microsoft.com/office/drawing/2014/main" id="{558CE5B9-8677-4E5E-9B2F-F4AB10741C50}"/>
                </a:ext>
              </a:extLst>
            </p:cNvPr>
            <p:cNvSpPr/>
            <p:nvPr userDrawn="1"/>
          </p:nvSpPr>
          <p:spPr>
            <a:xfrm>
              <a:off x="5258746" y="4458947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9690 h 42591"/>
                <a:gd name="connsiteX2" fmla="*/ 0 w 14197"/>
                <a:gd name="connsiteY2" fmla="*/ 4827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9690"/>
                  </a:lnTo>
                  <a:lnTo>
                    <a:pt x="0" y="4827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7" name="任意多边形: 形状 10156">
              <a:extLst>
                <a:ext uri="{FF2B5EF4-FFF2-40B4-BE49-F238E27FC236}">
                  <a16:creationId xmlns:a16="http://schemas.microsoft.com/office/drawing/2014/main" id="{67407269-A4B6-4E8B-94CC-1EFEA54CB858}"/>
                </a:ext>
              </a:extLst>
            </p:cNvPr>
            <p:cNvSpPr/>
            <p:nvPr userDrawn="1"/>
          </p:nvSpPr>
          <p:spPr>
            <a:xfrm>
              <a:off x="5294238" y="4473144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8" name="任意多边形: 形状 10157">
              <a:extLst>
                <a:ext uri="{FF2B5EF4-FFF2-40B4-BE49-F238E27FC236}">
                  <a16:creationId xmlns:a16="http://schemas.microsoft.com/office/drawing/2014/main" id="{21CDB831-76CD-46C9-AC7E-618F5EB66F8D}"/>
                </a:ext>
              </a:extLst>
            </p:cNvPr>
            <p:cNvSpPr/>
            <p:nvPr userDrawn="1"/>
          </p:nvSpPr>
          <p:spPr>
            <a:xfrm>
              <a:off x="5331151" y="4487341"/>
              <a:ext cx="14197" cy="42591"/>
            </a:xfrm>
            <a:custGeom>
              <a:avLst/>
              <a:gdLst>
                <a:gd name="connsiteX0" fmla="*/ 22715 w 14197"/>
                <a:gd name="connsiteY0" fmla="*/ 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9" name="任意多边形: 形状 10158">
              <a:extLst>
                <a:ext uri="{FF2B5EF4-FFF2-40B4-BE49-F238E27FC236}">
                  <a16:creationId xmlns:a16="http://schemas.microsoft.com/office/drawing/2014/main" id="{9B277020-1F8A-4C77-BED2-FD566725F027}"/>
                </a:ext>
              </a:extLst>
            </p:cNvPr>
            <p:cNvSpPr/>
            <p:nvPr userDrawn="1"/>
          </p:nvSpPr>
          <p:spPr>
            <a:xfrm>
              <a:off x="5368063" y="4500119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0" name="任意多边形: 形状 10159">
              <a:extLst>
                <a:ext uri="{FF2B5EF4-FFF2-40B4-BE49-F238E27FC236}">
                  <a16:creationId xmlns:a16="http://schemas.microsoft.com/office/drawing/2014/main" id="{82113D99-6944-4ECC-8FDF-9C336EF47B7F}"/>
                </a:ext>
              </a:extLst>
            </p:cNvPr>
            <p:cNvSpPr/>
            <p:nvPr userDrawn="1"/>
          </p:nvSpPr>
          <p:spPr>
            <a:xfrm>
              <a:off x="5409234" y="4517155"/>
              <a:ext cx="14197" cy="42591"/>
            </a:xfrm>
            <a:custGeom>
              <a:avLst/>
              <a:gdLst>
                <a:gd name="connsiteX0" fmla="*/ 24135 w 14197"/>
                <a:gd name="connsiteY0" fmla="*/ 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2129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4135" y="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2129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1" name="任意多边形: 形状 10160">
              <a:extLst>
                <a:ext uri="{FF2B5EF4-FFF2-40B4-BE49-F238E27FC236}">
                  <a16:creationId xmlns:a16="http://schemas.microsoft.com/office/drawing/2014/main" id="{2B4CAF53-A60A-4DC5-A8F1-CD69AAD64C41}"/>
                </a:ext>
              </a:extLst>
            </p:cNvPr>
            <p:cNvSpPr/>
            <p:nvPr userDrawn="1"/>
          </p:nvSpPr>
          <p:spPr>
            <a:xfrm>
              <a:off x="5450406" y="4532772"/>
              <a:ext cx="14197" cy="42591"/>
            </a:xfrm>
            <a:custGeom>
              <a:avLst/>
              <a:gdLst>
                <a:gd name="connsiteX0" fmla="*/ 25555 w 14197"/>
                <a:gd name="connsiteY0" fmla="*/ 0 h 42591"/>
                <a:gd name="connsiteX1" fmla="*/ 2839 w 14197"/>
                <a:gd name="connsiteY1" fmla="*/ 55368 h 42591"/>
                <a:gd name="connsiteX2" fmla="*/ 0 w 14197"/>
                <a:gd name="connsiteY2" fmla="*/ 55368 h 42591"/>
                <a:gd name="connsiteX3" fmla="*/ 22715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5555" y="0"/>
                  </a:moveTo>
                  <a:lnTo>
                    <a:pt x="2839" y="5536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2" name="任意多边形: 形状 10161">
              <a:extLst>
                <a:ext uri="{FF2B5EF4-FFF2-40B4-BE49-F238E27FC236}">
                  <a16:creationId xmlns:a16="http://schemas.microsoft.com/office/drawing/2014/main" id="{BB355227-FFB4-4C8B-BC9A-6E406E1F6819}"/>
                </a:ext>
              </a:extLst>
            </p:cNvPr>
            <p:cNvSpPr/>
            <p:nvPr userDrawn="1"/>
          </p:nvSpPr>
          <p:spPr>
            <a:xfrm>
              <a:off x="5481639" y="4544129"/>
              <a:ext cx="14197" cy="56788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6788 h 56788"/>
                <a:gd name="connsiteX2" fmla="*/ 0 w 14197"/>
                <a:gd name="connsiteY2" fmla="*/ 5536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678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3" name="任意多边形: 形状 10162">
              <a:extLst>
                <a:ext uri="{FF2B5EF4-FFF2-40B4-BE49-F238E27FC236}">
                  <a16:creationId xmlns:a16="http://schemas.microsoft.com/office/drawing/2014/main" id="{A25882AD-DA31-4B63-821C-094A7BD9FEA2}"/>
                </a:ext>
              </a:extLst>
            </p:cNvPr>
            <p:cNvSpPr/>
            <p:nvPr userDrawn="1"/>
          </p:nvSpPr>
          <p:spPr>
            <a:xfrm>
              <a:off x="5512873" y="4555487"/>
              <a:ext cx="14197" cy="56788"/>
            </a:xfrm>
            <a:custGeom>
              <a:avLst/>
              <a:gdLst>
                <a:gd name="connsiteX0" fmla="*/ 22715 w 14197"/>
                <a:gd name="connsiteY0" fmla="*/ 0 h 56788"/>
                <a:gd name="connsiteX1" fmla="*/ 25555 w 14197"/>
                <a:gd name="connsiteY1" fmla="*/ 1420 h 56788"/>
                <a:gd name="connsiteX2" fmla="*/ 2839 w 14197"/>
                <a:gd name="connsiteY2" fmla="*/ 58208 h 56788"/>
                <a:gd name="connsiteX3" fmla="*/ 0 w 14197"/>
                <a:gd name="connsiteY3" fmla="*/ 5678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2715" y="0"/>
                  </a:moveTo>
                  <a:lnTo>
                    <a:pt x="25555" y="1420"/>
                  </a:lnTo>
                  <a:lnTo>
                    <a:pt x="2839" y="58208"/>
                  </a:lnTo>
                  <a:lnTo>
                    <a:pt x="0" y="56788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4" name="任意多边形: 形状 10163">
              <a:extLst>
                <a:ext uri="{FF2B5EF4-FFF2-40B4-BE49-F238E27FC236}">
                  <a16:creationId xmlns:a16="http://schemas.microsoft.com/office/drawing/2014/main" id="{8F749FD7-1A34-436B-B9DA-85F0C795035D}"/>
                </a:ext>
              </a:extLst>
            </p:cNvPr>
            <p:cNvSpPr/>
            <p:nvPr userDrawn="1"/>
          </p:nvSpPr>
          <p:spPr>
            <a:xfrm>
              <a:off x="5535588" y="4564005"/>
              <a:ext cx="14197" cy="56788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9627 h 56788"/>
                <a:gd name="connsiteX2" fmla="*/ 0 w 14197"/>
                <a:gd name="connsiteY2" fmla="*/ 5820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9627"/>
                  </a:lnTo>
                  <a:lnTo>
                    <a:pt x="0" y="5820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5" name="任意多边形: 形状 10164">
              <a:extLst>
                <a:ext uri="{FF2B5EF4-FFF2-40B4-BE49-F238E27FC236}">
                  <a16:creationId xmlns:a16="http://schemas.microsoft.com/office/drawing/2014/main" id="{9C633C70-318D-457F-AE0A-6AFD9EAD1886}"/>
                </a:ext>
              </a:extLst>
            </p:cNvPr>
            <p:cNvSpPr/>
            <p:nvPr userDrawn="1"/>
          </p:nvSpPr>
          <p:spPr>
            <a:xfrm>
              <a:off x="5556883" y="4572523"/>
              <a:ext cx="14197" cy="56788"/>
            </a:xfrm>
            <a:custGeom>
              <a:avLst/>
              <a:gdLst>
                <a:gd name="connsiteX0" fmla="*/ 26974 w 14197"/>
                <a:gd name="connsiteY0" fmla="*/ 1420 h 56788"/>
                <a:gd name="connsiteX1" fmla="*/ 2839 w 14197"/>
                <a:gd name="connsiteY1" fmla="*/ 61047 h 56788"/>
                <a:gd name="connsiteX2" fmla="*/ 0 w 14197"/>
                <a:gd name="connsiteY2" fmla="*/ 59627 h 56788"/>
                <a:gd name="connsiteX3" fmla="*/ 2413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6974" y="1420"/>
                  </a:moveTo>
                  <a:lnTo>
                    <a:pt x="2839" y="61047"/>
                  </a:lnTo>
                  <a:lnTo>
                    <a:pt x="0" y="59627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6" name="任意多边形: 形状 10165">
              <a:extLst>
                <a:ext uri="{FF2B5EF4-FFF2-40B4-BE49-F238E27FC236}">
                  <a16:creationId xmlns:a16="http://schemas.microsoft.com/office/drawing/2014/main" id="{C0D65603-B054-43FC-814C-264E1D618A1B}"/>
                </a:ext>
              </a:extLst>
            </p:cNvPr>
            <p:cNvSpPr/>
            <p:nvPr userDrawn="1"/>
          </p:nvSpPr>
          <p:spPr>
            <a:xfrm>
              <a:off x="5579599" y="4581042"/>
              <a:ext cx="28394" cy="56788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1047 h 56788"/>
                <a:gd name="connsiteX2" fmla="*/ 0 w 28394"/>
                <a:gd name="connsiteY2" fmla="*/ 59628 h 56788"/>
                <a:gd name="connsiteX3" fmla="*/ 2413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1047"/>
                  </a:lnTo>
                  <a:lnTo>
                    <a:pt x="0" y="59628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7" name="任意多边形: 形状 10166">
              <a:extLst>
                <a:ext uri="{FF2B5EF4-FFF2-40B4-BE49-F238E27FC236}">
                  <a16:creationId xmlns:a16="http://schemas.microsoft.com/office/drawing/2014/main" id="{7696ED8D-C4DC-4ED8-B14B-C85A1BF348F8}"/>
                </a:ext>
              </a:extLst>
            </p:cNvPr>
            <p:cNvSpPr/>
            <p:nvPr userDrawn="1"/>
          </p:nvSpPr>
          <p:spPr>
            <a:xfrm>
              <a:off x="5602077" y="4589533"/>
              <a:ext cx="14197" cy="56788"/>
            </a:xfrm>
            <a:custGeom>
              <a:avLst/>
              <a:gdLst>
                <a:gd name="connsiteX0" fmla="*/ 0 w 14197"/>
                <a:gd name="connsiteY0" fmla="*/ 60552 h 56788"/>
                <a:gd name="connsiteX1" fmla="*/ 24464 w 14197"/>
                <a:gd name="connsiteY1" fmla="*/ 0 h 56788"/>
                <a:gd name="connsiteX2" fmla="*/ 27096 w 14197"/>
                <a:gd name="connsiteY2" fmla="*/ 1064 h 56788"/>
                <a:gd name="connsiteX3" fmla="*/ 2633 w 14197"/>
                <a:gd name="connsiteY3" fmla="*/ 61616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0" y="60552"/>
                  </a:moveTo>
                  <a:lnTo>
                    <a:pt x="24464" y="0"/>
                  </a:lnTo>
                  <a:lnTo>
                    <a:pt x="27096" y="1064"/>
                  </a:lnTo>
                  <a:lnTo>
                    <a:pt x="2633" y="61616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8" name="任意多边形: 形状 10167">
              <a:extLst>
                <a:ext uri="{FF2B5EF4-FFF2-40B4-BE49-F238E27FC236}">
                  <a16:creationId xmlns:a16="http://schemas.microsoft.com/office/drawing/2014/main" id="{160EA730-E2A2-4679-8B5B-02005030E747}"/>
                </a:ext>
              </a:extLst>
            </p:cNvPr>
            <p:cNvSpPr/>
            <p:nvPr userDrawn="1"/>
          </p:nvSpPr>
          <p:spPr>
            <a:xfrm>
              <a:off x="5622190" y="4598078"/>
              <a:ext cx="28394" cy="56788"/>
            </a:xfrm>
            <a:custGeom>
              <a:avLst/>
              <a:gdLst>
                <a:gd name="connsiteX0" fmla="*/ 25555 w 28394"/>
                <a:gd name="connsiteY0" fmla="*/ 0 h 56788"/>
                <a:gd name="connsiteX1" fmla="*/ 28394 w 28394"/>
                <a:gd name="connsiteY1" fmla="*/ 0 h 56788"/>
                <a:gd name="connsiteX2" fmla="*/ 2839 w 28394"/>
                <a:gd name="connsiteY2" fmla="*/ 62467 h 56788"/>
                <a:gd name="connsiteX3" fmla="*/ 0 w 28394"/>
                <a:gd name="connsiteY3" fmla="*/ 61047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5555" y="0"/>
                  </a:moveTo>
                  <a:lnTo>
                    <a:pt x="28394" y="0"/>
                  </a:lnTo>
                  <a:lnTo>
                    <a:pt x="2839" y="62467"/>
                  </a:lnTo>
                  <a:lnTo>
                    <a:pt x="0" y="61047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9" name="任意多边形: 形状 10168">
              <a:extLst>
                <a:ext uri="{FF2B5EF4-FFF2-40B4-BE49-F238E27FC236}">
                  <a16:creationId xmlns:a16="http://schemas.microsoft.com/office/drawing/2014/main" id="{E1963866-4E34-4D17-9FD1-BC2BC523EC18}"/>
                </a:ext>
              </a:extLst>
            </p:cNvPr>
            <p:cNvSpPr/>
            <p:nvPr userDrawn="1"/>
          </p:nvSpPr>
          <p:spPr>
            <a:xfrm>
              <a:off x="5643485" y="4605177"/>
              <a:ext cx="28394" cy="56788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3887 h 56788"/>
                <a:gd name="connsiteX2" fmla="*/ 0 w 28394"/>
                <a:gd name="connsiteY2" fmla="*/ 62467 h 56788"/>
                <a:gd name="connsiteX3" fmla="*/ 2555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0" name="任意多边形: 形状 10169">
              <a:extLst>
                <a:ext uri="{FF2B5EF4-FFF2-40B4-BE49-F238E27FC236}">
                  <a16:creationId xmlns:a16="http://schemas.microsoft.com/office/drawing/2014/main" id="{74D46358-7A02-4A27-8E0F-E2BC3D950AC2}"/>
                </a:ext>
              </a:extLst>
            </p:cNvPr>
            <p:cNvSpPr/>
            <p:nvPr userDrawn="1"/>
          </p:nvSpPr>
          <p:spPr>
            <a:xfrm>
              <a:off x="5666200" y="4613695"/>
              <a:ext cx="14197" cy="56788"/>
            </a:xfrm>
            <a:custGeom>
              <a:avLst/>
              <a:gdLst>
                <a:gd name="connsiteX0" fmla="*/ 25555 w 14197"/>
                <a:gd name="connsiteY0" fmla="*/ 0 h 56788"/>
                <a:gd name="connsiteX1" fmla="*/ 0 w 14197"/>
                <a:gd name="connsiteY1" fmla="*/ 63887 h 56788"/>
                <a:gd name="connsiteX2" fmla="*/ 0 w 14197"/>
                <a:gd name="connsiteY2" fmla="*/ 62467 h 56788"/>
                <a:gd name="connsiteX3" fmla="*/ 2555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0"/>
                  </a:moveTo>
                  <a:lnTo>
                    <a:pt x="0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1" name="任意多边形: 形状 10170">
              <a:extLst>
                <a:ext uri="{FF2B5EF4-FFF2-40B4-BE49-F238E27FC236}">
                  <a16:creationId xmlns:a16="http://schemas.microsoft.com/office/drawing/2014/main" id="{83775633-2DE9-43C0-92A3-892724D8C3E9}"/>
                </a:ext>
              </a:extLst>
            </p:cNvPr>
            <p:cNvSpPr/>
            <p:nvPr userDrawn="1"/>
          </p:nvSpPr>
          <p:spPr>
            <a:xfrm>
              <a:off x="4973386" y="4353889"/>
              <a:ext cx="965397" cy="354926"/>
            </a:xfrm>
            <a:custGeom>
              <a:avLst/>
              <a:gdLst>
                <a:gd name="connsiteX0" fmla="*/ 56788 w 965397"/>
                <a:gd name="connsiteY0" fmla="*/ 28394 h 354925"/>
                <a:gd name="connsiteX1" fmla="*/ 0 w 965397"/>
                <a:gd name="connsiteY1" fmla="*/ 2839 h 354925"/>
                <a:gd name="connsiteX2" fmla="*/ 1420 w 965397"/>
                <a:gd name="connsiteY2" fmla="*/ 0 h 354925"/>
                <a:gd name="connsiteX3" fmla="*/ 56788 w 965397"/>
                <a:gd name="connsiteY3" fmla="*/ 25555 h 354925"/>
                <a:gd name="connsiteX4" fmla="*/ 93700 w 965397"/>
                <a:gd name="connsiteY4" fmla="*/ 29814 h 354925"/>
                <a:gd name="connsiteX5" fmla="*/ 965397 w 965397"/>
                <a:gd name="connsiteY5" fmla="*/ 363444 h 354925"/>
                <a:gd name="connsiteX6" fmla="*/ 963978 w 965397"/>
                <a:gd name="connsiteY6" fmla="*/ 366283 h 354925"/>
                <a:gd name="connsiteX7" fmla="*/ 93700 w 965397"/>
                <a:gd name="connsiteY7" fmla="*/ 31234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5397" h="354925">
                  <a:moveTo>
                    <a:pt x="56788" y="28394"/>
                  </a:moveTo>
                  <a:lnTo>
                    <a:pt x="0" y="2839"/>
                  </a:lnTo>
                  <a:lnTo>
                    <a:pt x="1420" y="0"/>
                  </a:lnTo>
                  <a:lnTo>
                    <a:pt x="56788" y="25555"/>
                  </a:lnTo>
                  <a:lnTo>
                    <a:pt x="93700" y="29814"/>
                  </a:lnTo>
                  <a:lnTo>
                    <a:pt x="965397" y="363444"/>
                  </a:lnTo>
                  <a:lnTo>
                    <a:pt x="963978" y="366283"/>
                  </a:lnTo>
                  <a:lnTo>
                    <a:pt x="93700" y="3123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2" name="任意多边形: 形状 10171">
              <a:extLst>
                <a:ext uri="{FF2B5EF4-FFF2-40B4-BE49-F238E27FC236}">
                  <a16:creationId xmlns:a16="http://schemas.microsoft.com/office/drawing/2014/main" id="{74569F8F-DAAC-4E55-9996-DE4AB727CA7D}"/>
                </a:ext>
              </a:extLst>
            </p:cNvPr>
            <p:cNvSpPr/>
            <p:nvPr userDrawn="1"/>
          </p:nvSpPr>
          <p:spPr>
            <a:xfrm>
              <a:off x="5030174" y="4379444"/>
              <a:ext cx="894412" cy="340728"/>
            </a:xfrm>
            <a:custGeom>
              <a:avLst/>
              <a:gdLst>
                <a:gd name="connsiteX0" fmla="*/ 0 w 894412"/>
                <a:gd name="connsiteY0" fmla="*/ 2839 h 340728"/>
                <a:gd name="connsiteX1" fmla="*/ 1420 w 894412"/>
                <a:gd name="connsiteY1" fmla="*/ 0 h 340728"/>
                <a:gd name="connsiteX2" fmla="*/ 34073 w 894412"/>
                <a:gd name="connsiteY2" fmla="*/ 12777 h 340728"/>
                <a:gd name="connsiteX3" fmla="*/ 902930 w 894412"/>
                <a:gd name="connsiteY3" fmla="*/ 350666 h 340728"/>
                <a:gd name="connsiteX4" fmla="*/ 902930 w 894412"/>
                <a:gd name="connsiteY4" fmla="*/ 353506 h 340728"/>
                <a:gd name="connsiteX5" fmla="*/ 32653 w 894412"/>
                <a:gd name="connsiteY5" fmla="*/ 15617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4412" h="340728">
                  <a:moveTo>
                    <a:pt x="0" y="2839"/>
                  </a:moveTo>
                  <a:lnTo>
                    <a:pt x="1420" y="0"/>
                  </a:lnTo>
                  <a:lnTo>
                    <a:pt x="34073" y="12777"/>
                  </a:lnTo>
                  <a:lnTo>
                    <a:pt x="902930" y="350666"/>
                  </a:lnTo>
                  <a:lnTo>
                    <a:pt x="902930" y="353506"/>
                  </a:lnTo>
                  <a:lnTo>
                    <a:pt x="32653" y="15617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3" name="任意多边形: 形状 10172">
              <a:extLst>
                <a:ext uri="{FF2B5EF4-FFF2-40B4-BE49-F238E27FC236}">
                  <a16:creationId xmlns:a16="http://schemas.microsoft.com/office/drawing/2014/main" id="{EFEAC487-0A0C-4376-802B-36DA9539CE0B}"/>
                </a:ext>
              </a:extLst>
            </p:cNvPr>
            <p:cNvSpPr/>
            <p:nvPr userDrawn="1"/>
          </p:nvSpPr>
          <p:spPr>
            <a:xfrm>
              <a:off x="4973386" y="4353889"/>
              <a:ext cx="951200" cy="383320"/>
            </a:xfrm>
            <a:custGeom>
              <a:avLst/>
              <a:gdLst>
                <a:gd name="connsiteX0" fmla="*/ 0 w 951200"/>
                <a:gd name="connsiteY0" fmla="*/ 2839 h 383319"/>
                <a:gd name="connsiteX1" fmla="*/ 1420 w 951200"/>
                <a:gd name="connsiteY1" fmla="*/ 0 h 383319"/>
                <a:gd name="connsiteX2" fmla="*/ 88021 w 951200"/>
                <a:gd name="connsiteY2" fmla="*/ 46850 h 383319"/>
                <a:gd name="connsiteX3" fmla="*/ 955459 w 951200"/>
                <a:gd name="connsiteY3" fmla="*/ 388998 h 383319"/>
                <a:gd name="connsiteX4" fmla="*/ 954040 w 951200"/>
                <a:gd name="connsiteY4" fmla="*/ 390418 h 383319"/>
                <a:gd name="connsiteX5" fmla="*/ 86602 w 951200"/>
                <a:gd name="connsiteY5" fmla="*/ 4969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1200" h="383319">
                  <a:moveTo>
                    <a:pt x="0" y="2839"/>
                  </a:moveTo>
                  <a:lnTo>
                    <a:pt x="1420" y="0"/>
                  </a:lnTo>
                  <a:lnTo>
                    <a:pt x="88021" y="46850"/>
                  </a:lnTo>
                  <a:lnTo>
                    <a:pt x="955459" y="388998"/>
                  </a:lnTo>
                  <a:lnTo>
                    <a:pt x="954040" y="390418"/>
                  </a:lnTo>
                  <a:lnTo>
                    <a:pt x="86602" y="49690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4" name="任意多边形: 形状 10173">
              <a:extLst>
                <a:ext uri="{FF2B5EF4-FFF2-40B4-BE49-F238E27FC236}">
                  <a16:creationId xmlns:a16="http://schemas.microsoft.com/office/drawing/2014/main" id="{79E54204-7499-4365-8021-1EB17310F3B4}"/>
                </a:ext>
              </a:extLst>
            </p:cNvPr>
            <p:cNvSpPr/>
            <p:nvPr userDrawn="1"/>
          </p:nvSpPr>
          <p:spPr>
            <a:xfrm>
              <a:off x="4981904" y="4382283"/>
              <a:ext cx="937003" cy="369123"/>
            </a:xfrm>
            <a:custGeom>
              <a:avLst/>
              <a:gdLst>
                <a:gd name="connsiteX0" fmla="*/ 0 w 937003"/>
                <a:gd name="connsiteY0" fmla="*/ 1420 h 369122"/>
                <a:gd name="connsiteX1" fmla="*/ 1420 w 937003"/>
                <a:gd name="connsiteY1" fmla="*/ 0 h 369122"/>
                <a:gd name="connsiteX2" fmla="*/ 75244 w 937003"/>
                <a:gd name="connsiteY2" fmla="*/ 26974 h 369122"/>
                <a:gd name="connsiteX3" fmla="*/ 941263 w 937003"/>
                <a:gd name="connsiteY3" fmla="*/ 373382 h 369122"/>
                <a:gd name="connsiteX4" fmla="*/ 941263 w 937003"/>
                <a:gd name="connsiteY4" fmla="*/ 374801 h 369122"/>
                <a:gd name="connsiteX5" fmla="*/ 73825 w 937003"/>
                <a:gd name="connsiteY5" fmla="*/ 2981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003" h="369122">
                  <a:moveTo>
                    <a:pt x="0" y="1420"/>
                  </a:moveTo>
                  <a:lnTo>
                    <a:pt x="1420" y="0"/>
                  </a:lnTo>
                  <a:lnTo>
                    <a:pt x="75244" y="26974"/>
                  </a:lnTo>
                  <a:lnTo>
                    <a:pt x="941263" y="373382"/>
                  </a:lnTo>
                  <a:lnTo>
                    <a:pt x="941263" y="374801"/>
                  </a:lnTo>
                  <a:lnTo>
                    <a:pt x="73825" y="2981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5" name="任意多边形: 形状 10174">
              <a:extLst>
                <a:ext uri="{FF2B5EF4-FFF2-40B4-BE49-F238E27FC236}">
                  <a16:creationId xmlns:a16="http://schemas.microsoft.com/office/drawing/2014/main" id="{BB74062A-74F9-414E-9725-0F37079A0E7E}"/>
                </a:ext>
              </a:extLst>
            </p:cNvPr>
            <p:cNvSpPr/>
            <p:nvPr userDrawn="1"/>
          </p:nvSpPr>
          <p:spPr>
            <a:xfrm>
              <a:off x="5010298" y="4393641"/>
              <a:ext cx="908609" cy="369123"/>
            </a:xfrm>
            <a:custGeom>
              <a:avLst/>
              <a:gdLst>
                <a:gd name="connsiteX0" fmla="*/ 0 w 908609"/>
                <a:gd name="connsiteY0" fmla="*/ 2839 h 369122"/>
                <a:gd name="connsiteX1" fmla="*/ 1420 w 908609"/>
                <a:gd name="connsiteY1" fmla="*/ 0 h 369122"/>
                <a:gd name="connsiteX2" fmla="*/ 44011 w 908609"/>
                <a:gd name="connsiteY2" fmla="*/ 25555 h 369122"/>
                <a:gd name="connsiteX3" fmla="*/ 908609 w 908609"/>
                <a:gd name="connsiteY3" fmla="*/ 373382 h 369122"/>
                <a:gd name="connsiteX4" fmla="*/ 907190 w 908609"/>
                <a:gd name="connsiteY4" fmla="*/ 376221 h 369122"/>
                <a:gd name="connsiteX5" fmla="*/ 42591 w 908609"/>
                <a:gd name="connsiteY5" fmla="*/ 2697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609" h="369122">
                  <a:moveTo>
                    <a:pt x="0" y="2839"/>
                  </a:moveTo>
                  <a:lnTo>
                    <a:pt x="1420" y="0"/>
                  </a:lnTo>
                  <a:lnTo>
                    <a:pt x="44011" y="25555"/>
                  </a:lnTo>
                  <a:lnTo>
                    <a:pt x="908609" y="373382"/>
                  </a:lnTo>
                  <a:lnTo>
                    <a:pt x="907190" y="376221"/>
                  </a:lnTo>
                  <a:lnTo>
                    <a:pt x="42591" y="2697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6" name="任意多边形: 形状 10175">
              <a:extLst>
                <a:ext uri="{FF2B5EF4-FFF2-40B4-BE49-F238E27FC236}">
                  <a16:creationId xmlns:a16="http://schemas.microsoft.com/office/drawing/2014/main" id="{1DEE2755-CD25-4A38-837F-533C929207B9}"/>
                </a:ext>
              </a:extLst>
            </p:cNvPr>
            <p:cNvSpPr/>
            <p:nvPr userDrawn="1"/>
          </p:nvSpPr>
          <p:spPr>
            <a:xfrm>
              <a:off x="5002813" y="4393084"/>
              <a:ext cx="14197" cy="14197"/>
            </a:xfrm>
            <a:custGeom>
              <a:avLst/>
              <a:gdLst>
                <a:gd name="connsiteX0" fmla="*/ 387 w 0"/>
                <a:gd name="connsiteY0" fmla="*/ 3396 h 0"/>
                <a:gd name="connsiteX1" fmla="*/ 8905 w 0"/>
                <a:gd name="connsiteY1" fmla="*/ 557 h 0"/>
                <a:gd name="connsiteX2" fmla="*/ 8905 w 0"/>
                <a:gd name="connsiteY2" fmla="*/ 557 h 0"/>
                <a:gd name="connsiteX3" fmla="*/ 10325 w 0"/>
                <a:gd name="connsiteY3" fmla="*/ 1977 h 0"/>
                <a:gd name="connsiteX4" fmla="*/ 11745 w 0"/>
                <a:gd name="connsiteY4" fmla="*/ 3396 h 0"/>
                <a:gd name="connsiteX5" fmla="*/ 11745 w 0"/>
                <a:gd name="connsiteY5" fmla="*/ 3396 h 0"/>
                <a:gd name="connsiteX6" fmla="*/ 11745 w 0"/>
                <a:gd name="connsiteY6" fmla="*/ 4816 h 0"/>
                <a:gd name="connsiteX7" fmla="*/ 11745 w 0"/>
                <a:gd name="connsiteY7" fmla="*/ 7655 h 0"/>
                <a:gd name="connsiteX8" fmla="*/ 11745 w 0"/>
                <a:gd name="connsiteY8" fmla="*/ 7655 h 0"/>
                <a:gd name="connsiteX9" fmla="*/ 11745 w 0"/>
                <a:gd name="connsiteY9" fmla="*/ 9075 h 0"/>
                <a:gd name="connsiteX10" fmla="*/ 3226 w 0"/>
                <a:gd name="connsiteY10" fmla="*/ 11914 h 0"/>
                <a:gd name="connsiteX11" fmla="*/ 3226 w 0"/>
                <a:gd name="connsiteY11" fmla="*/ 11914 h 0"/>
                <a:gd name="connsiteX12" fmla="*/ 387 w 0"/>
                <a:gd name="connsiteY12" fmla="*/ 339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387" y="3396"/>
                  </a:moveTo>
                  <a:cubicBezTo>
                    <a:pt x="1807" y="557"/>
                    <a:pt x="6066" y="-863"/>
                    <a:pt x="8905" y="557"/>
                  </a:cubicBezTo>
                  <a:lnTo>
                    <a:pt x="8905" y="557"/>
                  </a:lnTo>
                  <a:cubicBezTo>
                    <a:pt x="8905" y="557"/>
                    <a:pt x="10325" y="557"/>
                    <a:pt x="10325" y="1977"/>
                  </a:cubicBezTo>
                  <a:cubicBezTo>
                    <a:pt x="10325" y="1977"/>
                    <a:pt x="10325" y="1977"/>
                    <a:pt x="11745" y="3396"/>
                  </a:cubicBezTo>
                  <a:cubicBezTo>
                    <a:pt x="11745" y="3396"/>
                    <a:pt x="11745" y="3396"/>
                    <a:pt x="11745" y="3396"/>
                  </a:cubicBezTo>
                  <a:cubicBezTo>
                    <a:pt x="11745" y="3396"/>
                    <a:pt x="11745" y="3396"/>
                    <a:pt x="11745" y="4816"/>
                  </a:cubicBezTo>
                  <a:cubicBezTo>
                    <a:pt x="11745" y="6236"/>
                    <a:pt x="11745" y="6236"/>
                    <a:pt x="11745" y="7655"/>
                  </a:cubicBezTo>
                  <a:cubicBezTo>
                    <a:pt x="11745" y="7655"/>
                    <a:pt x="11745" y="7655"/>
                    <a:pt x="11745" y="7655"/>
                  </a:cubicBezTo>
                  <a:cubicBezTo>
                    <a:pt x="11745" y="7655"/>
                    <a:pt x="11745" y="9075"/>
                    <a:pt x="11745" y="9075"/>
                  </a:cubicBezTo>
                  <a:cubicBezTo>
                    <a:pt x="10325" y="11914"/>
                    <a:pt x="6066" y="13334"/>
                    <a:pt x="3226" y="11914"/>
                  </a:cubicBezTo>
                  <a:lnTo>
                    <a:pt x="3226" y="11914"/>
                  </a:lnTo>
                  <a:cubicBezTo>
                    <a:pt x="1807" y="9075"/>
                    <a:pt x="-1033" y="6236"/>
                    <a:pt x="387" y="3396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7" name="任意多边形: 形状 10176">
              <a:extLst>
                <a:ext uri="{FF2B5EF4-FFF2-40B4-BE49-F238E27FC236}">
                  <a16:creationId xmlns:a16="http://schemas.microsoft.com/office/drawing/2014/main" id="{524E60F1-6AEC-4174-B965-EA8DE7082B80}"/>
                </a:ext>
              </a:extLst>
            </p:cNvPr>
            <p:cNvSpPr/>
            <p:nvPr userDrawn="1"/>
          </p:nvSpPr>
          <p:spPr>
            <a:xfrm>
              <a:off x="4996988" y="4356172"/>
              <a:ext cx="14197" cy="14197"/>
            </a:xfrm>
            <a:custGeom>
              <a:avLst/>
              <a:gdLst>
                <a:gd name="connsiteX0" fmla="*/ 4792 w 0"/>
                <a:gd name="connsiteY0" fmla="*/ 11915 h 0"/>
                <a:gd name="connsiteX1" fmla="*/ 4792 w 0"/>
                <a:gd name="connsiteY1" fmla="*/ 11915 h 0"/>
                <a:gd name="connsiteX2" fmla="*/ 4792 w 0"/>
                <a:gd name="connsiteY2" fmla="*/ 11915 h 0"/>
                <a:gd name="connsiteX3" fmla="*/ 532 w 0"/>
                <a:gd name="connsiteY3" fmla="*/ 3396 h 0"/>
                <a:gd name="connsiteX4" fmla="*/ 9051 w 0"/>
                <a:gd name="connsiteY4" fmla="*/ 557 h 0"/>
                <a:gd name="connsiteX5" fmla="*/ 9051 w 0"/>
                <a:gd name="connsiteY5" fmla="*/ 557 h 0"/>
                <a:gd name="connsiteX6" fmla="*/ 9051 w 0"/>
                <a:gd name="connsiteY6" fmla="*/ 557 h 0"/>
                <a:gd name="connsiteX7" fmla="*/ 9051 w 0"/>
                <a:gd name="connsiteY7" fmla="*/ 557 h 0"/>
                <a:gd name="connsiteX8" fmla="*/ 10470 w 0"/>
                <a:gd name="connsiteY8" fmla="*/ 557 h 0"/>
                <a:gd name="connsiteX9" fmla="*/ 13310 w 0"/>
                <a:gd name="connsiteY9" fmla="*/ 6236 h 0"/>
                <a:gd name="connsiteX10" fmla="*/ 13310 w 0"/>
                <a:gd name="connsiteY10" fmla="*/ 6236 h 0"/>
                <a:gd name="connsiteX11" fmla="*/ 13310 w 0"/>
                <a:gd name="connsiteY11" fmla="*/ 7656 h 0"/>
                <a:gd name="connsiteX12" fmla="*/ 13310 w 0"/>
                <a:gd name="connsiteY12" fmla="*/ 7656 h 0"/>
                <a:gd name="connsiteX13" fmla="*/ 13310 w 0"/>
                <a:gd name="connsiteY13" fmla="*/ 7656 h 0"/>
                <a:gd name="connsiteX14" fmla="*/ 13310 w 0"/>
                <a:gd name="connsiteY14" fmla="*/ 9075 h 0"/>
                <a:gd name="connsiteX15" fmla="*/ 13310 w 0"/>
                <a:gd name="connsiteY15" fmla="*/ 10495 h 0"/>
                <a:gd name="connsiteX16" fmla="*/ 11890 w 0"/>
                <a:gd name="connsiteY16" fmla="*/ 11915 h 0"/>
                <a:gd name="connsiteX17" fmla="*/ 4792 w 0"/>
                <a:gd name="connsiteY17" fmla="*/ 11915 h 0"/>
                <a:gd name="connsiteX18" fmla="*/ 4792 w 0"/>
                <a:gd name="connsiteY18" fmla="*/ 119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>
                  <a:moveTo>
                    <a:pt x="4792" y="11915"/>
                  </a:moveTo>
                  <a:lnTo>
                    <a:pt x="4792" y="11915"/>
                  </a:lnTo>
                  <a:lnTo>
                    <a:pt x="4792" y="11915"/>
                  </a:lnTo>
                  <a:cubicBezTo>
                    <a:pt x="532" y="10495"/>
                    <a:pt x="-887" y="6236"/>
                    <a:pt x="532" y="3396"/>
                  </a:cubicBezTo>
                  <a:cubicBezTo>
                    <a:pt x="1952" y="557"/>
                    <a:pt x="6211" y="-863"/>
                    <a:pt x="9051" y="557"/>
                  </a:cubicBezTo>
                  <a:lnTo>
                    <a:pt x="9051" y="557"/>
                  </a:lnTo>
                  <a:lnTo>
                    <a:pt x="9051" y="557"/>
                  </a:lnTo>
                  <a:lnTo>
                    <a:pt x="9051" y="557"/>
                  </a:lnTo>
                  <a:cubicBezTo>
                    <a:pt x="9051" y="557"/>
                    <a:pt x="9051" y="557"/>
                    <a:pt x="10470" y="557"/>
                  </a:cubicBezTo>
                  <a:cubicBezTo>
                    <a:pt x="13310" y="1977"/>
                    <a:pt x="14729" y="4816"/>
                    <a:pt x="13310" y="6236"/>
                  </a:cubicBezTo>
                  <a:cubicBezTo>
                    <a:pt x="13310" y="6236"/>
                    <a:pt x="13310" y="6236"/>
                    <a:pt x="13310" y="6236"/>
                  </a:cubicBezTo>
                  <a:cubicBezTo>
                    <a:pt x="13310" y="6236"/>
                    <a:pt x="13310" y="623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9075"/>
                  </a:cubicBezTo>
                  <a:cubicBezTo>
                    <a:pt x="13310" y="9075"/>
                    <a:pt x="13310" y="9075"/>
                    <a:pt x="13310" y="10495"/>
                  </a:cubicBezTo>
                  <a:cubicBezTo>
                    <a:pt x="13310" y="10495"/>
                    <a:pt x="13310" y="10495"/>
                    <a:pt x="11890" y="11915"/>
                  </a:cubicBezTo>
                  <a:cubicBezTo>
                    <a:pt x="10470" y="11915"/>
                    <a:pt x="7631" y="13334"/>
                    <a:pt x="4792" y="11915"/>
                  </a:cubicBezTo>
                  <a:cubicBezTo>
                    <a:pt x="4792" y="11915"/>
                    <a:pt x="4792" y="11915"/>
                    <a:pt x="4792" y="11915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8" name="任意多边形: 形状 10177">
              <a:extLst>
                <a:ext uri="{FF2B5EF4-FFF2-40B4-BE49-F238E27FC236}">
                  <a16:creationId xmlns:a16="http://schemas.microsoft.com/office/drawing/2014/main" id="{C36F5B09-9C94-4B05-B0D0-8BE2844A89B0}"/>
                </a:ext>
              </a:extLst>
            </p:cNvPr>
            <p:cNvSpPr/>
            <p:nvPr userDrawn="1"/>
          </p:nvSpPr>
          <p:spPr>
            <a:xfrm>
              <a:off x="5025537" y="4368949"/>
              <a:ext cx="14197" cy="14197"/>
            </a:xfrm>
            <a:custGeom>
              <a:avLst/>
              <a:gdLst>
                <a:gd name="connsiteX0" fmla="*/ 8896 w 0"/>
                <a:gd name="connsiteY0" fmla="*/ 557 h 0"/>
                <a:gd name="connsiteX1" fmla="*/ 8896 w 0"/>
                <a:gd name="connsiteY1" fmla="*/ 557 h 0"/>
                <a:gd name="connsiteX2" fmla="*/ 13155 w 0"/>
                <a:gd name="connsiteY2" fmla="*/ 9075 h 0"/>
                <a:gd name="connsiteX3" fmla="*/ 4637 w 0"/>
                <a:gd name="connsiteY3" fmla="*/ 11915 h 0"/>
                <a:gd name="connsiteX4" fmla="*/ 4637 w 0"/>
                <a:gd name="connsiteY4" fmla="*/ 11915 h 0"/>
                <a:gd name="connsiteX5" fmla="*/ 378 w 0"/>
                <a:gd name="connsiteY5" fmla="*/ 3396 h 0"/>
                <a:gd name="connsiteX6" fmla="*/ 8896 w 0"/>
                <a:gd name="connsiteY6" fmla="*/ 5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8896" y="557"/>
                  </a:moveTo>
                  <a:lnTo>
                    <a:pt x="8896" y="557"/>
                  </a:lnTo>
                  <a:cubicBezTo>
                    <a:pt x="11735" y="1977"/>
                    <a:pt x="14575" y="6236"/>
                    <a:pt x="13155" y="9075"/>
                  </a:cubicBezTo>
                  <a:cubicBezTo>
                    <a:pt x="11735" y="11915"/>
                    <a:pt x="7476" y="13334"/>
                    <a:pt x="4637" y="11915"/>
                  </a:cubicBezTo>
                  <a:lnTo>
                    <a:pt x="4637" y="11915"/>
                  </a:lnTo>
                  <a:cubicBezTo>
                    <a:pt x="1797" y="10495"/>
                    <a:pt x="-1042" y="6236"/>
                    <a:pt x="378" y="3396"/>
                  </a:cubicBezTo>
                  <a:cubicBezTo>
                    <a:pt x="1797" y="557"/>
                    <a:pt x="6056" y="-863"/>
                    <a:pt x="8896" y="557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9" name="任意多边形: 形状 10178">
              <a:extLst>
                <a:ext uri="{FF2B5EF4-FFF2-40B4-BE49-F238E27FC236}">
                  <a16:creationId xmlns:a16="http://schemas.microsoft.com/office/drawing/2014/main" id="{3C4A996C-E52D-4BD9-8427-67F801152BD4}"/>
                </a:ext>
              </a:extLst>
            </p:cNvPr>
            <p:cNvSpPr/>
            <p:nvPr userDrawn="1"/>
          </p:nvSpPr>
          <p:spPr>
            <a:xfrm>
              <a:off x="5933967" y="4715913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0" name="任意多边形: 形状 10179">
              <a:extLst>
                <a:ext uri="{FF2B5EF4-FFF2-40B4-BE49-F238E27FC236}">
                  <a16:creationId xmlns:a16="http://schemas.microsoft.com/office/drawing/2014/main" id="{B2B9B6EA-D137-4010-AD75-DA3A3DB874C6}"/>
                </a:ext>
              </a:extLst>
            </p:cNvPr>
            <p:cNvSpPr/>
            <p:nvPr userDrawn="1"/>
          </p:nvSpPr>
          <p:spPr>
            <a:xfrm>
              <a:off x="5928288" y="4727271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1420"/>
                    <a:pt x="1049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1" name="任意多边形: 形状 10180">
              <a:extLst>
                <a:ext uri="{FF2B5EF4-FFF2-40B4-BE49-F238E27FC236}">
                  <a16:creationId xmlns:a16="http://schemas.microsoft.com/office/drawing/2014/main" id="{BAA2A823-5C3C-483A-A164-37DDD7AA836C}"/>
                </a:ext>
              </a:extLst>
            </p:cNvPr>
            <p:cNvSpPr/>
            <p:nvPr userDrawn="1"/>
          </p:nvSpPr>
          <p:spPr>
            <a:xfrm>
              <a:off x="5924029" y="4740048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2" name="任意多边形: 形状 10181">
              <a:extLst>
                <a:ext uri="{FF2B5EF4-FFF2-40B4-BE49-F238E27FC236}">
                  <a16:creationId xmlns:a16="http://schemas.microsoft.com/office/drawing/2014/main" id="{70C70E4B-DD31-4A3B-A145-E588B15AA354}"/>
                </a:ext>
              </a:extLst>
            </p:cNvPr>
            <p:cNvSpPr/>
            <p:nvPr userDrawn="1"/>
          </p:nvSpPr>
          <p:spPr>
            <a:xfrm>
              <a:off x="5918350" y="4752826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0"/>
                    <a:pt x="1049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3" name="任意多边形: 形状 10182">
              <a:extLst>
                <a:ext uri="{FF2B5EF4-FFF2-40B4-BE49-F238E27FC236}">
                  <a16:creationId xmlns:a16="http://schemas.microsoft.com/office/drawing/2014/main" id="{05316669-5ECC-4AD6-8B5A-A15B1AE6B56B}"/>
                </a:ext>
              </a:extLst>
            </p:cNvPr>
            <p:cNvSpPr/>
            <p:nvPr userDrawn="1"/>
          </p:nvSpPr>
          <p:spPr>
            <a:xfrm>
              <a:off x="5914091" y="4764183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1420"/>
                    <a:pt x="907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4" name="任意多边形: 形状 10183">
              <a:extLst>
                <a:ext uri="{FF2B5EF4-FFF2-40B4-BE49-F238E27FC236}">
                  <a16:creationId xmlns:a16="http://schemas.microsoft.com/office/drawing/2014/main" id="{27FD149A-FA9A-4C02-A647-5A13F68FB745}"/>
                </a:ext>
              </a:extLst>
            </p:cNvPr>
            <p:cNvSpPr/>
            <p:nvPr userDrawn="1"/>
          </p:nvSpPr>
          <p:spPr>
            <a:xfrm>
              <a:off x="5722661" y="4645563"/>
              <a:ext cx="156167" cy="85182"/>
            </a:xfrm>
            <a:custGeom>
              <a:avLst/>
              <a:gdLst>
                <a:gd name="connsiteX0" fmla="*/ 130940 w 156167"/>
                <a:gd name="connsiteY0" fmla="*/ 19241 h 85182"/>
                <a:gd name="connsiteX1" fmla="*/ 106805 w 156167"/>
                <a:gd name="connsiteY1" fmla="*/ 16402 h 85182"/>
                <a:gd name="connsiteX2" fmla="*/ 71313 w 156167"/>
                <a:gd name="connsiteY2" fmla="*/ 785 h 85182"/>
                <a:gd name="connsiteX3" fmla="*/ 34400 w 156167"/>
                <a:gd name="connsiteY3" fmla="*/ 12143 h 85182"/>
                <a:gd name="connsiteX4" fmla="*/ 38659 w 156167"/>
                <a:gd name="connsiteY4" fmla="*/ 22080 h 85182"/>
                <a:gd name="connsiteX5" fmla="*/ 327 w 156167"/>
                <a:gd name="connsiteY5" fmla="*/ 46215 h 85182"/>
                <a:gd name="connsiteX6" fmla="*/ 15944 w 156167"/>
                <a:gd name="connsiteY6" fmla="*/ 84547 h 85182"/>
                <a:gd name="connsiteX7" fmla="*/ 86929 w 156167"/>
                <a:gd name="connsiteY7" fmla="*/ 81708 h 85182"/>
                <a:gd name="connsiteX8" fmla="*/ 163593 w 156167"/>
                <a:gd name="connsiteY8" fmla="*/ 54734 h 85182"/>
                <a:gd name="connsiteX9" fmla="*/ 130940 w 156167"/>
                <a:gd name="connsiteY9" fmla="*/ 1924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167" h="85182">
                  <a:moveTo>
                    <a:pt x="130940" y="19241"/>
                  </a:moveTo>
                  <a:cubicBezTo>
                    <a:pt x="130940" y="19241"/>
                    <a:pt x="116743" y="22080"/>
                    <a:pt x="106805" y="16402"/>
                  </a:cubicBezTo>
                  <a:cubicBezTo>
                    <a:pt x="95448" y="10723"/>
                    <a:pt x="78411" y="-3474"/>
                    <a:pt x="71313" y="785"/>
                  </a:cubicBezTo>
                  <a:cubicBezTo>
                    <a:pt x="62794" y="6464"/>
                    <a:pt x="40079" y="12143"/>
                    <a:pt x="34400" y="12143"/>
                  </a:cubicBezTo>
                  <a:cubicBezTo>
                    <a:pt x="28721" y="12143"/>
                    <a:pt x="32981" y="16402"/>
                    <a:pt x="38659" y="22080"/>
                  </a:cubicBezTo>
                  <a:cubicBezTo>
                    <a:pt x="45758" y="26340"/>
                    <a:pt x="1747" y="33438"/>
                    <a:pt x="327" y="46215"/>
                  </a:cubicBezTo>
                  <a:cubicBezTo>
                    <a:pt x="-1092" y="58993"/>
                    <a:pt x="1747" y="73190"/>
                    <a:pt x="15944" y="84547"/>
                  </a:cubicBezTo>
                  <a:cubicBezTo>
                    <a:pt x="30141" y="94485"/>
                    <a:pt x="75572" y="85967"/>
                    <a:pt x="86929" y="81708"/>
                  </a:cubicBezTo>
                  <a:cubicBezTo>
                    <a:pt x="96867" y="76029"/>
                    <a:pt x="143717" y="53314"/>
                    <a:pt x="163593" y="54734"/>
                  </a:cubicBezTo>
                  <a:cubicBezTo>
                    <a:pt x="182049" y="53314"/>
                    <a:pt x="130940" y="19241"/>
                    <a:pt x="130940" y="19241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5" name="任意多边形: 形状 10184">
              <a:extLst>
                <a:ext uri="{FF2B5EF4-FFF2-40B4-BE49-F238E27FC236}">
                  <a16:creationId xmlns:a16="http://schemas.microsoft.com/office/drawing/2014/main" id="{B334E5C5-CAAE-45FD-95C2-5A87DFDC860D}"/>
                </a:ext>
              </a:extLst>
            </p:cNvPr>
            <p:cNvSpPr/>
            <p:nvPr userDrawn="1"/>
          </p:nvSpPr>
          <p:spPr>
            <a:xfrm>
              <a:off x="5823787" y="4485922"/>
              <a:ext cx="298137" cy="227152"/>
            </a:xfrm>
            <a:custGeom>
              <a:avLst/>
              <a:gdLst>
                <a:gd name="connsiteX0" fmla="*/ 0 w 298137"/>
                <a:gd name="connsiteY0" fmla="*/ 166105 h 227152"/>
                <a:gd name="connsiteX1" fmla="*/ 183141 w 298137"/>
                <a:gd name="connsiteY1" fmla="*/ 95120 h 227152"/>
                <a:gd name="connsiteX2" fmla="*/ 110737 w 298137"/>
                <a:gd name="connsiteY2" fmla="*/ 0 h 227152"/>
                <a:gd name="connsiteX3" fmla="*/ 242769 w 298137"/>
                <a:gd name="connsiteY3" fmla="*/ 14197 h 227152"/>
                <a:gd name="connsiteX4" fmla="*/ 308075 w 298137"/>
                <a:gd name="connsiteY4" fmla="*/ 134872 h 227152"/>
                <a:gd name="connsiteX5" fmla="*/ 29814 w 298137"/>
                <a:gd name="connsiteY5" fmla="*/ 229992 h 227152"/>
                <a:gd name="connsiteX6" fmla="*/ 0 w 298137"/>
                <a:gd name="connsiteY6" fmla="*/ 166105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137" h="227152">
                  <a:moveTo>
                    <a:pt x="0" y="166105"/>
                  </a:moveTo>
                  <a:cubicBezTo>
                    <a:pt x="0" y="166105"/>
                    <a:pt x="181722" y="109317"/>
                    <a:pt x="183141" y="95120"/>
                  </a:cubicBezTo>
                  <a:cubicBezTo>
                    <a:pt x="184561" y="80923"/>
                    <a:pt x="110737" y="0"/>
                    <a:pt x="110737" y="0"/>
                  </a:cubicBezTo>
                  <a:lnTo>
                    <a:pt x="242769" y="14197"/>
                  </a:lnTo>
                  <a:cubicBezTo>
                    <a:pt x="242769" y="14197"/>
                    <a:pt x="308075" y="106478"/>
                    <a:pt x="308075" y="134872"/>
                  </a:cubicBezTo>
                  <a:cubicBezTo>
                    <a:pt x="308075" y="166105"/>
                    <a:pt x="29814" y="229992"/>
                    <a:pt x="29814" y="229992"/>
                  </a:cubicBezTo>
                  <a:lnTo>
                    <a:pt x="0" y="166105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6" name="任意多边形: 形状 10185">
              <a:extLst>
                <a:ext uri="{FF2B5EF4-FFF2-40B4-BE49-F238E27FC236}">
                  <a16:creationId xmlns:a16="http://schemas.microsoft.com/office/drawing/2014/main" id="{32D7CF39-4ACD-4386-BC35-38831D7AA78C}"/>
                </a:ext>
              </a:extLst>
            </p:cNvPr>
            <p:cNvSpPr/>
            <p:nvPr userDrawn="1"/>
          </p:nvSpPr>
          <p:spPr>
            <a:xfrm>
              <a:off x="5687496" y="4258769"/>
              <a:ext cx="70985" cy="28394"/>
            </a:xfrm>
            <a:custGeom>
              <a:avLst/>
              <a:gdLst>
                <a:gd name="connsiteX0" fmla="*/ 15617 w 70985"/>
                <a:gd name="connsiteY0" fmla="*/ 41171 h 28394"/>
                <a:gd name="connsiteX1" fmla="*/ 26974 w 70985"/>
                <a:gd name="connsiteY1" fmla="*/ 39752 h 28394"/>
                <a:gd name="connsiteX2" fmla="*/ 70985 w 70985"/>
                <a:gd name="connsiteY2" fmla="*/ 1420 h 28394"/>
                <a:gd name="connsiteX3" fmla="*/ 68146 w 70985"/>
                <a:gd name="connsiteY3" fmla="*/ 0 h 28394"/>
                <a:gd name="connsiteX4" fmla="*/ 25555 w 70985"/>
                <a:gd name="connsiteY4" fmla="*/ 36912 h 28394"/>
                <a:gd name="connsiteX5" fmla="*/ 1420 w 70985"/>
                <a:gd name="connsiteY5" fmla="*/ 35493 h 28394"/>
                <a:gd name="connsiteX6" fmla="*/ 0 w 70985"/>
                <a:gd name="connsiteY6" fmla="*/ 38332 h 28394"/>
                <a:gd name="connsiteX7" fmla="*/ 15617 w 70985"/>
                <a:gd name="connsiteY7" fmla="*/ 41171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85" h="28394">
                  <a:moveTo>
                    <a:pt x="15617" y="41171"/>
                  </a:moveTo>
                  <a:cubicBezTo>
                    <a:pt x="18456" y="41171"/>
                    <a:pt x="22715" y="41171"/>
                    <a:pt x="26974" y="39752"/>
                  </a:cubicBezTo>
                  <a:cubicBezTo>
                    <a:pt x="39752" y="36912"/>
                    <a:pt x="58208" y="28394"/>
                    <a:pt x="70985" y="1420"/>
                  </a:cubicBezTo>
                  <a:lnTo>
                    <a:pt x="68146" y="0"/>
                  </a:lnTo>
                  <a:cubicBezTo>
                    <a:pt x="58208" y="21296"/>
                    <a:pt x="44011" y="34073"/>
                    <a:pt x="25555" y="36912"/>
                  </a:cubicBezTo>
                  <a:cubicBezTo>
                    <a:pt x="12777" y="39752"/>
                    <a:pt x="1420" y="35493"/>
                    <a:pt x="1420" y="35493"/>
                  </a:cubicBezTo>
                  <a:lnTo>
                    <a:pt x="0" y="38332"/>
                  </a:lnTo>
                  <a:cubicBezTo>
                    <a:pt x="1420" y="39752"/>
                    <a:pt x="7099" y="41171"/>
                    <a:pt x="15617" y="41171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7" name="任意多边形: 形状 10186">
              <a:extLst>
                <a:ext uri="{FF2B5EF4-FFF2-40B4-BE49-F238E27FC236}">
                  <a16:creationId xmlns:a16="http://schemas.microsoft.com/office/drawing/2014/main" id="{9012245C-E836-4438-B9F4-5861DB1C9415}"/>
                </a:ext>
              </a:extLst>
            </p:cNvPr>
            <p:cNvSpPr/>
            <p:nvPr userDrawn="1"/>
          </p:nvSpPr>
          <p:spPr>
            <a:xfrm>
              <a:off x="5211563" y="4471480"/>
              <a:ext cx="312334" cy="141970"/>
            </a:xfrm>
            <a:custGeom>
              <a:avLst/>
              <a:gdLst>
                <a:gd name="connsiteX0" fmla="*/ 325445 w 312334"/>
                <a:gd name="connsiteY0" fmla="*/ 152153 h 141970"/>
                <a:gd name="connsiteX1" fmla="*/ 177796 w 312334"/>
                <a:gd name="connsiteY1" fmla="*/ 113821 h 141970"/>
                <a:gd name="connsiteX2" fmla="*/ 30147 w 312334"/>
                <a:gd name="connsiteY2" fmla="*/ 65551 h 141970"/>
                <a:gd name="connsiteX3" fmla="*/ 3172 w 312334"/>
                <a:gd name="connsiteY3" fmla="*/ 1664 h 141970"/>
                <a:gd name="connsiteX4" fmla="*/ 84095 w 312334"/>
                <a:gd name="connsiteY4" fmla="*/ 25799 h 141970"/>
                <a:gd name="connsiteX5" fmla="*/ 106811 w 312334"/>
                <a:gd name="connsiteY5" fmla="*/ 59872 h 141970"/>
                <a:gd name="connsiteX6" fmla="*/ 325445 w 312334"/>
                <a:gd name="connsiteY6" fmla="*/ 152153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34" h="141970">
                  <a:moveTo>
                    <a:pt x="325445" y="152153"/>
                  </a:moveTo>
                  <a:cubicBezTo>
                    <a:pt x="325445" y="152153"/>
                    <a:pt x="245942" y="139375"/>
                    <a:pt x="177796" y="113821"/>
                  </a:cubicBezTo>
                  <a:cubicBezTo>
                    <a:pt x="109650" y="88266"/>
                    <a:pt x="57121" y="84007"/>
                    <a:pt x="30147" y="65551"/>
                  </a:cubicBezTo>
                  <a:cubicBezTo>
                    <a:pt x="3172" y="47095"/>
                    <a:pt x="-5346" y="8763"/>
                    <a:pt x="3172" y="1664"/>
                  </a:cubicBezTo>
                  <a:cubicBezTo>
                    <a:pt x="13110" y="-5434"/>
                    <a:pt x="72738" y="11602"/>
                    <a:pt x="84095" y="25799"/>
                  </a:cubicBezTo>
                  <a:cubicBezTo>
                    <a:pt x="96873" y="39996"/>
                    <a:pt x="84095" y="49934"/>
                    <a:pt x="106811" y="59872"/>
                  </a:cubicBezTo>
                  <a:cubicBezTo>
                    <a:pt x="128106" y="68390"/>
                    <a:pt x="325445" y="152153"/>
                    <a:pt x="325445" y="15215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8" name="任意多边形: 形状 10187">
              <a:extLst>
                <a:ext uri="{FF2B5EF4-FFF2-40B4-BE49-F238E27FC236}">
                  <a16:creationId xmlns:a16="http://schemas.microsoft.com/office/drawing/2014/main" id="{4F02B259-B0C0-445E-82F1-ABF7D8C3AAD9}"/>
                </a:ext>
              </a:extLst>
            </p:cNvPr>
            <p:cNvSpPr/>
            <p:nvPr userDrawn="1"/>
          </p:nvSpPr>
          <p:spPr>
            <a:xfrm>
              <a:off x="5318373" y="4534192"/>
              <a:ext cx="212955" cy="85182"/>
            </a:xfrm>
            <a:custGeom>
              <a:avLst/>
              <a:gdLst>
                <a:gd name="connsiteX0" fmla="*/ 8518 w 212955"/>
                <a:gd name="connsiteY0" fmla="*/ 0 h 85182"/>
                <a:gd name="connsiteX1" fmla="*/ 0 w 212955"/>
                <a:gd name="connsiteY1" fmla="*/ 46850 h 85182"/>
                <a:gd name="connsiteX2" fmla="*/ 218634 w 212955"/>
                <a:gd name="connsiteY2" fmla="*/ 89441 h 85182"/>
                <a:gd name="connsiteX3" fmla="*/ 8518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8518" y="0"/>
                  </a:moveTo>
                  <a:cubicBezTo>
                    <a:pt x="8518" y="0"/>
                    <a:pt x="7099" y="31233"/>
                    <a:pt x="0" y="46850"/>
                  </a:cubicBezTo>
                  <a:cubicBezTo>
                    <a:pt x="0" y="46850"/>
                    <a:pt x="198758" y="89441"/>
                    <a:pt x="218634" y="89441"/>
                  </a:cubicBezTo>
                  <a:lnTo>
                    <a:pt x="8518" y="0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9" name="任意多边形: 形状 10188">
              <a:extLst>
                <a:ext uri="{FF2B5EF4-FFF2-40B4-BE49-F238E27FC236}">
                  <a16:creationId xmlns:a16="http://schemas.microsoft.com/office/drawing/2014/main" id="{4D50C10C-86F2-4CE4-A43D-2CC559164BB7}"/>
                </a:ext>
              </a:extLst>
            </p:cNvPr>
            <p:cNvSpPr/>
            <p:nvPr userDrawn="1"/>
          </p:nvSpPr>
          <p:spPr>
            <a:xfrm>
              <a:off x="5525650" y="4911832"/>
              <a:ext cx="212955" cy="85182"/>
            </a:xfrm>
            <a:custGeom>
              <a:avLst/>
              <a:gdLst>
                <a:gd name="connsiteX0" fmla="*/ 0 w 212955"/>
                <a:gd name="connsiteY0" fmla="*/ 0 h 85182"/>
                <a:gd name="connsiteX1" fmla="*/ 150488 w 212955"/>
                <a:gd name="connsiteY1" fmla="*/ 93700 h 85182"/>
                <a:gd name="connsiteX2" fmla="*/ 215795 w 212955"/>
                <a:gd name="connsiteY2" fmla="*/ 93700 h 85182"/>
                <a:gd name="connsiteX3" fmla="*/ 0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0" y="0"/>
                  </a:moveTo>
                  <a:cubicBezTo>
                    <a:pt x="2839" y="2839"/>
                    <a:pt x="102219" y="78084"/>
                    <a:pt x="150488" y="93700"/>
                  </a:cubicBezTo>
                  <a:cubicBezTo>
                    <a:pt x="174623" y="93700"/>
                    <a:pt x="195919" y="93700"/>
                    <a:pt x="215795" y="93700"/>
                  </a:cubicBezTo>
                  <a:cubicBezTo>
                    <a:pt x="211536" y="93700"/>
                    <a:pt x="154747" y="80923"/>
                    <a:pt x="0" y="0"/>
                  </a:cubicBezTo>
                  <a:close/>
                </a:path>
              </a:pathLst>
            </a:custGeom>
            <a:solidFill>
              <a:srgbClr val="4D39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0" name="任意多边形: 形状 10189">
              <a:extLst>
                <a:ext uri="{FF2B5EF4-FFF2-40B4-BE49-F238E27FC236}">
                  <a16:creationId xmlns:a16="http://schemas.microsoft.com/office/drawing/2014/main" id="{B3753DFA-148D-47AA-BD5C-168087570B67}"/>
                </a:ext>
              </a:extLst>
            </p:cNvPr>
            <p:cNvSpPr/>
            <p:nvPr userDrawn="1"/>
          </p:nvSpPr>
          <p:spPr>
            <a:xfrm>
              <a:off x="7483575" y="5414407"/>
              <a:ext cx="212955" cy="184561"/>
            </a:xfrm>
            <a:custGeom>
              <a:avLst/>
              <a:gdLst>
                <a:gd name="connsiteX0" fmla="*/ 141970 w 212955"/>
                <a:gd name="connsiteY0" fmla="*/ 191660 h 184561"/>
                <a:gd name="connsiteX1" fmla="*/ 0 w 212955"/>
                <a:gd name="connsiteY1" fmla="*/ 0 h 184561"/>
                <a:gd name="connsiteX2" fmla="*/ 167525 w 212955"/>
                <a:gd name="connsiteY2" fmla="*/ 146229 h 184561"/>
                <a:gd name="connsiteX3" fmla="*/ 188820 w 212955"/>
                <a:gd name="connsiteY3" fmla="*/ 0 h 184561"/>
                <a:gd name="connsiteX4" fmla="*/ 210116 w 212955"/>
                <a:gd name="connsiteY4" fmla="*/ 146229 h 184561"/>
                <a:gd name="connsiteX5" fmla="*/ 141970 w 212955"/>
                <a:gd name="connsiteY5" fmla="*/ 191660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184561">
                  <a:moveTo>
                    <a:pt x="141970" y="191660"/>
                  </a:moveTo>
                  <a:cubicBezTo>
                    <a:pt x="141970" y="191660"/>
                    <a:pt x="122094" y="85182"/>
                    <a:pt x="0" y="0"/>
                  </a:cubicBezTo>
                  <a:cubicBezTo>
                    <a:pt x="0" y="0"/>
                    <a:pt x="126353" y="5679"/>
                    <a:pt x="167525" y="146229"/>
                  </a:cubicBezTo>
                  <a:cubicBezTo>
                    <a:pt x="167525" y="146229"/>
                    <a:pt x="173204" y="72405"/>
                    <a:pt x="188820" y="0"/>
                  </a:cubicBezTo>
                  <a:cubicBezTo>
                    <a:pt x="188820" y="0"/>
                    <a:pt x="183141" y="73824"/>
                    <a:pt x="210116" y="146229"/>
                  </a:cubicBezTo>
                  <a:cubicBezTo>
                    <a:pt x="235670" y="217214"/>
                    <a:pt x="141970" y="191660"/>
                    <a:pt x="141970" y="191660"/>
                  </a:cubicBezTo>
                  <a:close/>
                </a:path>
              </a:pathLst>
            </a:custGeom>
            <a:solidFill>
              <a:srgbClr val="D5F7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929389" y="2873441"/>
            <a:ext cx="4591100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930505" y="3768791"/>
            <a:ext cx="4591100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11B58C50-70E4-42A6-A667-2C9FE4933BD1}"/>
              </a:ext>
            </a:extLst>
          </p:cNvPr>
          <p:cNvGrpSpPr/>
          <p:nvPr userDrawn="1"/>
        </p:nvGrpSpPr>
        <p:grpSpPr>
          <a:xfrm flipH="1">
            <a:off x="0" y="2657929"/>
            <a:ext cx="4489381" cy="2137243"/>
            <a:chOff x="6474876" y="2925927"/>
            <a:chExt cx="3926438" cy="1869245"/>
          </a:xfrm>
        </p:grpSpPr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B6E26380-6920-4AF9-9C81-036AFEAB6DA1}"/>
                </a:ext>
              </a:extLst>
            </p:cNvPr>
            <p:cNvSpPr/>
            <p:nvPr userDrawn="1"/>
          </p:nvSpPr>
          <p:spPr>
            <a:xfrm>
              <a:off x="6474876" y="3803946"/>
              <a:ext cx="3926438" cy="991226"/>
            </a:xfrm>
            <a:custGeom>
              <a:avLst/>
              <a:gdLst>
                <a:gd name="connsiteX0" fmla="*/ 3294154 w 3926438"/>
                <a:gd name="connsiteY0" fmla="*/ 180 h 991226"/>
                <a:gd name="connsiteX1" fmla="*/ 3811285 w 3926438"/>
                <a:gd name="connsiteY1" fmla="*/ 1460 h 991226"/>
                <a:gd name="connsiteX2" fmla="*/ 3926438 w 3926438"/>
                <a:gd name="connsiteY2" fmla="*/ 3350 h 991226"/>
                <a:gd name="connsiteX3" fmla="*/ 3926438 w 3926438"/>
                <a:gd name="connsiteY3" fmla="*/ 858615 h 991226"/>
                <a:gd name="connsiteX4" fmla="*/ 3870387 w 3926438"/>
                <a:gd name="connsiteY4" fmla="*/ 850148 h 991226"/>
                <a:gd name="connsiteX5" fmla="*/ 2792531 w 3926438"/>
                <a:gd name="connsiteY5" fmla="*/ 798540 h 991226"/>
                <a:gd name="connsiteX6" fmla="*/ 1960224 w 3926438"/>
                <a:gd name="connsiteY6" fmla="*/ 908386 h 991226"/>
                <a:gd name="connsiteX7" fmla="*/ 865808 w 3926438"/>
                <a:gd name="connsiteY7" fmla="*/ 798540 h 991226"/>
                <a:gd name="connsiteX8" fmla="*/ 123629 w 3926438"/>
                <a:gd name="connsiteY8" fmla="*/ 515201 h 991226"/>
                <a:gd name="connsiteX9" fmla="*/ 38098 w 3926438"/>
                <a:gd name="connsiteY9" fmla="*/ 213381 h 991226"/>
                <a:gd name="connsiteX10" fmla="*/ 892478 w 3926438"/>
                <a:gd name="connsiteY10" fmla="*/ 45020 h 991226"/>
                <a:gd name="connsiteX11" fmla="*/ 3294154 w 3926438"/>
                <a:gd name="connsiteY11" fmla="*/ 180 h 99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26438" h="991226">
                  <a:moveTo>
                    <a:pt x="3294154" y="180"/>
                  </a:moveTo>
                  <a:cubicBezTo>
                    <a:pt x="3467230" y="-261"/>
                    <a:pt x="3640743" y="88"/>
                    <a:pt x="3811285" y="1460"/>
                  </a:cubicBezTo>
                  <a:lnTo>
                    <a:pt x="3926438" y="3350"/>
                  </a:lnTo>
                  <a:lnTo>
                    <a:pt x="3926438" y="858615"/>
                  </a:lnTo>
                  <a:lnTo>
                    <a:pt x="3870387" y="850148"/>
                  </a:lnTo>
                  <a:cubicBezTo>
                    <a:pt x="3566670" y="825151"/>
                    <a:pt x="3117637" y="908129"/>
                    <a:pt x="2792531" y="798540"/>
                  </a:cubicBezTo>
                  <a:cubicBezTo>
                    <a:pt x="2420982" y="673296"/>
                    <a:pt x="1985055" y="752344"/>
                    <a:pt x="1960224" y="908386"/>
                  </a:cubicBezTo>
                  <a:cubicBezTo>
                    <a:pt x="1935392" y="1064428"/>
                    <a:pt x="543921" y="984354"/>
                    <a:pt x="865808" y="798540"/>
                  </a:cubicBezTo>
                  <a:cubicBezTo>
                    <a:pt x="1187695" y="613753"/>
                    <a:pt x="417006" y="605540"/>
                    <a:pt x="123629" y="515201"/>
                  </a:cubicBezTo>
                  <a:cubicBezTo>
                    <a:pt x="-169749" y="424860"/>
                    <a:pt x="168693" y="379690"/>
                    <a:pt x="38098" y="213381"/>
                  </a:cubicBezTo>
                  <a:cubicBezTo>
                    <a:pt x="-92496" y="47074"/>
                    <a:pt x="892478" y="45020"/>
                    <a:pt x="892478" y="45020"/>
                  </a:cubicBezTo>
                  <a:cubicBezTo>
                    <a:pt x="892478" y="45020"/>
                    <a:pt x="2082619" y="3264"/>
                    <a:pt x="3294154" y="180"/>
                  </a:cubicBezTo>
                  <a:close/>
                </a:path>
              </a:pathLst>
            </a:custGeom>
            <a:solidFill>
              <a:schemeClr val="bg2"/>
            </a:solidFill>
            <a:ln w="141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E8AD406-786B-4A0C-A608-147D1DA556FA}"/>
                </a:ext>
              </a:extLst>
            </p:cNvPr>
            <p:cNvSpPr/>
            <p:nvPr userDrawn="1"/>
          </p:nvSpPr>
          <p:spPr>
            <a:xfrm>
              <a:off x="7099482" y="2936324"/>
              <a:ext cx="657020" cy="1098455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C00C07F-4E89-478D-B9D9-7B8810E05739}"/>
                </a:ext>
              </a:extLst>
            </p:cNvPr>
            <p:cNvSpPr/>
            <p:nvPr userDrawn="1"/>
          </p:nvSpPr>
          <p:spPr>
            <a:xfrm>
              <a:off x="8019309" y="3262301"/>
              <a:ext cx="205318" cy="205318"/>
            </a:xfrm>
            <a:custGeom>
              <a:avLst/>
              <a:gdLst>
                <a:gd name="connsiteX0" fmla="*/ 14197 w 283940"/>
                <a:gd name="connsiteY0" fmla="*/ 295961 h 283940"/>
                <a:gd name="connsiteX1" fmla="*/ 93700 w 283940"/>
                <a:gd name="connsiteY1" fmla="*/ 195163 h 283940"/>
                <a:gd name="connsiteX2" fmla="*/ 203017 w 283940"/>
                <a:gd name="connsiteY2" fmla="*/ 36156 h 283940"/>
                <a:gd name="connsiteX3" fmla="*/ 295298 w 283940"/>
                <a:gd name="connsiteY3" fmla="*/ 6342 h 283940"/>
                <a:gd name="connsiteX4" fmla="*/ 295298 w 283940"/>
                <a:gd name="connsiteY4" fmla="*/ 663 h 283940"/>
                <a:gd name="connsiteX5" fmla="*/ 181722 w 283940"/>
                <a:gd name="connsiteY5" fmla="*/ 36156 h 283940"/>
                <a:gd name="connsiteX6" fmla="*/ 85182 w 283940"/>
                <a:gd name="connsiteY6" fmla="*/ 173867 h 283940"/>
                <a:gd name="connsiteX7" fmla="*/ 0 w 283940"/>
                <a:gd name="connsiteY7" fmla="*/ 224976 h 283940"/>
                <a:gd name="connsiteX8" fmla="*/ 14197 w 283940"/>
                <a:gd name="connsiteY8" fmla="*/ 295961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940" h="283940">
                  <a:moveTo>
                    <a:pt x="14197" y="295961"/>
                  </a:moveTo>
                  <a:cubicBezTo>
                    <a:pt x="14197" y="295961"/>
                    <a:pt x="29814" y="200841"/>
                    <a:pt x="93700" y="195163"/>
                  </a:cubicBezTo>
                  <a:cubicBezTo>
                    <a:pt x="156167" y="189484"/>
                    <a:pt x="161846" y="61711"/>
                    <a:pt x="203017" y="36156"/>
                  </a:cubicBezTo>
                  <a:cubicBezTo>
                    <a:pt x="242769" y="10601"/>
                    <a:pt x="295298" y="6342"/>
                    <a:pt x="295298" y="6342"/>
                  </a:cubicBezTo>
                  <a:lnTo>
                    <a:pt x="295298" y="663"/>
                  </a:lnTo>
                  <a:cubicBezTo>
                    <a:pt x="295298" y="663"/>
                    <a:pt x="224313" y="-7855"/>
                    <a:pt x="181722" y="36156"/>
                  </a:cubicBezTo>
                  <a:cubicBezTo>
                    <a:pt x="139131" y="80167"/>
                    <a:pt x="141970" y="168188"/>
                    <a:pt x="85182" y="173867"/>
                  </a:cubicBezTo>
                  <a:cubicBezTo>
                    <a:pt x="28394" y="180966"/>
                    <a:pt x="0" y="224976"/>
                    <a:pt x="0" y="224976"/>
                  </a:cubicBezTo>
                  <a:lnTo>
                    <a:pt x="14197" y="295961"/>
                  </a:lnTo>
                  <a:close/>
                </a:path>
              </a:pathLst>
            </a:custGeom>
            <a:solidFill>
              <a:srgbClr val="F0E1D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20EFBE6-4D31-4068-A1CF-74327EC4C541}"/>
                </a:ext>
              </a:extLst>
            </p:cNvPr>
            <p:cNvSpPr/>
            <p:nvPr userDrawn="1"/>
          </p:nvSpPr>
          <p:spPr>
            <a:xfrm>
              <a:off x="7541380" y="3613538"/>
              <a:ext cx="821275" cy="307978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430123D-D620-4A5E-9A07-4D5CAA931EA1}"/>
                </a:ext>
              </a:extLst>
            </p:cNvPr>
            <p:cNvSpPr/>
            <p:nvPr userDrawn="1"/>
          </p:nvSpPr>
          <p:spPr>
            <a:xfrm>
              <a:off x="8633212" y="2939404"/>
              <a:ext cx="964998" cy="1067657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BE9EB2D5-1706-4CF2-B42C-53FD6DC1335D}"/>
                </a:ext>
              </a:extLst>
            </p:cNvPr>
            <p:cNvSpPr/>
            <p:nvPr userDrawn="1"/>
          </p:nvSpPr>
          <p:spPr>
            <a:xfrm>
              <a:off x="8881647" y="2939404"/>
              <a:ext cx="379840" cy="1067657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6DBFE9F4-C75C-4280-80CB-0069665FA8C5}"/>
                </a:ext>
              </a:extLst>
            </p:cNvPr>
            <p:cNvSpPr/>
            <p:nvPr userDrawn="1"/>
          </p:nvSpPr>
          <p:spPr>
            <a:xfrm>
              <a:off x="7274002" y="2936324"/>
              <a:ext cx="1837603" cy="1067657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4032314-CE39-4345-B477-F29771244E2B}"/>
                </a:ext>
              </a:extLst>
            </p:cNvPr>
            <p:cNvSpPr/>
            <p:nvPr userDrawn="1"/>
          </p:nvSpPr>
          <p:spPr>
            <a:xfrm>
              <a:off x="8488463" y="2936324"/>
              <a:ext cx="626222" cy="1098455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258D5F4-633F-4C1A-84A7-B701846BC81D}"/>
                </a:ext>
              </a:extLst>
            </p:cNvPr>
            <p:cNvSpPr/>
            <p:nvPr userDrawn="1"/>
          </p:nvSpPr>
          <p:spPr>
            <a:xfrm>
              <a:off x="9114685" y="2936324"/>
              <a:ext cx="718615" cy="1077923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34B3664-3BE2-40D8-B2A2-960EB9301029}"/>
                </a:ext>
              </a:extLst>
            </p:cNvPr>
            <p:cNvSpPr/>
            <p:nvPr userDrawn="1"/>
          </p:nvSpPr>
          <p:spPr>
            <a:xfrm>
              <a:off x="8484801" y="3925210"/>
              <a:ext cx="10266" cy="112925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954A571-3A37-44E9-9834-A8FDA5CBCFCF}"/>
                </a:ext>
              </a:extLst>
            </p:cNvPr>
            <p:cNvSpPr/>
            <p:nvPr userDrawn="1"/>
          </p:nvSpPr>
          <p:spPr>
            <a:xfrm>
              <a:off x="7097293" y="3926300"/>
              <a:ext cx="10266" cy="112925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CD0001E-ABFC-4011-84A3-C6FF0B777A7D}"/>
                </a:ext>
              </a:extLst>
            </p:cNvPr>
            <p:cNvSpPr/>
            <p:nvPr userDrawn="1"/>
          </p:nvSpPr>
          <p:spPr>
            <a:xfrm>
              <a:off x="8786691" y="3922880"/>
              <a:ext cx="71861" cy="102659"/>
            </a:xfrm>
            <a:custGeom>
              <a:avLst/>
              <a:gdLst>
                <a:gd name="connsiteX0" fmla="*/ 3545 w 99379"/>
                <a:gd name="connsiteY0" fmla="*/ 123514 h 141970"/>
                <a:gd name="connsiteX1" fmla="*/ 23421 w 99379"/>
                <a:gd name="connsiteY1" fmla="*/ 0 h 141970"/>
                <a:gd name="connsiteX2" fmla="*/ 23421 w 99379"/>
                <a:gd name="connsiteY2" fmla="*/ 97959 h 141970"/>
                <a:gd name="connsiteX3" fmla="*/ 48976 w 99379"/>
                <a:gd name="connsiteY3" fmla="*/ 62467 h 141970"/>
                <a:gd name="connsiteX4" fmla="*/ 39038 w 99379"/>
                <a:gd name="connsiteY4" fmla="*/ 124934 h 141970"/>
                <a:gd name="connsiteX5" fmla="*/ 97246 w 99379"/>
                <a:gd name="connsiteY5" fmla="*/ 7099 h 141970"/>
                <a:gd name="connsiteX6" fmla="*/ 50395 w 99379"/>
                <a:gd name="connsiteY6" fmla="*/ 144810 h 141970"/>
                <a:gd name="connsiteX7" fmla="*/ 3545 w 99379"/>
                <a:gd name="connsiteY7" fmla="*/ 123514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379" h="141970">
                  <a:moveTo>
                    <a:pt x="3545" y="123514"/>
                  </a:moveTo>
                  <a:cubicBezTo>
                    <a:pt x="3545" y="123514"/>
                    <a:pt x="-12071" y="66726"/>
                    <a:pt x="23421" y="0"/>
                  </a:cubicBezTo>
                  <a:cubicBezTo>
                    <a:pt x="23421" y="0"/>
                    <a:pt x="4965" y="59627"/>
                    <a:pt x="23421" y="97959"/>
                  </a:cubicBezTo>
                  <a:cubicBezTo>
                    <a:pt x="23421" y="97959"/>
                    <a:pt x="36198" y="105058"/>
                    <a:pt x="48976" y="62467"/>
                  </a:cubicBezTo>
                  <a:cubicBezTo>
                    <a:pt x="48976" y="62467"/>
                    <a:pt x="50395" y="105058"/>
                    <a:pt x="39038" y="124934"/>
                  </a:cubicBezTo>
                  <a:cubicBezTo>
                    <a:pt x="27680" y="144810"/>
                    <a:pt x="95826" y="100799"/>
                    <a:pt x="97246" y="7099"/>
                  </a:cubicBezTo>
                  <a:cubicBezTo>
                    <a:pt x="97246" y="7099"/>
                    <a:pt x="115702" y="117835"/>
                    <a:pt x="50395" y="144810"/>
                  </a:cubicBezTo>
                  <a:cubicBezTo>
                    <a:pt x="-19170" y="171784"/>
                    <a:pt x="3545" y="123514"/>
                    <a:pt x="3545" y="123514"/>
                  </a:cubicBezTo>
                  <a:close/>
                </a:path>
              </a:pathLst>
            </a:custGeom>
            <a:solidFill>
              <a:schemeClr val="bg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B62ED5D-61D7-4A4C-B4FC-44CFC351CF7E}"/>
                </a:ext>
              </a:extLst>
            </p:cNvPr>
            <p:cNvSpPr/>
            <p:nvPr userDrawn="1"/>
          </p:nvSpPr>
          <p:spPr>
            <a:xfrm>
              <a:off x="8128128" y="4500852"/>
              <a:ext cx="30798" cy="41064"/>
            </a:xfrm>
            <a:custGeom>
              <a:avLst/>
              <a:gdLst>
                <a:gd name="connsiteX0" fmla="*/ 0 w 42591"/>
                <a:gd name="connsiteY0" fmla="*/ 52529 h 56788"/>
                <a:gd name="connsiteX1" fmla="*/ 0 w 42591"/>
                <a:gd name="connsiteY1" fmla="*/ 4259 h 56788"/>
                <a:gd name="connsiteX2" fmla="*/ 48270 w 42591"/>
                <a:gd name="connsiteY2" fmla="*/ 0 h 56788"/>
                <a:gd name="connsiteX3" fmla="*/ 55368 w 42591"/>
                <a:gd name="connsiteY3" fmla="*/ 55368 h 56788"/>
                <a:gd name="connsiteX4" fmla="*/ 0 w 42591"/>
                <a:gd name="connsiteY4" fmla="*/ 52529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56788">
                  <a:moveTo>
                    <a:pt x="0" y="52529"/>
                  </a:moveTo>
                  <a:cubicBezTo>
                    <a:pt x="0" y="52529"/>
                    <a:pt x="0" y="9938"/>
                    <a:pt x="0" y="4259"/>
                  </a:cubicBezTo>
                  <a:cubicBezTo>
                    <a:pt x="0" y="0"/>
                    <a:pt x="48270" y="0"/>
                    <a:pt x="48270" y="0"/>
                  </a:cubicBezTo>
                  <a:cubicBezTo>
                    <a:pt x="48270" y="0"/>
                    <a:pt x="51109" y="46850"/>
                    <a:pt x="55368" y="55368"/>
                  </a:cubicBezTo>
                  <a:cubicBezTo>
                    <a:pt x="56788" y="65306"/>
                    <a:pt x="0" y="52529"/>
                    <a:pt x="0" y="5252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29145B1-7797-4291-99BB-F1D8BCF39C81}"/>
                </a:ext>
              </a:extLst>
            </p:cNvPr>
            <p:cNvSpPr/>
            <p:nvPr userDrawn="1"/>
          </p:nvSpPr>
          <p:spPr>
            <a:xfrm>
              <a:off x="8064336" y="4528299"/>
              <a:ext cx="112925" cy="92393"/>
            </a:xfrm>
            <a:custGeom>
              <a:avLst/>
              <a:gdLst>
                <a:gd name="connsiteX0" fmla="*/ 122293 w 156167"/>
                <a:gd name="connsiteY0" fmla="*/ 11733 h 127773"/>
                <a:gd name="connsiteX1" fmla="*/ 89640 w 156167"/>
                <a:gd name="connsiteY1" fmla="*/ 3215 h 127773"/>
                <a:gd name="connsiteX2" fmla="*/ 75443 w 156167"/>
                <a:gd name="connsiteY2" fmla="*/ 15992 h 127773"/>
                <a:gd name="connsiteX3" fmla="*/ 34271 w 156167"/>
                <a:gd name="connsiteY3" fmla="*/ 74200 h 127773"/>
                <a:gd name="connsiteX4" fmla="*/ 199 w 156167"/>
                <a:gd name="connsiteY4" fmla="*/ 111112 h 127773"/>
                <a:gd name="connsiteX5" fmla="*/ 86800 w 156167"/>
                <a:gd name="connsiteY5" fmla="*/ 133827 h 127773"/>
                <a:gd name="connsiteX6" fmla="*/ 162045 w 156167"/>
                <a:gd name="connsiteY6" fmla="*/ 75620 h 127773"/>
                <a:gd name="connsiteX7" fmla="*/ 137910 w 156167"/>
                <a:gd name="connsiteY7" fmla="*/ 375 h 127773"/>
                <a:gd name="connsiteX8" fmla="*/ 122293 w 156167"/>
                <a:gd name="connsiteY8" fmla="*/ 1173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167" h="127773">
                  <a:moveTo>
                    <a:pt x="122293" y="11733"/>
                  </a:moveTo>
                  <a:cubicBezTo>
                    <a:pt x="122293" y="11733"/>
                    <a:pt x="102417" y="3215"/>
                    <a:pt x="89640" y="3215"/>
                  </a:cubicBezTo>
                  <a:cubicBezTo>
                    <a:pt x="76863" y="3215"/>
                    <a:pt x="78282" y="11733"/>
                    <a:pt x="75443" y="15992"/>
                  </a:cubicBezTo>
                  <a:cubicBezTo>
                    <a:pt x="72603" y="20251"/>
                    <a:pt x="41370" y="67101"/>
                    <a:pt x="34271" y="74200"/>
                  </a:cubicBezTo>
                  <a:cubicBezTo>
                    <a:pt x="25753" y="82718"/>
                    <a:pt x="-2641" y="91236"/>
                    <a:pt x="199" y="111112"/>
                  </a:cubicBezTo>
                  <a:cubicBezTo>
                    <a:pt x="4458" y="132408"/>
                    <a:pt x="41370" y="139506"/>
                    <a:pt x="86800" y="133827"/>
                  </a:cubicBezTo>
                  <a:cubicBezTo>
                    <a:pt x="132231" y="128149"/>
                    <a:pt x="154946" y="85558"/>
                    <a:pt x="162045" y="75620"/>
                  </a:cubicBezTo>
                  <a:cubicBezTo>
                    <a:pt x="169143" y="65682"/>
                    <a:pt x="145008" y="4635"/>
                    <a:pt x="137910" y="375"/>
                  </a:cubicBezTo>
                  <a:cubicBezTo>
                    <a:pt x="130811" y="-2464"/>
                    <a:pt x="122293" y="11733"/>
                    <a:pt x="122293" y="11733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616FFB5-4C94-4B3B-A454-1199474382D4}"/>
                </a:ext>
              </a:extLst>
            </p:cNvPr>
            <p:cNvSpPr/>
            <p:nvPr userDrawn="1"/>
          </p:nvSpPr>
          <p:spPr>
            <a:xfrm>
              <a:off x="7840682" y="4504959"/>
              <a:ext cx="41064" cy="41064"/>
            </a:xfrm>
            <a:custGeom>
              <a:avLst/>
              <a:gdLst>
                <a:gd name="connsiteX0" fmla="*/ 0 w 56788"/>
                <a:gd name="connsiteY0" fmla="*/ 39752 h 56788"/>
                <a:gd name="connsiteX1" fmla="*/ 11358 w 56788"/>
                <a:gd name="connsiteY1" fmla="*/ 0 h 56788"/>
                <a:gd name="connsiteX2" fmla="*/ 62467 w 56788"/>
                <a:gd name="connsiteY2" fmla="*/ 7099 h 56788"/>
                <a:gd name="connsiteX3" fmla="*/ 53949 w 56788"/>
                <a:gd name="connsiteY3" fmla="*/ 68146 h 56788"/>
                <a:gd name="connsiteX4" fmla="*/ 0 w 56788"/>
                <a:gd name="connsiteY4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0" y="39752"/>
                  </a:moveTo>
                  <a:lnTo>
                    <a:pt x="11358" y="0"/>
                  </a:lnTo>
                  <a:lnTo>
                    <a:pt x="62467" y="7099"/>
                  </a:lnTo>
                  <a:cubicBezTo>
                    <a:pt x="62467" y="7099"/>
                    <a:pt x="51109" y="61047"/>
                    <a:pt x="53949" y="68146"/>
                  </a:cubicBezTo>
                  <a:cubicBezTo>
                    <a:pt x="55368" y="73824"/>
                    <a:pt x="0" y="39752"/>
                    <a:pt x="0" y="3975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524160B-6216-40F3-BD61-34D0F83259F7}"/>
                </a:ext>
              </a:extLst>
            </p:cNvPr>
            <p:cNvSpPr/>
            <p:nvPr userDrawn="1"/>
          </p:nvSpPr>
          <p:spPr>
            <a:xfrm>
              <a:off x="7928969" y="3378786"/>
              <a:ext cx="112925" cy="472233"/>
            </a:xfrm>
            <a:custGeom>
              <a:avLst/>
              <a:gdLst>
                <a:gd name="connsiteX0" fmla="*/ 28394 w 156167"/>
                <a:gd name="connsiteY0" fmla="*/ 0 h 653062"/>
                <a:gd name="connsiteX1" fmla="*/ 15617 w 156167"/>
                <a:gd name="connsiteY1" fmla="*/ 288200 h 653062"/>
                <a:gd name="connsiteX2" fmla="*/ 0 w 156167"/>
                <a:gd name="connsiteY2" fmla="*/ 661581 h 653062"/>
                <a:gd name="connsiteX3" fmla="*/ 161846 w 156167"/>
                <a:gd name="connsiteY3" fmla="*/ 424491 h 653062"/>
                <a:gd name="connsiteX4" fmla="*/ 28394 w 156167"/>
                <a:gd name="connsiteY4" fmla="*/ 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167" h="653062">
                  <a:moveTo>
                    <a:pt x="28394" y="0"/>
                  </a:moveTo>
                  <a:cubicBezTo>
                    <a:pt x="28394" y="0"/>
                    <a:pt x="-1420" y="144810"/>
                    <a:pt x="15617" y="288200"/>
                  </a:cubicBezTo>
                  <a:cubicBezTo>
                    <a:pt x="32653" y="431589"/>
                    <a:pt x="0" y="661581"/>
                    <a:pt x="0" y="661581"/>
                  </a:cubicBezTo>
                  <a:lnTo>
                    <a:pt x="161846" y="424491"/>
                  </a:lnTo>
                  <a:lnTo>
                    <a:pt x="28394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F0C22E3-7487-4B2A-AC51-719065737815}"/>
                </a:ext>
              </a:extLst>
            </p:cNvPr>
            <p:cNvSpPr/>
            <p:nvPr userDrawn="1"/>
          </p:nvSpPr>
          <p:spPr>
            <a:xfrm>
              <a:off x="7830416" y="3691340"/>
              <a:ext cx="369574" cy="821275"/>
            </a:xfrm>
            <a:custGeom>
              <a:avLst/>
              <a:gdLst>
                <a:gd name="connsiteX0" fmla="*/ 187401 w 511092"/>
                <a:gd name="connsiteY0" fmla="*/ 132802 h 1135761"/>
                <a:gd name="connsiteX1" fmla="*/ 139131 w 511092"/>
                <a:gd name="connsiteY1" fmla="*/ 361374 h 1135761"/>
                <a:gd name="connsiteX2" fmla="*/ 102219 w 511092"/>
                <a:gd name="connsiteY2" fmla="*/ 666610 h 1135761"/>
                <a:gd name="connsiteX3" fmla="*/ 62467 w 511092"/>
                <a:gd name="connsiteY3" fmla="*/ 859689 h 1135761"/>
                <a:gd name="connsiteX4" fmla="*/ 0 w 511092"/>
                <a:gd name="connsiteY4" fmla="*/ 1140790 h 1135761"/>
                <a:gd name="connsiteX5" fmla="*/ 86602 w 511092"/>
                <a:gd name="connsiteY5" fmla="*/ 1142210 h 1135761"/>
                <a:gd name="connsiteX6" fmla="*/ 176043 w 511092"/>
                <a:gd name="connsiteY6" fmla="*/ 825617 h 1135761"/>
                <a:gd name="connsiteX7" fmla="*/ 238510 w 511092"/>
                <a:gd name="connsiteY7" fmla="*/ 589946 h 1135761"/>
                <a:gd name="connsiteX8" fmla="*/ 342148 w 511092"/>
                <a:gd name="connsiteY8" fmla="*/ 318783 h 1135761"/>
                <a:gd name="connsiteX9" fmla="*/ 347827 w 511092"/>
                <a:gd name="connsiteY9" fmla="*/ 364213 h 1135761"/>
                <a:gd name="connsiteX10" fmla="*/ 379060 w 511092"/>
                <a:gd name="connsiteY10" fmla="*/ 659511 h 1135761"/>
                <a:gd name="connsiteX11" fmla="*/ 384739 w 511092"/>
                <a:gd name="connsiteY11" fmla="*/ 845492 h 1135761"/>
                <a:gd name="connsiteX12" fmla="*/ 397517 w 511092"/>
                <a:gd name="connsiteY12" fmla="*/ 1135111 h 1135761"/>
                <a:gd name="connsiteX13" fmla="*/ 478440 w 511092"/>
                <a:gd name="connsiteY13" fmla="*/ 1126593 h 1135761"/>
                <a:gd name="connsiteX14" fmla="*/ 484118 w 511092"/>
                <a:gd name="connsiteY14" fmla="*/ 808580 h 1135761"/>
                <a:gd name="connsiteX15" fmla="*/ 488377 w 511092"/>
                <a:gd name="connsiteY15" fmla="*/ 633957 h 1135761"/>
                <a:gd name="connsiteX16" fmla="*/ 481279 w 511092"/>
                <a:gd name="connsiteY16" fmla="*/ 158356 h 1135761"/>
                <a:gd name="connsiteX17" fmla="*/ 187401 w 511092"/>
                <a:gd name="connsiteY17" fmla="*/ 132802 h 11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092" h="1135761">
                  <a:moveTo>
                    <a:pt x="187401" y="132802"/>
                  </a:moveTo>
                  <a:cubicBezTo>
                    <a:pt x="187401" y="132802"/>
                    <a:pt x="147649" y="314524"/>
                    <a:pt x="139131" y="361374"/>
                  </a:cubicBezTo>
                  <a:cubicBezTo>
                    <a:pt x="130613" y="406804"/>
                    <a:pt x="105058" y="629698"/>
                    <a:pt x="102219" y="666610"/>
                  </a:cubicBezTo>
                  <a:cubicBezTo>
                    <a:pt x="99379" y="704942"/>
                    <a:pt x="61047" y="846912"/>
                    <a:pt x="62467" y="859689"/>
                  </a:cubicBezTo>
                  <a:cubicBezTo>
                    <a:pt x="63887" y="873886"/>
                    <a:pt x="0" y="1140790"/>
                    <a:pt x="0" y="1140790"/>
                  </a:cubicBezTo>
                  <a:cubicBezTo>
                    <a:pt x="0" y="1140790"/>
                    <a:pt x="68146" y="1149308"/>
                    <a:pt x="86602" y="1142210"/>
                  </a:cubicBezTo>
                  <a:cubicBezTo>
                    <a:pt x="99379" y="1137951"/>
                    <a:pt x="176043" y="892342"/>
                    <a:pt x="176043" y="825617"/>
                  </a:cubicBezTo>
                  <a:cubicBezTo>
                    <a:pt x="176043" y="731916"/>
                    <a:pt x="231411" y="611241"/>
                    <a:pt x="238510" y="589946"/>
                  </a:cubicBezTo>
                  <a:cubicBezTo>
                    <a:pt x="316594" y="381250"/>
                    <a:pt x="330791" y="331560"/>
                    <a:pt x="342148" y="318783"/>
                  </a:cubicBezTo>
                  <a:cubicBezTo>
                    <a:pt x="342148" y="318783"/>
                    <a:pt x="343568" y="335819"/>
                    <a:pt x="347827" y="364213"/>
                  </a:cubicBezTo>
                  <a:cubicBezTo>
                    <a:pt x="352086" y="396866"/>
                    <a:pt x="370542" y="629698"/>
                    <a:pt x="379060" y="659511"/>
                  </a:cubicBezTo>
                  <a:cubicBezTo>
                    <a:pt x="387579" y="690745"/>
                    <a:pt x="380480" y="792963"/>
                    <a:pt x="384739" y="845492"/>
                  </a:cubicBezTo>
                  <a:cubicBezTo>
                    <a:pt x="388998" y="898021"/>
                    <a:pt x="397517" y="1135111"/>
                    <a:pt x="397517" y="1135111"/>
                  </a:cubicBezTo>
                  <a:cubicBezTo>
                    <a:pt x="397517" y="1135111"/>
                    <a:pt x="459983" y="1136531"/>
                    <a:pt x="478440" y="1126593"/>
                  </a:cubicBezTo>
                  <a:cubicBezTo>
                    <a:pt x="484118" y="1123754"/>
                    <a:pt x="484118" y="871047"/>
                    <a:pt x="484118" y="808580"/>
                  </a:cubicBezTo>
                  <a:cubicBezTo>
                    <a:pt x="485538" y="746113"/>
                    <a:pt x="485538" y="660931"/>
                    <a:pt x="488377" y="633957"/>
                  </a:cubicBezTo>
                  <a:cubicBezTo>
                    <a:pt x="505414" y="376991"/>
                    <a:pt x="546585" y="340078"/>
                    <a:pt x="481279" y="158356"/>
                  </a:cubicBezTo>
                  <a:cubicBezTo>
                    <a:pt x="359185" y="-182372"/>
                    <a:pt x="187401" y="132802"/>
                    <a:pt x="187401" y="132802"/>
                  </a:cubicBezTo>
                  <a:close/>
                </a:path>
              </a:pathLst>
            </a:custGeom>
            <a:solidFill>
              <a:schemeClr val="tx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13B4D03-5A6C-4882-9613-36F27E51D5B4}"/>
                </a:ext>
              </a:extLst>
            </p:cNvPr>
            <p:cNvSpPr/>
            <p:nvPr userDrawn="1"/>
          </p:nvSpPr>
          <p:spPr>
            <a:xfrm>
              <a:off x="7918643" y="3343015"/>
              <a:ext cx="266915" cy="472233"/>
            </a:xfrm>
            <a:custGeom>
              <a:avLst/>
              <a:gdLst>
                <a:gd name="connsiteX0" fmla="*/ 34156 w 369122"/>
                <a:gd name="connsiteY0" fmla="*/ 82120 h 653062"/>
                <a:gd name="connsiteX1" fmla="*/ 1503 w 369122"/>
                <a:gd name="connsiteY1" fmla="*/ 287977 h 653062"/>
                <a:gd name="connsiteX2" fmla="*/ 62550 w 369122"/>
                <a:gd name="connsiteY2" fmla="*/ 360382 h 653062"/>
                <a:gd name="connsiteX3" fmla="*/ 95204 w 369122"/>
                <a:gd name="connsiteY3" fmla="*/ 481057 h 653062"/>
                <a:gd name="connsiteX4" fmla="*/ 65390 w 369122"/>
                <a:gd name="connsiteY4" fmla="*/ 614509 h 653062"/>
                <a:gd name="connsiteX5" fmla="*/ 373465 w 369122"/>
                <a:gd name="connsiteY5" fmla="*/ 581856 h 653062"/>
                <a:gd name="connsiteX6" fmla="*/ 316677 w 369122"/>
                <a:gd name="connsiteY6" fmla="*/ 404393 h 653062"/>
                <a:gd name="connsiteX7" fmla="*/ 316677 w 369122"/>
                <a:gd name="connsiteY7" fmla="*/ 248226 h 653062"/>
                <a:gd name="connsiteX8" fmla="*/ 325195 w 369122"/>
                <a:gd name="connsiteY8" fmla="*/ 69343 h 653062"/>
                <a:gd name="connsiteX9" fmla="*/ 176127 w 369122"/>
                <a:gd name="connsiteY9" fmla="*/ 1197 h 653062"/>
                <a:gd name="connsiteX10" fmla="*/ 34156 w 369122"/>
                <a:gd name="connsiteY10" fmla="*/ 8212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122" h="653062">
                  <a:moveTo>
                    <a:pt x="34156" y="82120"/>
                  </a:moveTo>
                  <a:cubicBezTo>
                    <a:pt x="34156" y="82120"/>
                    <a:pt x="-8435" y="253904"/>
                    <a:pt x="1503" y="287977"/>
                  </a:cubicBezTo>
                  <a:cubicBezTo>
                    <a:pt x="11441" y="322050"/>
                    <a:pt x="61131" y="356123"/>
                    <a:pt x="62550" y="360382"/>
                  </a:cubicBezTo>
                  <a:cubicBezTo>
                    <a:pt x="63970" y="364641"/>
                    <a:pt x="95204" y="464020"/>
                    <a:pt x="95204" y="481057"/>
                  </a:cubicBezTo>
                  <a:cubicBezTo>
                    <a:pt x="93784" y="498093"/>
                    <a:pt x="65390" y="614509"/>
                    <a:pt x="65390" y="614509"/>
                  </a:cubicBezTo>
                  <a:cubicBezTo>
                    <a:pt x="65390" y="614509"/>
                    <a:pt x="214458" y="722406"/>
                    <a:pt x="373465" y="581856"/>
                  </a:cubicBezTo>
                  <a:cubicBezTo>
                    <a:pt x="373465" y="581856"/>
                    <a:pt x="318097" y="420009"/>
                    <a:pt x="316677" y="404393"/>
                  </a:cubicBezTo>
                  <a:cubicBezTo>
                    <a:pt x="315257" y="387356"/>
                    <a:pt x="310998" y="263842"/>
                    <a:pt x="316677" y="248226"/>
                  </a:cubicBezTo>
                  <a:cubicBezTo>
                    <a:pt x="322356" y="232609"/>
                    <a:pt x="332294" y="83540"/>
                    <a:pt x="325195" y="69343"/>
                  </a:cubicBezTo>
                  <a:cubicBezTo>
                    <a:pt x="318097" y="55146"/>
                    <a:pt x="237174" y="13975"/>
                    <a:pt x="176127" y="1197"/>
                  </a:cubicBezTo>
                  <a:cubicBezTo>
                    <a:pt x="115079" y="-11580"/>
                    <a:pt x="34156" y="82120"/>
                    <a:pt x="34156" y="82120"/>
                  </a:cubicBezTo>
                  <a:close/>
                </a:path>
              </a:pathLst>
            </a:custGeom>
            <a:solidFill>
              <a:srgbClr val="FFF8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F0E20C01-3332-437A-B480-982B81CA2EB6}"/>
                </a:ext>
              </a:extLst>
            </p:cNvPr>
            <p:cNvSpPr/>
            <p:nvPr userDrawn="1"/>
          </p:nvSpPr>
          <p:spPr>
            <a:xfrm>
              <a:off x="8048885" y="3345935"/>
              <a:ext cx="195052" cy="605690"/>
            </a:xfrm>
            <a:custGeom>
              <a:avLst/>
              <a:gdLst>
                <a:gd name="connsiteX0" fmla="*/ 245879 w 269743"/>
                <a:gd name="connsiteY0" fmla="*/ 848982 h 837624"/>
                <a:gd name="connsiteX1" fmla="*/ 176313 w 269743"/>
                <a:gd name="connsiteY1" fmla="*/ 667260 h 837624"/>
                <a:gd name="connsiteX2" fmla="*/ 149339 w 269743"/>
                <a:gd name="connsiteY2" fmla="*/ 609052 h 837624"/>
                <a:gd name="connsiteX3" fmla="*/ 128043 w 269743"/>
                <a:gd name="connsiteY3" fmla="*/ 563622 h 837624"/>
                <a:gd name="connsiteX4" fmla="*/ 17307 w 269743"/>
                <a:gd name="connsiteY4" fmla="*/ 303816 h 837624"/>
                <a:gd name="connsiteX5" fmla="*/ 18726 w 269743"/>
                <a:gd name="connsiteY5" fmla="*/ 0 h 837624"/>
                <a:gd name="connsiteX6" fmla="*/ 18726 w 269743"/>
                <a:gd name="connsiteY6" fmla="*/ 0 h 837624"/>
                <a:gd name="connsiteX7" fmla="*/ 143660 w 269743"/>
                <a:gd name="connsiteY7" fmla="*/ 53949 h 837624"/>
                <a:gd name="connsiteX8" fmla="*/ 143660 w 269743"/>
                <a:gd name="connsiteY8" fmla="*/ 53949 h 837624"/>
                <a:gd name="connsiteX9" fmla="*/ 145080 w 269743"/>
                <a:gd name="connsiteY9" fmla="*/ 56788 h 837624"/>
                <a:gd name="connsiteX10" fmla="*/ 180572 w 269743"/>
                <a:gd name="connsiteY10" fmla="*/ 140551 h 837624"/>
                <a:gd name="connsiteX11" fmla="*/ 143660 w 269743"/>
                <a:gd name="connsiteY11" fmla="*/ 191660 h 837624"/>
                <a:gd name="connsiteX12" fmla="*/ 132303 w 269743"/>
                <a:gd name="connsiteY12" fmla="*/ 238510 h 837624"/>
                <a:gd name="connsiteX13" fmla="*/ 133722 w 269743"/>
                <a:gd name="connsiteY13" fmla="*/ 259805 h 837624"/>
                <a:gd name="connsiteX14" fmla="*/ 135142 w 269743"/>
                <a:gd name="connsiteY14" fmla="*/ 266904 h 837624"/>
                <a:gd name="connsiteX15" fmla="*/ 176313 w 269743"/>
                <a:gd name="connsiteY15" fmla="*/ 396097 h 837624"/>
                <a:gd name="connsiteX16" fmla="*/ 179153 w 269743"/>
                <a:gd name="connsiteY16" fmla="*/ 414553 h 837624"/>
                <a:gd name="connsiteX17" fmla="*/ 179153 w 269743"/>
                <a:gd name="connsiteY17" fmla="*/ 414553 h 837624"/>
                <a:gd name="connsiteX18" fmla="*/ 179153 w 269743"/>
                <a:gd name="connsiteY18" fmla="*/ 414553 h 837624"/>
                <a:gd name="connsiteX19" fmla="*/ 193350 w 269743"/>
                <a:gd name="connsiteY19" fmla="*/ 458564 h 837624"/>
                <a:gd name="connsiteX20" fmla="*/ 196189 w 269743"/>
                <a:gd name="connsiteY20" fmla="*/ 464243 h 837624"/>
                <a:gd name="connsiteX21" fmla="*/ 196189 w 269743"/>
                <a:gd name="connsiteY21" fmla="*/ 464243 h 837624"/>
                <a:gd name="connsiteX22" fmla="*/ 234521 w 269743"/>
                <a:gd name="connsiteY22" fmla="*/ 549425 h 837624"/>
                <a:gd name="connsiteX23" fmla="*/ 282791 w 269743"/>
                <a:gd name="connsiteY23" fmla="*/ 685716 h 837624"/>
                <a:gd name="connsiteX24" fmla="*/ 245879 w 269743"/>
                <a:gd name="connsiteY24" fmla="*/ 848982 h 83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9743" h="837624">
                  <a:moveTo>
                    <a:pt x="245879" y="848982"/>
                  </a:moveTo>
                  <a:cubicBezTo>
                    <a:pt x="244459" y="819168"/>
                    <a:pt x="214645" y="749603"/>
                    <a:pt x="176313" y="667260"/>
                  </a:cubicBezTo>
                  <a:cubicBezTo>
                    <a:pt x="167795" y="648804"/>
                    <a:pt x="157857" y="628928"/>
                    <a:pt x="149339" y="609052"/>
                  </a:cubicBezTo>
                  <a:cubicBezTo>
                    <a:pt x="142241" y="593435"/>
                    <a:pt x="135142" y="579238"/>
                    <a:pt x="128043" y="563622"/>
                  </a:cubicBezTo>
                  <a:cubicBezTo>
                    <a:pt x="81193" y="464243"/>
                    <a:pt x="34343" y="364863"/>
                    <a:pt x="17307" y="303816"/>
                  </a:cubicBezTo>
                  <a:cubicBezTo>
                    <a:pt x="-22445" y="167525"/>
                    <a:pt x="18726" y="0"/>
                    <a:pt x="18726" y="0"/>
                  </a:cubicBezTo>
                  <a:cubicBezTo>
                    <a:pt x="18726" y="0"/>
                    <a:pt x="18726" y="0"/>
                    <a:pt x="18726" y="0"/>
                  </a:cubicBezTo>
                  <a:cubicBezTo>
                    <a:pt x="64157" y="8518"/>
                    <a:pt x="128043" y="34073"/>
                    <a:pt x="143660" y="53949"/>
                  </a:cubicBezTo>
                  <a:cubicBezTo>
                    <a:pt x="143660" y="53949"/>
                    <a:pt x="143660" y="53949"/>
                    <a:pt x="143660" y="53949"/>
                  </a:cubicBezTo>
                  <a:cubicBezTo>
                    <a:pt x="143660" y="55368"/>
                    <a:pt x="145080" y="55368"/>
                    <a:pt x="145080" y="56788"/>
                  </a:cubicBezTo>
                  <a:cubicBezTo>
                    <a:pt x="150759" y="66726"/>
                    <a:pt x="164956" y="109317"/>
                    <a:pt x="180572" y="140551"/>
                  </a:cubicBezTo>
                  <a:cubicBezTo>
                    <a:pt x="180572" y="140551"/>
                    <a:pt x="159277" y="156167"/>
                    <a:pt x="143660" y="191660"/>
                  </a:cubicBezTo>
                  <a:cubicBezTo>
                    <a:pt x="137981" y="205857"/>
                    <a:pt x="132303" y="222893"/>
                    <a:pt x="132303" y="238510"/>
                  </a:cubicBezTo>
                  <a:cubicBezTo>
                    <a:pt x="132303" y="245608"/>
                    <a:pt x="132303" y="252707"/>
                    <a:pt x="133722" y="259805"/>
                  </a:cubicBezTo>
                  <a:cubicBezTo>
                    <a:pt x="133722" y="262645"/>
                    <a:pt x="135142" y="264065"/>
                    <a:pt x="135142" y="266904"/>
                  </a:cubicBezTo>
                  <a:cubicBezTo>
                    <a:pt x="155018" y="327951"/>
                    <a:pt x="176313" y="396097"/>
                    <a:pt x="176313" y="396097"/>
                  </a:cubicBezTo>
                  <a:cubicBezTo>
                    <a:pt x="176313" y="401776"/>
                    <a:pt x="177733" y="408874"/>
                    <a:pt x="179153" y="414553"/>
                  </a:cubicBezTo>
                  <a:cubicBezTo>
                    <a:pt x="179153" y="414553"/>
                    <a:pt x="179153" y="414553"/>
                    <a:pt x="179153" y="414553"/>
                  </a:cubicBezTo>
                  <a:lnTo>
                    <a:pt x="179153" y="414553"/>
                  </a:lnTo>
                  <a:cubicBezTo>
                    <a:pt x="181992" y="428750"/>
                    <a:pt x="187671" y="442947"/>
                    <a:pt x="193350" y="458564"/>
                  </a:cubicBezTo>
                  <a:cubicBezTo>
                    <a:pt x="194769" y="459983"/>
                    <a:pt x="194769" y="462823"/>
                    <a:pt x="196189" y="464243"/>
                  </a:cubicBezTo>
                  <a:cubicBezTo>
                    <a:pt x="196189" y="464243"/>
                    <a:pt x="196189" y="464243"/>
                    <a:pt x="196189" y="464243"/>
                  </a:cubicBezTo>
                  <a:cubicBezTo>
                    <a:pt x="207547" y="491217"/>
                    <a:pt x="221744" y="519611"/>
                    <a:pt x="234521" y="549425"/>
                  </a:cubicBezTo>
                  <a:cubicBezTo>
                    <a:pt x="257236" y="597695"/>
                    <a:pt x="278532" y="645965"/>
                    <a:pt x="282791" y="685716"/>
                  </a:cubicBezTo>
                  <a:cubicBezTo>
                    <a:pt x="289889" y="777997"/>
                    <a:pt x="245879" y="848982"/>
                    <a:pt x="245879" y="848982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D8BF4A5-1D16-4E17-BE55-68CA03F62CD5}"/>
                </a:ext>
              </a:extLst>
            </p:cNvPr>
            <p:cNvSpPr/>
            <p:nvPr userDrawn="1"/>
          </p:nvSpPr>
          <p:spPr>
            <a:xfrm>
              <a:off x="8121969" y="3505954"/>
              <a:ext cx="61596" cy="174521"/>
            </a:xfrm>
            <a:custGeom>
              <a:avLst/>
              <a:gdLst>
                <a:gd name="connsiteX0" fmla="*/ 93700 w 85182"/>
                <a:gd name="connsiteY0" fmla="*/ 245788 h 241349"/>
                <a:gd name="connsiteX1" fmla="*/ 0 w 85182"/>
                <a:gd name="connsiteY1" fmla="*/ 179 h 241349"/>
                <a:gd name="connsiteX2" fmla="*/ 29814 w 85182"/>
                <a:gd name="connsiteY2" fmla="*/ 18635 h 241349"/>
                <a:gd name="connsiteX3" fmla="*/ 76664 w 85182"/>
                <a:gd name="connsiteY3" fmla="*/ 196098 h 241349"/>
                <a:gd name="connsiteX4" fmla="*/ 76664 w 85182"/>
                <a:gd name="connsiteY4" fmla="*/ 196098 h 241349"/>
                <a:gd name="connsiteX5" fmla="*/ 76664 w 85182"/>
                <a:gd name="connsiteY5" fmla="*/ 196098 h 241349"/>
                <a:gd name="connsiteX6" fmla="*/ 90861 w 85182"/>
                <a:gd name="connsiteY6" fmla="*/ 240109 h 241349"/>
                <a:gd name="connsiteX7" fmla="*/ 93700 w 85182"/>
                <a:gd name="connsiteY7" fmla="*/ 245788 h 241349"/>
                <a:gd name="connsiteX8" fmla="*/ 93700 w 85182"/>
                <a:gd name="connsiteY8" fmla="*/ 24578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241349">
                  <a:moveTo>
                    <a:pt x="93700" y="245788"/>
                  </a:moveTo>
                  <a:cubicBezTo>
                    <a:pt x="53949" y="203196"/>
                    <a:pt x="0" y="179"/>
                    <a:pt x="0" y="179"/>
                  </a:cubicBezTo>
                  <a:cubicBezTo>
                    <a:pt x="11358" y="-1241"/>
                    <a:pt x="21296" y="5858"/>
                    <a:pt x="29814" y="18635"/>
                  </a:cubicBezTo>
                  <a:cubicBezTo>
                    <a:pt x="62467" y="65485"/>
                    <a:pt x="76664" y="190419"/>
                    <a:pt x="76664" y="196098"/>
                  </a:cubicBezTo>
                  <a:cubicBezTo>
                    <a:pt x="76664" y="196098"/>
                    <a:pt x="76664" y="196098"/>
                    <a:pt x="76664" y="196098"/>
                  </a:cubicBezTo>
                  <a:lnTo>
                    <a:pt x="76664" y="196098"/>
                  </a:lnTo>
                  <a:cubicBezTo>
                    <a:pt x="79503" y="210295"/>
                    <a:pt x="85182" y="224492"/>
                    <a:pt x="90861" y="240109"/>
                  </a:cubicBezTo>
                  <a:cubicBezTo>
                    <a:pt x="90861" y="241528"/>
                    <a:pt x="92281" y="242948"/>
                    <a:pt x="93700" y="245788"/>
                  </a:cubicBezTo>
                  <a:cubicBezTo>
                    <a:pt x="93700" y="245788"/>
                    <a:pt x="93700" y="245788"/>
                    <a:pt x="93700" y="245788"/>
                  </a:cubicBez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06FBCD7-95F1-4F79-B3A4-74394546FCE1}"/>
                </a:ext>
              </a:extLst>
            </p:cNvPr>
            <p:cNvSpPr/>
            <p:nvPr userDrawn="1"/>
          </p:nvSpPr>
          <p:spPr>
            <a:xfrm>
              <a:off x="8322154" y="3679930"/>
              <a:ext cx="71861" cy="92393"/>
            </a:xfrm>
            <a:custGeom>
              <a:avLst/>
              <a:gdLst>
                <a:gd name="connsiteX0" fmla="*/ 18456 w 99379"/>
                <a:gd name="connsiteY0" fmla="*/ 46363 h 127773"/>
                <a:gd name="connsiteX1" fmla="*/ 51109 w 99379"/>
                <a:gd name="connsiteY1" fmla="*/ 43524 h 127773"/>
                <a:gd name="connsiteX2" fmla="*/ 75244 w 99379"/>
                <a:gd name="connsiteY2" fmla="*/ 15130 h 127773"/>
                <a:gd name="connsiteX3" fmla="*/ 92281 w 99379"/>
                <a:gd name="connsiteY3" fmla="*/ 2352 h 127773"/>
                <a:gd name="connsiteX4" fmla="*/ 75244 w 99379"/>
                <a:gd name="connsiteY4" fmla="*/ 54881 h 127773"/>
                <a:gd name="connsiteX5" fmla="*/ 106478 w 99379"/>
                <a:gd name="connsiteY5" fmla="*/ 73337 h 127773"/>
                <a:gd name="connsiteX6" fmla="*/ 72405 w 99379"/>
                <a:gd name="connsiteY6" fmla="*/ 127286 h 127773"/>
                <a:gd name="connsiteX7" fmla="*/ 31234 w 99379"/>
                <a:gd name="connsiteY7" fmla="*/ 94633 h 127773"/>
                <a:gd name="connsiteX8" fmla="*/ 0 w 99379"/>
                <a:gd name="connsiteY8" fmla="*/ 81856 h 127773"/>
                <a:gd name="connsiteX9" fmla="*/ 18456 w 99379"/>
                <a:gd name="connsiteY9" fmla="*/ 4636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79" h="127773">
                  <a:moveTo>
                    <a:pt x="18456" y="46363"/>
                  </a:moveTo>
                  <a:cubicBezTo>
                    <a:pt x="18456" y="46363"/>
                    <a:pt x="41171" y="54881"/>
                    <a:pt x="51109" y="43524"/>
                  </a:cubicBezTo>
                  <a:cubicBezTo>
                    <a:pt x="59628" y="35005"/>
                    <a:pt x="73825" y="19389"/>
                    <a:pt x="75244" y="15130"/>
                  </a:cubicBezTo>
                  <a:cubicBezTo>
                    <a:pt x="76664" y="10870"/>
                    <a:pt x="89441" y="-6166"/>
                    <a:pt x="92281" y="2352"/>
                  </a:cubicBezTo>
                  <a:cubicBezTo>
                    <a:pt x="95120" y="10870"/>
                    <a:pt x="80923" y="49202"/>
                    <a:pt x="75244" y="54881"/>
                  </a:cubicBezTo>
                  <a:cubicBezTo>
                    <a:pt x="69566" y="59140"/>
                    <a:pt x="102219" y="67659"/>
                    <a:pt x="106478" y="73337"/>
                  </a:cubicBezTo>
                  <a:cubicBezTo>
                    <a:pt x="110737" y="79016"/>
                    <a:pt x="93700" y="135804"/>
                    <a:pt x="72405" y="127286"/>
                  </a:cubicBezTo>
                  <a:cubicBezTo>
                    <a:pt x="51109" y="118768"/>
                    <a:pt x="34073" y="96053"/>
                    <a:pt x="31234" y="94633"/>
                  </a:cubicBezTo>
                  <a:cubicBezTo>
                    <a:pt x="25555" y="91794"/>
                    <a:pt x="0" y="81856"/>
                    <a:pt x="0" y="81856"/>
                  </a:cubicBezTo>
                  <a:lnTo>
                    <a:pt x="18456" y="46363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2CAC3AA-1893-4C77-86B3-875F4D6D04F9}"/>
                </a:ext>
              </a:extLst>
            </p:cNvPr>
            <p:cNvSpPr/>
            <p:nvPr userDrawn="1"/>
          </p:nvSpPr>
          <p:spPr>
            <a:xfrm>
              <a:off x="8375538" y="3730907"/>
              <a:ext cx="71861" cy="61596"/>
            </a:xfrm>
            <a:custGeom>
              <a:avLst/>
              <a:gdLst>
                <a:gd name="connsiteX0" fmla="*/ 26974 w 99379"/>
                <a:gd name="connsiteY0" fmla="*/ 0 h 85182"/>
                <a:gd name="connsiteX1" fmla="*/ 95120 w 99379"/>
                <a:gd name="connsiteY1" fmla="*/ 35493 h 85182"/>
                <a:gd name="connsiteX2" fmla="*/ 89441 w 99379"/>
                <a:gd name="connsiteY2" fmla="*/ 42591 h 85182"/>
                <a:gd name="connsiteX3" fmla="*/ 25554 w 99379"/>
                <a:gd name="connsiteY3" fmla="*/ 15617 h 85182"/>
                <a:gd name="connsiteX4" fmla="*/ 100799 w 99379"/>
                <a:gd name="connsiteY4" fmla="*/ 68146 h 85182"/>
                <a:gd name="connsiteX5" fmla="*/ 96540 w 99379"/>
                <a:gd name="connsiteY5" fmla="*/ 76664 h 85182"/>
                <a:gd name="connsiteX6" fmla="*/ 19876 w 99379"/>
                <a:gd name="connsiteY6" fmla="*/ 32653 h 85182"/>
                <a:gd name="connsiteX7" fmla="*/ 88021 w 99379"/>
                <a:gd name="connsiteY7" fmla="*/ 82343 h 85182"/>
                <a:gd name="connsiteX8" fmla="*/ 79503 w 99379"/>
                <a:gd name="connsiteY8" fmla="*/ 89441 h 85182"/>
                <a:gd name="connsiteX9" fmla="*/ 9938 w 99379"/>
                <a:gd name="connsiteY9" fmla="*/ 48270 h 85182"/>
                <a:gd name="connsiteX10" fmla="*/ 55368 w 99379"/>
                <a:gd name="connsiteY10" fmla="*/ 89441 h 85182"/>
                <a:gd name="connsiteX11" fmla="*/ 41171 w 99379"/>
                <a:gd name="connsiteY11" fmla="*/ 89441 h 85182"/>
                <a:gd name="connsiteX12" fmla="*/ 0 w 99379"/>
                <a:gd name="connsiteY12" fmla="*/ 59627 h 85182"/>
                <a:gd name="connsiteX13" fmla="*/ 26974 w 99379"/>
                <a:gd name="connsiteY1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379" h="85182">
                  <a:moveTo>
                    <a:pt x="26974" y="0"/>
                  </a:moveTo>
                  <a:cubicBezTo>
                    <a:pt x="26974" y="0"/>
                    <a:pt x="92281" y="29814"/>
                    <a:pt x="95120" y="35493"/>
                  </a:cubicBezTo>
                  <a:cubicBezTo>
                    <a:pt x="97959" y="41171"/>
                    <a:pt x="96540" y="45430"/>
                    <a:pt x="89441" y="42591"/>
                  </a:cubicBezTo>
                  <a:cubicBezTo>
                    <a:pt x="83762" y="39752"/>
                    <a:pt x="25554" y="15617"/>
                    <a:pt x="25554" y="15617"/>
                  </a:cubicBezTo>
                  <a:cubicBezTo>
                    <a:pt x="25554" y="15617"/>
                    <a:pt x="96540" y="63887"/>
                    <a:pt x="100799" y="68146"/>
                  </a:cubicBezTo>
                  <a:cubicBezTo>
                    <a:pt x="102219" y="70985"/>
                    <a:pt x="99379" y="78084"/>
                    <a:pt x="96540" y="76664"/>
                  </a:cubicBezTo>
                  <a:cubicBezTo>
                    <a:pt x="93700" y="75244"/>
                    <a:pt x="19876" y="32653"/>
                    <a:pt x="19876" y="32653"/>
                  </a:cubicBezTo>
                  <a:cubicBezTo>
                    <a:pt x="19876" y="32653"/>
                    <a:pt x="86602" y="78084"/>
                    <a:pt x="88021" y="82343"/>
                  </a:cubicBezTo>
                  <a:cubicBezTo>
                    <a:pt x="89441" y="86602"/>
                    <a:pt x="85182" y="92281"/>
                    <a:pt x="79503" y="89441"/>
                  </a:cubicBezTo>
                  <a:cubicBezTo>
                    <a:pt x="73824" y="86602"/>
                    <a:pt x="9938" y="48270"/>
                    <a:pt x="9938" y="48270"/>
                  </a:cubicBezTo>
                  <a:cubicBezTo>
                    <a:pt x="9938" y="48270"/>
                    <a:pt x="55368" y="83762"/>
                    <a:pt x="55368" y="89441"/>
                  </a:cubicBezTo>
                  <a:cubicBezTo>
                    <a:pt x="55368" y="93700"/>
                    <a:pt x="52529" y="97959"/>
                    <a:pt x="41171" y="89441"/>
                  </a:cubicBezTo>
                  <a:cubicBezTo>
                    <a:pt x="29814" y="79503"/>
                    <a:pt x="0" y="59627"/>
                    <a:pt x="0" y="59627"/>
                  </a:cubicBezTo>
                  <a:lnTo>
                    <a:pt x="26974" y="0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20299BCE-5B21-4FF8-BFE9-7671CFF25D25}"/>
                </a:ext>
              </a:extLst>
            </p:cNvPr>
            <p:cNvSpPr/>
            <p:nvPr userDrawn="1"/>
          </p:nvSpPr>
          <p:spPr>
            <a:xfrm>
              <a:off x="8096303" y="3371213"/>
              <a:ext cx="246382" cy="369574"/>
            </a:xfrm>
            <a:custGeom>
              <a:avLst/>
              <a:gdLst>
                <a:gd name="connsiteX0" fmla="*/ 134872 w 340728"/>
                <a:gd name="connsiteY0" fmla="*/ 179417 h 511092"/>
                <a:gd name="connsiteX1" fmla="*/ 178883 w 340728"/>
                <a:gd name="connsiteY1" fmla="*/ 344102 h 511092"/>
                <a:gd name="connsiteX2" fmla="*/ 207277 w 340728"/>
                <a:gd name="connsiteY2" fmla="*/ 369657 h 511092"/>
                <a:gd name="connsiteX3" fmla="*/ 349247 w 340728"/>
                <a:gd name="connsiteY3" fmla="*/ 473295 h 511092"/>
                <a:gd name="connsiteX4" fmla="*/ 320853 w 340728"/>
                <a:gd name="connsiteY4" fmla="*/ 524404 h 511092"/>
                <a:gd name="connsiteX5" fmla="*/ 217214 w 340728"/>
                <a:gd name="connsiteY5" fmla="*/ 464777 h 511092"/>
                <a:gd name="connsiteX6" fmla="*/ 120675 w 340728"/>
                <a:gd name="connsiteY6" fmla="*/ 396631 h 511092"/>
                <a:gd name="connsiteX7" fmla="*/ 29814 w 340728"/>
                <a:gd name="connsiteY7" fmla="*/ 168059 h 511092"/>
                <a:gd name="connsiteX8" fmla="*/ 14197 w 340728"/>
                <a:gd name="connsiteY8" fmla="*/ 99914 h 511092"/>
                <a:gd name="connsiteX9" fmla="*/ 0 w 340728"/>
                <a:gd name="connsiteY9" fmla="*/ 18991 h 511092"/>
                <a:gd name="connsiteX10" fmla="*/ 0 w 340728"/>
                <a:gd name="connsiteY10" fmla="*/ 14731 h 511092"/>
                <a:gd name="connsiteX11" fmla="*/ 0 w 340728"/>
                <a:gd name="connsiteY11" fmla="*/ 14731 h 511092"/>
                <a:gd name="connsiteX12" fmla="*/ 73825 w 340728"/>
                <a:gd name="connsiteY12" fmla="*/ 16151 h 511092"/>
                <a:gd name="connsiteX13" fmla="*/ 134872 w 340728"/>
                <a:gd name="connsiteY13" fmla="*/ 17941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0728" h="511092">
                  <a:moveTo>
                    <a:pt x="134872" y="179417"/>
                  </a:moveTo>
                  <a:cubicBezTo>
                    <a:pt x="147649" y="241884"/>
                    <a:pt x="173204" y="332745"/>
                    <a:pt x="178883" y="344102"/>
                  </a:cubicBezTo>
                  <a:cubicBezTo>
                    <a:pt x="181722" y="349781"/>
                    <a:pt x="193080" y="358299"/>
                    <a:pt x="207277" y="369657"/>
                  </a:cubicBezTo>
                  <a:cubicBezTo>
                    <a:pt x="228572" y="388113"/>
                    <a:pt x="349247" y="473295"/>
                    <a:pt x="349247" y="473295"/>
                  </a:cubicBezTo>
                  <a:cubicBezTo>
                    <a:pt x="349247" y="494591"/>
                    <a:pt x="320853" y="524404"/>
                    <a:pt x="320853" y="524404"/>
                  </a:cubicBezTo>
                  <a:cubicBezTo>
                    <a:pt x="300977" y="511627"/>
                    <a:pt x="261225" y="488912"/>
                    <a:pt x="217214" y="464777"/>
                  </a:cubicBezTo>
                  <a:cubicBezTo>
                    <a:pt x="167525" y="437803"/>
                    <a:pt x="130613" y="410828"/>
                    <a:pt x="120675" y="396631"/>
                  </a:cubicBezTo>
                  <a:cubicBezTo>
                    <a:pt x="103638" y="369657"/>
                    <a:pt x="41171" y="207811"/>
                    <a:pt x="29814" y="168059"/>
                  </a:cubicBezTo>
                  <a:cubicBezTo>
                    <a:pt x="25555" y="152443"/>
                    <a:pt x="19876" y="125468"/>
                    <a:pt x="14197" y="99914"/>
                  </a:cubicBezTo>
                  <a:cubicBezTo>
                    <a:pt x="8518" y="65841"/>
                    <a:pt x="2840" y="30348"/>
                    <a:pt x="0" y="18991"/>
                  </a:cubicBezTo>
                  <a:cubicBezTo>
                    <a:pt x="0" y="16151"/>
                    <a:pt x="0" y="16151"/>
                    <a:pt x="0" y="14731"/>
                  </a:cubicBezTo>
                  <a:cubicBezTo>
                    <a:pt x="0" y="14731"/>
                    <a:pt x="0" y="14731"/>
                    <a:pt x="0" y="14731"/>
                  </a:cubicBezTo>
                  <a:cubicBezTo>
                    <a:pt x="0" y="14731"/>
                    <a:pt x="25555" y="-19341"/>
                    <a:pt x="73825" y="16151"/>
                  </a:cubicBezTo>
                  <a:cubicBezTo>
                    <a:pt x="73825" y="16151"/>
                    <a:pt x="107897" y="50224"/>
                    <a:pt x="134872" y="179417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AE3DA38-5266-4C2C-BD62-4FB846F6B0DC}"/>
                </a:ext>
              </a:extLst>
            </p:cNvPr>
            <p:cNvSpPr/>
            <p:nvPr userDrawn="1"/>
          </p:nvSpPr>
          <p:spPr>
            <a:xfrm>
              <a:off x="8213336" y="4275002"/>
              <a:ext cx="92393" cy="82127"/>
            </a:xfrm>
            <a:custGeom>
              <a:avLst/>
              <a:gdLst>
                <a:gd name="connsiteX0" fmla="*/ 68146 w 127773"/>
                <a:gd name="connsiteY0" fmla="*/ 124934 h 113576"/>
                <a:gd name="connsiteX1" fmla="*/ 0 w 127773"/>
                <a:gd name="connsiteY1" fmla="*/ 62467 h 113576"/>
                <a:gd name="connsiteX2" fmla="*/ 68146 w 127773"/>
                <a:gd name="connsiteY2" fmla="*/ 0 h 113576"/>
                <a:gd name="connsiteX3" fmla="*/ 136291 w 127773"/>
                <a:gd name="connsiteY3" fmla="*/ 62467 h 113576"/>
                <a:gd name="connsiteX4" fmla="*/ 68146 w 127773"/>
                <a:gd name="connsiteY4" fmla="*/ 124934 h 113576"/>
                <a:gd name="connsiteX5" fmla="*/ 68146 w 127773"/>
                <a:gd name="connsiteY5" fmla="*/ 14197 h 113576"/>
                <a:gd name="connsiteX6" fmla="*/ 15617 w 127773"/>
                <a:gd name="connsiteY6" fmla="*/ 62467 h 113576"/>
                <a:gd name="connsiteX7" fmla="*/ 68146 w 127773"/>
                <a:gd name="connsiteY7" fmla="*/ 110737 h 113576"/>
                <a:gd name="connsiteX8" fmla="*/ 120675 w 127773"/>
                <a:gd name="connsiteY8" fmla="*/ 62467 h 113576"/>
                <a:gd name="connsiteX9" fmla="*/ 68146 w 127773"/>
                <a:gd name="connsiteY9" fmla="*/ 14197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773" h="113576">
                  <a:moveTo>
                    <a:pt x="68146" y="124934"/>
                  </a:moveTo>
                  <a:cubicBezTo>
                    <a:pt x="31233" y="124934"/>
                    <a:pt x="0" y="96540"/>
                    <a:pt x="0" y="62467"/>
                  </a:cubicBezTo>
                  <a:cubicBezTo>
                    <a:pt x="0" y="28394"/>
                    <a:pt x="29814" y="0"/>
                    <a:pt x="68146" y="0"/>
                  </a:cubicBezTo>
                  <a:cubicBezTo>
                    <a:pt x="105058" y="0"/>
                    <a:pt x="136291" y="28394"/>
                    <a:pt x="136291" y="62467"/>
                  </a:cubicBezTo>
                  <a:cubicBezTo>
                    <a:pt x="136291" y="97959"/>
                    <a:pt x="105058" y="124934"/>
                    <a:pt x="68146" y="124934"/>
                  </a:cubicBezTo>
                  <a:close/>
                  <a:moveTo>
                    <a:pt x="68146" y="14197"/>
                  </a:moveTo>
                  <a:cubicBezTo>
                    <a:pt x="39752" y="14197"/>
                    <a:pt x="15617" y="35493"/>
                    <a:pt x="15617" y="62467"/>
                  </a:cubicBezTo>
                  <a:cubicBezTo>
                    <a:pt x="15617" y="89441"/>
                    <a:pt x="39752" y="110737"/>
                    <a:pt x="68146" y="110737"/>
                  </a:cubicBezTo>
                  <a:cubicBezTo>
                    <a:pt x="96540" y="110737"/>
                    <a:pt x="120675" y="89441"/>
                    <a:pt x="120675" y="62467"/>
                  </a:cubicBezTo>
                  <a:cubicBezTo>
                    <a:pt x="120675" y="35493"/>
                    <a:pt x="96540" y="14197"/>
                    <a:pt x="68146" y="14197"/>
                  </a:cubicBezTo>
                  <a:close/>
                </a:path>
              </a:pathLst>
            </a:custGeom>
            <a:solidFill>
              <a:srgbClr val="E8586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AF8FA3E-52A5-4E0E-AE29-3C49289383F8}"/>
                </a:ext>
              </a:extLst>
            </p:cNvPr>
            <p:cNvSpPr/>
            <p:nvPr userDrawn="1"/>
          </p:nvSpPr>
          <p:spPr>
            <a:xfrm>
              <a:off x="8139421" y="4480321"/>
              <a:ext cx="236116" cy="112925"/>
            </a:xfrm>
            <a:custGeom>
              <a:avLst/>
              <a:gdLst>
                <a:gd name="connsiteX0" fmla="*/ 0 w 326531"/>
                <a:gd name="connsiteY0" fmla="*/ 0 h 156167"/>
                <a:gd name="connsiteX1" fmla="*/ 339309 w 326531"/>
                <a:gd name="connsiteY1" fmla="*/ 0 h 156167"/>
                <a:gd name="connsiteX2" fmla="*/ 339309 w 326531"/>
                <a:gd name="connsiteY2" fmla="*/ 168945 h 156167"/>
                <a:gd name="connsiteX3" fmla="*/ 0 w 326531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31" h="156167">
                  <a:moveTo>
                    <a:pt x="0" y="0"/>
                  </a:moveTo>
                  <a:lnTo>
                    <a:pt x="339309" y="0"/>
                  </a:lnTo>
                  <a:lnTo>
                    <a:pt x="33930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AD425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D0BB133-6CAB-498D-A1B4-05C8817039E0}"/>
                </a:ext>
              </a:extLst>
            </p:cNvPr>
            <p:cNvSpPr/>
            <p:nvPr userDrawn="1"/>
          </p:nvSpPr>
          <p:spPr>
            <a:xfrm>
              <a:off x="8150257" y="4299635"/>
              <a:ext cx="225850" cy="318244"/>
            </a:xfrm>
            <a:custGeom>
              <a:avLst/>
              <a:gdLst>
                <a:gd name="connsiteX0" fmla="*/ 631 w 312334"/>
                <a:gd name="connsiteY0" fmla="*/ 451472 h 440107"/>
                <a:gd name="connsiteX1" fmla="*/ 631 w 312334"/>
                <a:gd name="connsiteY1" fmla="*/ 208702 h 440107"/>
                <a:gd name="connsiteX2" fmla="*/ 156798 w 312334"/>
                <a:gd name="connsiteY2" fmla="*/ 6 h 440107"/>
                <a:gd name="connsiteX3" fmla="*/ 312965 w 312334"/>
                <a:gd name="connsiteY3" fmla="*/ 208702 h 440107"/>
                <a:gd name="connsiteX4" fmla="*/ 312965 w 312334"/>
                <a:gd name="connsiteY4" fmla="*/ 451472 h 440107"/>
                <a:gd name="connsiteX5" fmla="*/ 631 w 312334"/>
                <a:gd name="connsiteY5" fmla="*/ 45147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34" h="440107">
                  <a:moveTo>
                    <a:pt x="631" y="451472"/>
                  </a:moveTo>
                  <a:cubicBezTo>
                    <a:pt x="631" y="451472"/>
                    <a:pt x="-789" y="413140"/>
                    <a:pt x="631" y="208702"/>
                  </a:cubicBezTo>
                  <a:cubicBezTo>
                    <a:pt x="2051" y="-4253"/>
                    <a:pt x="156798" y="6"/>
                    <a:pt x="156798" y="6"/>
                  </a:cubicBezTo>
                  <a:cubicBezTo>
                    <a:pt x="156798" y="6"/>
                    <a:pt x="311546" y="-2833"/>
                    <a:pt x="312965" y="208702"/>
                  </a:cubicBezTo>
                  <a:cubicBezTo>
                    <a:pt x="314385" y="413140"/>
                    <a:pt x="312965" y="451472"/>
                    <a:pt x="312965" y="451472"/>
                  </a:cubicBezTo>
                  <a:lnTo>
                    <a:pt x="631" y="451472"/>
                  </a:lnTo>
                  <a:close/>
                </a:path>
              </a:pathLst>
            </a:custGeom>
            <a:solidFill>
              <a:srgbClr val="F55D7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50C0D70-35D5-4A90-857E-6E2D29D474FF}"/>
                </a:ext>
              </a:extLst>
            </p:cNvPr>
            <p:cNvSpPr/>
            <p:nvPr userDrawn="1"/>
          </p:nvSpPr>
          <p:spPr>
            <a:xfrm>
              <a:off x="8176378" y="4480321"/>
              <a:ext cx="174521" cy="112925"/>
            </a:xfrm>
            <a:custGeom>
              <a:avLst/>
              <a:gdLst>
                <a:gd name="connsiteX0" fmla="*/ 0 w 241349"/>
                <a:gd name="connsiteY0" fmla="*/ 0 h 156167"/>
                <a:gd name="connsiteX1" fmla="*/ 241349 w 241349"/>
                <a:gd name="connsiteY1" fmla="*/ 0 h 156167"/>
                <a:gd name="connsiteX2" fmla="*/ 241349 w 241349"/>
                <a:gd name="connsiteY2" fmla="*/ 168945 h 156167"/>
                <a:gd name="connsiteX3" fmla="*/ 0 w 241349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156167">
                  <a:moveTo>
                    <a:pt x="0" y="0"/>
                  </a:moveTo>
                  <a:lnTo>
                    <a:pt x="241349" y="0"/>
                  </a:lnTo>
                  <a:lnTo>
                    <a:pt x="24134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FF61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D7F6C1AD-2973-469E-B278-4A93E5823DCE}"/>
                </a:ext>
              </a:extLst>
            </p:cNvPr>
            <p:cNvSpPr/>
            <p:nvPr userDrawn="1"/>
          </p:nvSpPr>
          <p:spPr>
            <a:xfrm>
              <a:off x="8176378" y="4480321"/>
              <a:ext cx="174521" cy="30798"/>
            </a:xfrm>
            <a:custGeom>
              <a:avLst/>
              <a:gdLst>
                <a:gd name="connsiteX0" fmla="*/ 0 w 241349"/>
                <a:gd name="connsiteY0" fmla="*/ 0 h 42591"/>
                <a:gd name="connsiteX1" fmla="*/ 241349 w 241349"/>
                <a:gd name="connsiteY1" fmla="*/ 0 h 42591"/>
                <a:gd name="connsiteX2" fmla="*/ 241349 w 241349"/>
                <a:gd name="connsiteY2" fmla="*/ 46850 h 42591"/>
                <a:gd name="connsiteX3" fmla="*/ 0 w 241349"/>
                <a:gd name="connsiteY3" fmla="*/ 4685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42591">
                  <a:moveTo>
                    <a:pt x="0" y="0"/>
                  </a:moveTo>
                  <a:lnTo>
                    <a:pt x="241349" y="0"/>
                  </a:lnTo>
                  <a:lnTo>
                    <a:pt x="241349" y="46850"/>
                  </a:lnTo>
                  <a:lnTo>
                    <a:pt x="0" y="46850"/>
                  </a:lnTo>
                  <a:close/>
                </a:path>
              </a:pathLst>
            </a:custGeom>
            <a:solidFill>
              <a:srgbClr val="C24A5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5E245622-8944-4B78-8176-BAC4B149B654}"/>
                </a:ext>
              </a:extLst>
            </p:cNvPr>
            <p:cNvSpPr/>
            <p:nvPr userDrawn="1"/>
          </p:nvSpPr>
          <p:spPr>
            <a:xfrm>
              <a:off x="7748187" y="4531036"/>
              <a:ext cx="153989" cy="92393"/>
            </a:xfrm>
            <a:custGeom>
              <a:avLst/>
              <a:gdLst>
                <a:gd name="connsiteX0" fmla="*/ 169084 w 212955"/>
                <a:gd name="connsiteY0" fmla="*/ 17886 h 127773"/>
                <a:gd name="connsiteX1" fmla="*/ 143530 w 212955"/>
                <a:gd name="connsiteY1" fmla="*/ 849 h 127773"/>
                <a:gd name="connsiteX2" fmla="*/ 123654 w 212955"/>
                <a:gd name="connsiteY2" fmla="*/ 3689 h 127773"/>
                <a:gd name="connsiteX3" fmla="*/ 103778 w 212955"/>
                <a:gd name="connsiteY3" fmla="*/ 29243 h 127773"/>
                <a:gd name="connsiteX4" fmla="*/ 48410 w 212955"/>
                <a:gd name="connsiteY4" fmla="*/ 76093 h 127773"/>
                <a:gd name="connsiteX5" fmla="*/ 140 w 212955"/>
                <a:gd name="connsiteY5" fmla="*/ 100228 h 127773"/>
                <a:gd name="connsiteX6" fmla="*/ 96680 w 212955"/>
                <a:gd name="connsiteY6" fmla="*/ 130042 h 127773"/>
                <a:gd name="connsiteX7" fmla="*/ 183282 w 212955"/>
                <a:gd name="connsiteY7" fmla="*/ 103068 h 127773"/>
                <a:gd name="connsiteX8" fmla="*/ 213095 w 212955"/>
                <a:gd name="connsiteY8" fmla="*/ 59057 h 127773"/>
                <a:gd name="connsiteX9" fmla="*/ 186121 w 212955"/>
                <a:gd name="connsiteY9" fmla="*/ 12207 h 127773"/>
                <a:gd name="connsiteX10" fmla="*/ 169084 w 212955"/>
                <a:gd name="connsiteY10" fmla="*/ 1788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955" h="127773">
                  <a:moveTo>
                    <a:pt x="169084" y="17886"/>
                  </a:moveTo>
                  <a:cubicBezTo>
                    <a:pt x="169084" y="17886"/>
                    <a:pt x="152048" y="2269"/>
                    <a:pt x="143530" y="849"/>
                  </a:cubicBezTo>
                  <a:cubicBezTo>
                    <a:pt x="135012" y="-571"/>
                    <a:pt x="126493" y="-571"/>
                    <a:pt x="123654" y="3689"/>
                  </a:cubicBezTo>
                  <a:cubicBezTo>
                    <a:pt x="119395" y="7948"/>
                    <a:pt x="109457" y="23564"/>
                    <a:pt x="103778" y="29243"/>
                  </a:cubicBezTo>
                  <a:cubicBezTo>
                    <a:pt x="98099" y="34922"/>
                    <a:pt x="56928" y="73254"/>
                    <a:pt x="48410" y="76093"/>
                  </a:cubicBezTo>
                  <a:cubicBezTo>
                    <a:pt x="38472" y="78933"/>
                    <a:pt x="-2699" y="76093"/>
                    <a:pt x="140" y="100228"/>
                  </a:cubicBezTo>
                  <a:cubicBezTo>
                    <a:pt x="2979" y="124363"/>
                    <a:pt x="35633" y="134301"/>
                    <a:pt x="96680" y="130042"/>
                  </a:cubicBezTo>
                  <a:cubicBezTo>
                    <a:pt x="156307" y="124363"/>
                    <a:pt x="149209" y="110166"/>
                    <a:pt x="183282" y="103068"/>
                  </a:cubicBezTo>
                  <a:cubicBezTo>
                    <a:pt x="217354" y="95969"/>
                    <a:pt x="218774" y="78933"/>
                    <a:pt x="213095" y="59057"/>
                  </a:cubicBezTo>
                  <a:cubicBezTo>
                    <a:pt x="207417" y="39181"/>
                    <a:pt x="183282" y="17886"/>
                    <a:pt x="186121" y="12207"/>
                  </a:cubicBezTo>
                  <a:cubicBezTo>
                    <a:pt x="186121" y="6528"/>
                    <a:pt x="169084" y="17886"/>
                    <a:pt x="169084" y="17886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562448EE-F96C-4191-A37E-7D1348B14EE0}"/>
                </a:ext>
              </a:extLst>
            </p:cNvPr>
            <p:cNvSpPr/>
            <p:nvPr userDrawn="1"/>
          </p:nvSpPr>
          <p:spPr>
            <a:xfrm>
              <a:off x="7834522" y="3227876"/>
              <a:ext cx="92393" cy="102659"/>
            </a:xfrm>
            <a:custGeom>
              <a:avLst/>
              <a:gdLst>
                <a:gd name="connsiteX0" fmla="*/ 58208 w 127773"/>
                <a:gd name="connsiteY0" fmla="*/ 149069 h 141970"/>
                <a:gd name="connsiteX1" fmla="*/ 136291 w 127773"/>
                <a:gd name="connsiteY1" fmla="*/ 32653 h 141970"/>
                <a:gd name="connsiteX2" fmla="*/ 66726 w 127773"/>
                <a:gd name="connsiteY2" fmla="*/ 0 h 141970"/>
                <a:gd name="connsiteX3" fmla="*/ 0 w 127773"/>
                <a:gd name="connsiteY3" fmla="*/ 116416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773" h="141970">
                  <a:moveTo>
                    <a:pt x="58208" y="149069"/>
                  </a:moveTo>
                  <a:lnTo>
                    <a:pt x="136291" y="32653"/>
                  </a:lnTo>
                  <a:lnTo>
                    <a:pt x="66726" y="0"/>
                  </a:lnTo>
                  <a:lnTo>
                    <a:pt x="0" y="116416"/>
                  </a:lnTo>
                  <a:close/>
                </a:path>
              </a:pathLst>
            </a:custGeom>
            <a:solidFill>
              <a:srgbClr val="5157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E6B7CD5-3B67-42C8-9207-16041745900C}"/>
                </a:ext>
              </a:extLst>
            </p:cNvPr>
            <p:cNvSpPr/>
            <p:nvPr userDrawn="1"/>
          </p:nvSpPr>
          <p:spPr>
            <a:xfrm>
              <a:off x="7839655" y="3235062"/>
              <a:ext cx="82127" cy="92393"/>
            </a:xfrm>
            <a:custGeom>
              <a:avLst/>
              <a:gdLst>
                <a:gd name="connsiteX0" fmla="*/ 51109 w 113576"/>
                <a:gd name="connsiteY0" fmla="*/ 129193 h 127773"/>
                <a:gd name="connsiteX1" fmla="*/ 119255 w 113576"/>
                <a:gd name="connsiteY1" fmla="*/ 28394 h 127773"/>
                <a:gd name="connsiteX2" fmla="*/ 58208 w 113576"/>
                <a:gd name="connsiteY2" fmla="*/ 0 h 127773"/>
                <a:gd name="connsiteX3" fmla="*/ 0 w 113576"/>
                <a:gd name="connsiteY3" fmla="*/ 100799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51109" y="129193"/>
                  </a:moveTo>
                  <a:lnTo>
                    <a:pt x="119255" y="28394"/>
                  </a:lnTo>
                  <a:lnTo>
                    <a:pt x="58208" y="0"/>
                  </a:lnTo>
                  <a:lnTo>
                    <a:pt x="0" y="100799"/>
                  </a:lnTo>
                  <a:close/>
                </a:path>
              </a:pathLst>
            </a:custGeom>
            <a:solidFill>
              <a:srgbClr val="D5CAE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CB25FC11-1BC8-4215-8562-E9511552A791}"/>
                </a:ext>
              </a:extLst>
            </p:cNvPr>
            <p:cNvSpPr/>
            <p:nvPr userDrawn="1"/>
          </p:nvSpPr>
          <p:spPr>
            <a:xfrm>
              <a:off x="7835136" y="3315137"/>
              <a:ext cx="41064" cy="41064"/>
            </a:xfrm>
            <a:custGeom>
              <a:avLst/>
              <a:gdLst>
                <a:gd name="connsiteX0" fmla="*/ 571 w 56788"/>
                <a:gd name="connsiteY0" fmla="*/ 44011 h 56788"/>
                <a:gd name="connsiteX1" fmla="*/ 6250 w 56788"/>
                <a:gd name="connsiteY1" fmla="*/ 21296 h 56788"/>
                <a:gd name="connsiteX2" fmla="*/ 3411 w 56788"/>
                <a:gd name="connsiteY2" fmla="*/ 0 h 56788"/>
                <a:gd name="connsiteX3" fmla="*/ 68717 w 56788"/>
                <a:gd name="connsiteY3" fmla="*/ 35493 h 56788"/>
                <a:gd name="connsiteX4" fmla="*/ 41742 w 56788"/>
                <a:gd name="connsiteY4" fmla="*/ 68146 h 56788"/>
                <a:gd name="connsiteX5" fmla="*/ 571 w 56788"/>
                <a:gd name="connsiteY5" fmla="*/ 44011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571" y="44011"/>
                  </a:moveTo>
                  <a:cubicBezTo>
                    <a:pt x="571" y="44011"/>
                    <a:pt x="14768" y="36912"/>
                    <a:pt x="6250" y="21296"/>
                  </a:cubicBezTo>
                  <a:cubicBezTo>
                    <a:pt x="-2268" y="5679"/>
                    <a:pt x="3411" y="0"/>
                    <a:pt x="3411" y="0"/>
                  </a:cubicBezTo>
                  <a:lnTo>
                    <a:pt x="68717" y="35493"/>
                  </a:lnTo>
                  <a:cubicBezTo>
                    <a:pt x="68717" y="35493"/>
                    <a:pt x="48841" y="65306"/>
                    <a:pt x="41742" y="68146"/>
                  </a:cubicBezTo>
                  <a:cubicBezTo>
                    <a:pt x="33224" y="69565"/>
                    <a:pt x="-5108" y="55368"/>
                    <a:pt x="571" y="44011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8196BB7-DD9A-4439-95A5-3BC4C952583D}"/>
                </a:ext>
              </a:extLst>
            </p:cNvPr>
            <p:cNvSpPr/>
            <p:nvPr userDrawn="1"/>
          </p:nvSpPr>
          <p:spPr>
            <a:xfrm>
              <a:off x="7865031" y="3292883"/>
              <a:ext cx="51330" cy="41064"/>
            </a:xfrm>
            <a:custGeom>
              <a:avLst/>
              <a:gdLst>
                <a:gd name="connsiteX0" fmla="*/ 27374 w 70985"/>
                <a:gd name="connsiteY0" fmla="*/ 64848 h 56788"/>
                <a:gd name="connsiteX1" fmla="*/ 57187 w 70985"/>
                <a:gd name="connsiteY1" fmla="*/ 33614 h 56788"/>
                <a:gd name="connsiteX2" fmla="*/ 74224 w 70985"/>
                <a:gd name="connsiteY2" fmla="*/ 3801 h 56788"/>
                <a:gd name="connsiteX3" fmla="*/ 50089 w 70985"/>
                <a:gd name="connsiteY3" fmla="*/ 12319 h 56788"/>
                <a:gd name="connsiteX4" fmla="*/ 35892 w 70985"/>
                <a:gd name="connsiteY4" fmla="*/ 29355 h 56788"/>
                <a:gd name="connsiteX5" fmla="*/ 399 w 70985"/>
                <a:gd name="connsiteY5" fmla="*/ 50651 h 56788"/>
                <a:gd name="connsiteX6" fmla="*/ 27374 w 70985"/>
                <a:gd name="connsiteY6" fmla="*/ 6484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56788">
                  <a:moveTo>
                    <a:pt x="27374" y="64848"/>
                  </a:moveTo>
                  <a:cubicBezTo>
                    <a:pt x="27374" y="64848"/>
                    <a:pt x="54348" y="37873"/>
                    <a:pt x="57187" y="33614"/>
                  </a:cubicBezTo>
                  <a:cubicBezTo>
                    <a:pt x="60027" y="29355"/>
                    <a:pt x="69965" y="13738"/>
                    <a:pt x="74224" y="3801"/>
                  </a:cubicBezTo>
                  <a:cubicBezTo>
                    <a:pt x="78483" y="-4718"/>
                    <a:pt x="55768" y="2381"/>
                    <a:pt x="50089" y="12319"/>
                  </a:cubicBezTo>
                  <a:cubicBezTo>
                    <a:pt x="45830" y="22257"/>
                    <a:pt x="40151" y="26516"/>
                    <a:pt x="35892" y="29355"/>
                  </a:cubicBezTo>
                  <a:cubicBezTo>
                    <a:pt x="31633" y="32195"/>
                    <a:pt x="3239" y="40713"/>
                    <a:pt x="399" y="50651"/>
                  </a:cubicBezTo>
                  <a:cubicBezTo>
                    <a:pt x="-3860" y="59169"/>
                    <a:pt x="27374" y="64848"/>
                    <a:pt x="27374" y="64848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99FF35B1-C83C-4530-BFF8-8012A03E9268}"/>
                </a:ext>
              </a:extLst>
            </p:cNvPr>
            <p:cNvSpPr/>
            <p:nvPr userDrawn="1"/>
          </p:nvSpPr>
          <p:spPr>
            <a:xfrm>
              <a:off x="7839214" y="3291935"/>
              <a:ext cx="10266" cy="10266"/>
            </a:xfrm>
            <a:custGeom>
              <a:avLst/>
              <a:gdLst>
                <a:gd name="connsiteX0" fmla="*/ 4870 w 0"/>
                <a:gd name="connsiteY0" fmla="*/ 17890 h 14197"/>
                <a:gd name="connsiteX1" fmla="*/ 11968 w 0"/>
                <a:gd name="connsiteY1" fmla="*/ 15050 h 14197"/>
                <a:gd name="connsiteX2" fmla="*/ 3450 w 0"/>
                <a:gd name="connsiteY2" fmla="*/ 853 h 14197"/>
                <a:gd name="connsiteX3" fmla="*/ 4870 w 0"/>
                <a:gd name="connsiteY3" fmla="*/ 17890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4870" y="17890"/>
                  </a:moveTo>
                  <a:cubicBezTo>
                    <a:pt x="4870" y="17890"/>
                    <a:pt x="10548" y="22149"/>
                    <a:pt x="11968" y="15050"/>
                  </a:cubicBezTo>
                  <a:cubicBezTo>
                    <a:pt x="13388" y="9372"/>
                    <a:pt x="10548" y="-3406"/>
                    <a:pt x="3450" y="853"/>
                  </a:cubicBezTo>
                  <a:cubicBezTo>
                    <a:pt x="-5068" y="6532"/>
                    <a:pt x="4870" y="17890"/>
                    <a:pt x="4870" y="17890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025B89CA-1B26-4949-BE5F-46941C7A0883}"/>
                </a:ext>
              </a:extLst>
            </p:cNvPr>
            <p:cNvSpPr/>
            <p:nvPr userDrawn="1"/>
          </p:nvSpPr>
          <p:spPr>
            <a:xfrm>
              <a:off x="7845925" y="3278977"/>
              <a:ext cx="10266" cy="10266"/>
            </a:xfrm>
            <a:custGeom>
              <a:avLst/>
              <a:gdLst>
                <a:gd name="connsiteX0" fmla="*/ 1267 w 0"/>
                <a:gd name="connsiteY0" fmla="*/ 15933 h 14197"/>
                <a:gd name="connsiteX1" fmla="*/ 8366 w 0"/>
                <a:gd name="connsiteY1" fmla="*/ 20193 h 14197"/>
                <a:gd name="connsiteX2" fmla="*/ 4107 w 0"/>
                <a:gd name="connsiteY2" fmla="*/ 317 h 14197"/>
                <a:gd name="connsiteX3" fmla="*/ 1267 w 0"/>
                <a:gd name="connsiteY3" fmla="*/ 15933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933"/>
                  </a:moveTo>
                  <a:cubicBezTo>
                    <a:pt x="1267" y="15933"/>
                    <a:pt x="5526" y="24452"/>
                    <a:pt x="8366" y="20193"/>
                  </a:cubicBezTo>
                  <a:cubicBezTo>
                    <a:pt x="12625" y="14514"/>
                    <a:pt x="12625" y="-2523"/>
                    <a:pt x="4107" y="317"/>
                  </a:cubicBezTo>
                  <a:cubicBezTo>
                    <a:pt x="-2992" y="3156"/>
                    <a:pt x="1267" y="15933"/>
                    <a:pt x="1267" y="15933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1087F16A-651C-4582-87DB-CFC3F71DBDB4}"/>
                </a:ext>
              </a:extLst>
            </p:cNvPr>
            <p:cNvSpPr/>
            <p:nvPr userDrawn="1"/>
          </p:nvSpPr>
          <p:spPr>
            <a:xfrm>
              <a:off x="7853112" y="3266699"/>
              <a:ext cx="10266" cy="10266"/>
            </a:xfrm>
            <a:custGeom>
              <a:avLst/>
              <a:gdLst>
                <a:gd name="connsiteX0" fmla="*/ 1267 w 0"/>
                <a:gd name="connsiteY0" fmla="*/ 15876 h 14197"/>
                <a:gd name="connsiteX1" fmla="*/ 8366 w 0"/>
                <a:gd name="connsiteY1" fmla="*/ 22975 h 14197"/>
                <a:gd name="connsiteX2" fmla="*/ 4107 w 0"/>
                <a:gd name="connsiteY2" fmla="*/ 260 h 14197"/>
                <a:gd name="connsiteX3" fmla="*/ 1267 w 0"/>
                <a:gd name="connsiteY3" fmla="*/ 1587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876"/>
                  </a:moveTo>
                  <a:cubicBezTo>
                    <a:pt x="1267" y="15876"/>
                    <a:pt x="4107" y="27234"/>
                    <a:pt x="8366" y="22975"/>
                  </a:cubicBezTo>
                  <a:cubicBezTo>
                    <a:pt x="12625" y="18716"/>
                    <a:pt x="12625" y="-2580"/>
                    <a:pt x="4107" y="260"/>
                  </a:cubicBezTo>
                  <a:cubicBezTo>
                    <a:pt x="-2992" y="3099"/>
                    <a:pt x="1267" y="15876"/>
                    <a:pt x="1267" y="15876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6D82B12C-2EF1-4D6B-8960-BDB5EC3C3DFB}"/>
                </a:ext>
              </a:extLst>
            </p:cNvPr>
            <p:cNvSpPr/>
            <p:nvPr userDrawn="1"/>
          </p:nvSpPr>
          <p:spPr>
            <a:xfrm>
              <a:off x="7767691" y="3346436"/>
              <a:ext cx="195052" cy="215584"/>
            </a:xfrm>
            <a:custGeom>
              <a:avLst/>
              <a:gdLst>
                <a:gd name="connsiteX0" fmla="*/ 278405 w 269743"/>
                <a:gd name="connsiteY0" fmla="*/ 19183 h 298137"/>
                <a:gd name="connsiteX1" fmla="*/ 265627 w 269743"/>
                <a:gd name="connsiteY1" fmla="*/ 64614 h 298137"/>
                <a:gd name="connsiteX2" fmla="*/ 230135 w 269743"/>
                <a:gd name="connsiteY2" fmla="*/ 193807 h 298137"/>
                <a:gd name="connsiteX3" fmla="*/ 201741 w 269743"/>
                <a:gd name="connsiteY3" fmla="*/ 216522 h 298137"/>
                <a:gd name="connsiteX4" fmla="*/ 73968 w 269743"/>
                <a:gd name="connsiteY4" fmla="*/ 304544 h 298137"/>
                <a:gd name="connsiteX5" fmla="*/ 143 w 269743"/>
                <a:gd name="connsiteY5" fmla="*/ 270471 h 298137"/>
                <a:gd name="connsiteX6" fmla="*/ 88165 w 269743"/>
                <a:gd name="connsiteY6" fmla="*/ 2147 h 298137"/>
                <a:gd name="connsiteX7" fmla="*/ 146372 w 269743"/>
                <a:gd name="connsiteY7" fmla="*/ 7826 h 298137"/>
                <a:gd name="connsiteX8" fmla="*/ 99522 w 269743"/>
                <a:gd name="connsiteY8" fmla="*/ 190967 h 298137"/>
                <a:gd name="connsiteX9" fmla="*/ 159150 w 269743"/>
                <a:gd name="connsiteY9" fmla="*/ 129920 h 298137"/>
                <a:gd name="connsiteX10" fmla="*/ 230135 w 269743"/>
                <a:gd name="connsiteY10" fmla="*/ 57515 h 298137"/>
                <a:gd name="connsiteX11" fmla="*/ 271306 w 269743"/>
                <a:gd name="connsiteY11" fmla="*/ 22023 h 298137"/>
                <a:gd name="connsiteX12" fmla="*/ 278405 w 269743"/>
                <a:gd name="connsiteY12" fmla="*/ 19183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9743" h="298137">
                  <a:moveTo>
                    <a:pt x="278405" y="19183"/>
                  </a:moveTo>
                  <a:lnTo>
                    <a:pt x="265627" y="64614"/>
                  </a:lnTo>
                  <a:lnTo>
                    <a:pt x="230135" y="193807"/>
                  </a:lnTo>
                  <a:cubicBezTo>
                    <a:pt x="230135" y="193807"/>
                    <a:pt x="218777" y="203745"/>
                    <a:pt x="201741" y="216522"/>
                  </a:cubicBezTo>
                  <a:cubicBezTo>
                    <a:pt x="164828" y="246336"/>
                    <a:pt x="83905" y="300284"/>
                    <a:pt x="73968" y="304544"/>
                  </a:cubicBezTo>
                  <a:cubicBezTo>
                    <a:pt x="62610" y="308803"/>
                    <a:pt x="4402" y="310222"/>
                    <a:pt x="143" y="270471"/>
                  </a:cubicBezTo>
                  <a:cubicBezTo>
                    <a:pt x="-4116" y="230719"/>
                    <a:pt x="88165" y="2147"/>
                    <a:pt x="88165" y="2147"/>
                  </a:cubicBezTo>
                  <a:cubicBezTo>
                    <a:pt x="116559" y="-4952"/>
                    <a:pt x="146372" y="7826"/>
                    <a:pt x="146372" y="7826"/>
                  </a:cubicBezTo>
                  <a:lnTo>
                    <a:pt x="99522" y="190967"/>
                  </a:lnTo>
                  <a:cubicBezTo>
                    <a:pt x="99522" y="190967"/>
                    <a:pt x="132175" y="169672"/>
                    <a:pt x="159150" y="129920"/>
                  </a:cubicBezTo>
                  <a:cubicBezTo>
                    <a:pt x="173347" y="110044"/>
                    <a:pt x="203160" y="80231"/>
                    <a:pt x="230135" y="57515"/>
                  </a:cubicBezTo>
                  <a:cubicBezTo>
                    <a:pt x="248591" y="41899"/>
                    <a:pt x="264208" y="29121"/>
                    <a:pt x="271306" y="22023"/>
                  </a:cubicBezTo>
                  <a:cubicBezTo>
                    <a:pt x="276985" y="20603"/>
                    <a:pt x="278405" y="19183"/>
                    <a:pt x="278405" y="19183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9F2C7FE5-F5D9-4AE6-A569-3AE0A5F58ECA}"/>
                </a:ext>
              </a:extLst>
            </p:cNvPr>
            <p:cNvSpPr/>
            <p:nvPr userDrawn="1"/>
          </p:nvSpPr>
          <p:spPr>
            <a:xfrm>
              <a:off x="7854095" y="3160121"/>
              <a:ext cx="123191" cy="256649"/>
            </a:xfrm>
            <a:custGeom>
              <a:avLst/>
              <a:gdLst>
                <a:gd name="connsiteX0" fmla="*/ 55275 w 170364"/>
                <a:gd name="connsiteY0" fmla="*/ 0 h 354925"/>
                <a:gd name="connsiteX1" fmla="*/ 1327 w 170364"/>
                <a:gd name="connsiteY1" fmla="*/ 100799 h 354925"/>
                <a:gd name="connsiteX2" fmla="*/ 92188 w 170364"/>
                <a:gd name="connsiteY2" fmla="*/ 275422 h 354925"/>
                <a:gd name="connsiteX3" fmla="*/ 72312 w 170364"/>
                <a:gd name="connsiteY3" fmla="*/ 354926 h 354925"/>
                <a:gd name="connsiteX4" fmla="*/ 173111 w 170364"/>
                <a:gd name="connsiteY4" fmla="*/ 265484 h 354925"/>
                <a:gd name="connsiteX5" fmla="*/ 55275 w 170364"/>
                <a:gd name="connsiteY5" fmla="*/ 0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64" h="354925">
                  <a:moveTo>
                    <a:pt x="55275" y="0"/>
                  </a:moveTo>
                  <a:cubicBezTo>
                    <a:pt x="55275" y="0"/>
                    <a:pt x="-10031" y="41171"/>
                    <a:pt x="1327" y="100799"/>
                  </a:cubicBezTo>
                  <a:cubicBezTo>
                    <a:pt x="19783" y="191660"/>
                    <a:pt x="86509" y="217214"/>
                    <a:pt x="92188" y="275422"/>
                  </a:cubicBezTo>
                  <a:cubicBezTo>
                    <a:pt x="97866" y="333630"/>
                    <a:pt x="72312" y="354926"/>
                    <a:pt x="72312" y="354926"/>
                  </a:cubicBezTo>
                  <a:lnTo>
                    <a:pt x="173111" y="265484"/>
                  </a:lnTo>
                  <a:lnTo>
                    <a:pt x="55275" y="0"/>
                  </a:ln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E06A3AD2-901B-4CE7-8B25-EC5E3FF3CDB6}"/>
                </a:ext>
              </a:extLst>
            </p:cNvPr>
            <p:cNvSpPr/>
            <p:nvPr userDrawn="1"/>
          </p:nvSpPr>
          <p:spPr>
            <a:xfrm>
              <a:off x="7956687" y="3275069"/>
              <a:ext cx="82127" cy="184787"/>
            </a:xfrm>
            <a:custGeom>
              <a:avLst/>
              <a:gdLst>
                <a:gd name="connsiteX0" fmla="*/ 119255 w 113576"/>
                <a:gd name="connsiteY0" fmla="*/ 90904 h 255546"/>
                <a:gd name="connsiteX1" fmla="*/ 41171 w 113576"/>
                <a:gd name="connsiteY1" fmla="*/ 261268 h 255546"/>
                <a:gd name="connsiteX2" fmla="*/ 11358 w 113576"/>
                <a:gd name="connsiteY2" fmla="*/ 146272 h 255546"/>
                <a:gd name="connsiteX3" fmla="*/ 14197 w 113576"/>
                <a:gd name="connsiteY3" fmla="*/ 126396 h 255546"/>
                <a:gd name="connsiteX4" fmla="*/ 2839 w 113576"/>
                <a:gd name="connsiteY4" fmla="*/ 83805 h 255546"/>
                <a:gd name="connsiteX5" fmla="*/ 0 w 113576"/>
                <a:gd name="connsiteY5" fmla="*/ 76707 h 255546"/>
                <a:gd name="connsiteX6" fmla="*/ 75244 w 113576"/>
                <a:gd name="connsiteY6" fmla="*/ 18499 h 255546"/>
                <a:gd name="connsiteX7" fmla="*/ 119255 w 113576"/>
                <a:gd name="connsiteY7" fmla="*/ 9090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" h="255546">
                  <a:moveTo>
                    <a:pt x="119255" y="90904"/>
                  </a:moveTo>
                  <a:cubicBezTo>
                    <a:pt x="110737" y="183184"/>
                    <a:pt x="61047" y="251330"/>
                    <a:pt x="41171" y="261268"/>
                  </a:cubicBezTo>
                  <a:cubicBezTo>
                    <a:pt x="21296" y="271206"/>
                    <a:pt x="0" y="164728"/>
                    <a:pt x="11358" y="146272"/>
                  </a:cubicBezTo>
                  <a:cubicBezTo>
                    <a:pt x="14197" y="140593"/>
                    <a:pt x="14197" y="133495"/>
                    <a:pt x="14197" y="126396"/>
                  </a:cubicBezTo>
                  <a:cubicBezTo>
                    <a:pt x="12777" y="110780"/>
                    <a:pt x="5679" y="93743"/>
                    <a:pt x="2839" y="83805"/>
                  </a:cubicBezTo>
                  <a:cubicBezTo>
                    <a:pt x="1420" y="79546"/>
                    <a:pt x="0" y="76707"/>
                    <a:pt x="0" y="76707"/>
                  </a:cubicBezTo>
                  <a:cubicBezTo>
                    <a:pt x="0" y="76707"/>
                    <a:pt x="62467" y="-45388"/>
                    <a:pt x="75244" y="18499"/>
                  </a:cubicBezTo>
                  <a:cubicBezTo>
                    <a:pt x="88021" y="82385"/>
                    <a:pt x="119255" y="90904"/>
                    <a:pt x="119255" y="90904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7E2EE75E-655C-4122-8FCE-24E35A89AE58}"/>
                </a:ext>
              </a:extLst>
            </p:cNvPr>
            <p:cNvSpPr/>
            <p:nvPr userDrawn="1"/>
          </p:nvSpPr>
          <p:spPr>
            <a:xfrm>
              <a:off x="7957714" y="3316164"/>
              <a:ext cx="41064" cy="41064"/>
            </a:xfrm>
            <a:custGeom>
              <a:avLst/>
              <a:gdLst>
                <a:gd name="connsiteX0" fmla="*/ 56788 w 56788"/>
                <a:gd name="connsiteY0" fmla="*/ 0 h 56788"/>
                <a:gd name="connsiteX1" fmla="*/ 11358 w 56788"/>
                <a:gd name="connsiteY1" fmla="*/ 68146 h 56788"/>
                <a:gd name="connsiteX2" fmla="*/ 0 w 56788"/>
                <a:gd name="connsiteY2" fmla="*/ 25555 h 56788"/>
                <a:gd name="connsiteX3" fmla="*/ 56788 w 56788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788" h="56788">
                  <a:moveTo>
                    <a:pt x="56788" y="0"/>
                  </a:moveTo>
                  <a:cubicBezTo>
                    <a:pt x="56788" y="1420"/>
                    <a:pt x="41171" y="49690"/>
                    <a:pt x="11358" y="68146"/>
                  </a:cubicBezTo>
                  <a:cubicBezTo>
                    <a:pt x="9938" y="52529"/>
                    <a:pt x="2840" y="35493"/>
                    <a:pt x="0" y="25555"/>
                  </a:cubicBezTo>
                  <a:lnTo>
                    <a:pt x="56788" y="0"/>
                  </a:lnTo>
                  <a:close/>
                </a:path>
              </a:pathLst>
            </a:custGeom>
            <a:solidFill>
              <a:srgbClr val="C48A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CA6787D6-4C01-4150-9F92-27E512A1C21E}"/>
                </a:ext>
              </a:extLst>
            </p:cNvPr>
            <p:cNvSpPr/>
            <p:nvPr userDrawn="1"/>
          </p:nvSpPr>
          <p:spPr>
            <a:xfrm>
              <a:off x="7872507" y="3163201"/>
              <a:ext cx="133457" cy="184787"/>
            </a:xfrm>
            <a:custGeom>
              <a:avLst/>
              <a:gdLst>
                <a:gd name="connsiteX0" fmla="*/ 0 w 184561"/>
                <a:gd name="connsiteY0" fmla="*/ 26974 h 255546"/>
                <a:gd name="connsiteX1" fmla="*/ 44011 w 184561"/>
                <a:gd name="connsiteY1" fmla="*/ 205857 h 255546"/>
                <a:gd name="connsiteX2" fmla="*/ 168944 w 184561"/>
                <a:gd name="connsiteY2" fmla="*/ 221474 h 255546"/>
                <a:gd name="connsiteX3" fmla="*/ 149069 w 184561"/>
                <a:gd name="connsiteY3" fmla="*/ 0 h 255546"/>
                <a:gd name="connsiteX4" fmla="*/ 0 w 184561"/>
                <a:gd name="connsiteY4" fmla="*/ 2697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61" h="255546">
                  <a:moveTo>
                    <a:pt x="0" y="26974"/>
                  </a:moveTo>
                  <a:cubicBezTo>
                    <a:pt x="0" y="26974"/>
                    <a:pt x="7099" y="150488"/>
                    <a:pt x="44011" y="205857"/>
                  </a:cubicBezTo>
                  <a:cubicBezTo>
                    <a:pt x="103638" y="293878"/>
                    <a:pt x="130613" y="264065"/>
                    <a:pt x="168944" y="221474"/>
                  </a:cubicBezTo>
                  <a:cubicBezTo>
                    <a:pt x="222893" y="159007"/>
                    <a:pt x="149069" y="0"/>
                    <a:pt x="149069" y="0"/>
                  </a:cubicBezTo>
                  <a:lnTo>
                    <a:pt x="0" y="26974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DC21228C-93F3-4D59-922D-4C83C51036F8}"/>
                </a:ext>
              </a:extLst>
            </p:cNvPr>
            <p:cNvSpPr/>
            <p:nvPr userDrawn="1"/>
          </p:nvSpPr>
          <p:spPr>
            <a:xfrm>
              <a:off x="7859087" y="3144104"/>
              <a:ext cx="153989" cy="164255"/>
            </a:xfrm>
            <a:custGeom>
              <a:avLst/>
              <a:gdLst>
                <a:gd name="connsiteX0" fmla="*/ 15718 w 212955"/>
                <a:gd name="connsiteY0" fmla="*/ 152763 h 227152"/>
                <a:gd name="connsiteX1" fmla="*/ 110839 w 212955"/>
                <a:gd name="connsiteY1" fmla="*/ 128628 h 227152"/>
                <a:gd name="connsiteX2" fmla="*/ 203119 w 212955"/>
                <a:gd name="connsiteY2" fmla="*/ 228007 h 227152"/>
                <a:gd name="connsiteX3" fmla="*/ 193181 w 212955"/>
                <a:gd name="connsiteY3" fmla="*/ 53384 h 227152"/>
                <a:gd name="connsiteX4" fmla="*/ 54051 w 212955"/>
                <a:gd name="connsiteY4" fmla="*/ 13632 h 227152"/>
                <a:gd name="connsiteX5" fmla="*/ 15718 w 212955"/>
                <a:gd name="connsiteY5" fmla="*/ 152763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227152">
                  <a:moveTo>
                    <a:pt x="15718" y="152763"/>
                  </a:moveTo>
                  <a:cubicBezTo>
                    <a:pt x="15718" y="152763"/>
                    <a:pt x="55470" y="162701"/>
                    <a:pt x="110839" y="128628"/>
                  </a:cubicBezTo>
                  <a:cubicBezTo>
                    <a:pt x="166207" y="94555"/>
                    <a:pt x="188922" y="223748"/>
                    <a:pt x="203119" y="228007"/>
                  </a:cubicBezTo>
                  <a:cubicBezTo>
                    <a:pt x="215896" y="230846"/>
                    <a:pt x="224415" y="87456"/>
                    <a:pt x="193181" y="53384"/>
                  </a:cubicBezTo>
                  <a:cubicBezTo>
                    <a:pt x="163368" y="19311"/>
                    <a:pt x="107999" y="-21861"/>
                    <a:pt x="54051" y="13632"/>
                  </a:cubicBezTo>
                  <a:cubicBezTo>
                    <a:pt x="-4157" y="49124"/>
                    <a:pt x="-12676" y="100234"/>
                    <a:pt x="15718" y="152763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4D4BA449-4817-4C2E-809F-BBF3026AA5CC}"/>
                </a:ext>
              </a:extLst>
            </p:cNvPr>
            <p:cNvSpPr/>
            <p:nvPr userDrawn="1"/>
          </p:nvSpPr>
          <p:spPr>
            <a:xfrm>
              <a:off x="7881390" y="3140530"/>
              <a:ext cx="215584" cy="215584"/>
            </a:xfrm>
            <a:custGeom>
              <a:avLst/>
              <a:gdLst>
                <a:gd name="connsiteX0" fmla="*/ 492 w 298137"/>
                <a:gd name="connsiteY0" fmla="*/ 37031 h 298137"/>
                <a:gd name="connsiteX1" fmla="*/ 81415 w 298137"/>
                <a:gd name="connsiteY1" fmla="*/ 118 h 298137"/>
                <a:gd name="connsiteX2" fmla="*/ 209188 w 298137"/>
                <a:gd name="connsiteY2" fmla="*/ 140669 h 298137"/>
                <a:gd name="connsiteX3" fmla="*/ 301468 w 298137"/>
                <a:gd name="connsiteY3" fmla="*/ 296836 h 298137"/>
                <a:gd name="connsiteX4" fmla="*/ 179374 w 298137"/>
                <a:gd name="connsiteY4" fmla="*/ 248566 h 298137"/>
                <a:gd name="connsiteX5" fmla="*/ 135363 w 298137"/>
                <a:gd name="connsiteY5" fmla="*/ 163384 h 298137"/>
                <a:gd name="connsiteX6" fmla="*/ 33145 w 298137"/>
                <a:gd name="connsiteY6" fmla="*/ 61166 h 298137"/>
                <a:gd name="connsiteX7" fmla="*/ 492 w 298137"/>
                <a:gd name="connsiteY7" fmla="*/ 37031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137" h="298137">
                  <a:moveTo>
                    <a:pt x="492" y="37031"/>
                  </a:moveTo>
                  <a:cubicBezTo>
                    <a:pt x="492" y="37031"/>
                    <a:pt x="20367" y="2958"/>
                    <a:pt x="81415" y="118"/>
                  </a:cubicBezTo>
                  <a:cubicBezTo>
                    <a:pt x="128265" y="-2721"/>
                    <a:pt x="200670" y="45549"/>
                    <a:pt x="209188" y="140669"/>
                  </a:cubicBezTo>
                  <a:cubicBezTo>
                    <a:pt x="219126" y="262763"/>
                    <a:pt x="275914" y="285479"/>
                    <a:pt x="301468" y="296836"/>
                  </a:cubicBezTo>
                  <a:cubicBezTo>
                    <a:pt x="327023" y="308194"/>
                    <a:pt x="213447" y="301095"/>
                    <a:pt x="179374" y="248566"/>
                  </a:cubicBezTo>
                  <a:cubicBezTo>
                    <a:pt x="163757" y="224431"/>
                    <a:pt x="142462" y="188939"/>
                    <a:pt x="135363" y="163384"/>
                  </a:cubicBezTo>
                  <a:cubicBezTo>
                    <a:pt x="128265" y="137830"/>
                    <a:pt x="72896" y="42709"/>
                    <a:pt x="33145" y="61166"/>
                  </a:cubicBezTo>
                  <a:cubicBezTo>
                    <a:pt x="-6607" y="79622"/>
                    <a:pt x="492" y="37031"/>
                    <a:pt x="492" y="37031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CF7D7AC4-0A98-4FC4-B2F4-402CAF0A2675}"/>
                </a:ext>
              </a:extLst>
            </p:cNvPr>
            <p:cNvSpPr/>
            <p:nvPr userDrawn="1"/>
          </p:nvSpPr>
          <p:spPr>
            <a:xfrm>
              <a:off x="7971467" y="3244141"/>
              <a:ext cx="20532" cy="30798"/>
            </a:xfrm>
            <a:custGeom>
              <a:avLst/>
              <a:gdLst>
                <a:gd name="connsiteX0" fmla="*/ 856 w 28394"/>
                <a:gd name="connsiteY0" fmla="*/ 24358 h 42591"/>
                <a:gd name="connsiteX1" fmla="*/ 27830 w 28394"/>
                <a:gd name="connsiteY1" fmla="*/ 4482 h 42591"/>
                <a:gd name="connsiteX2" fmla="*/ 19312 w 28394"/>
                <a:gd name="connsiteY2" fmla="*/ 54172 h 42591"/>
                <a:gd name="connsiteX3" fmla="*/ 856 w 28394"/>
                <a:gd name="connsiteY3" fmla="*/ 24358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856" y="24358"/>
                  </a:moveTo>
                  <a:cubicBezTo>
                    <a:pt x="-4823" y="8741"/>
                    <a:pt x="19312" y="-8295"/>
                    <a:pt x="27830" y="4482"/>
                  </a:cubicBezTo>
                  <a:cubicBezTo>
                    <a:pt x="36348" y="15840"/>
                    <a:pt x="33509" y="58431"/>
                    <a:pt x="19312" y="54172"/>
                  </a:cubicBezTo>
                  <a:cubicBezTo>
                    <a:pt x="5115" y="48493"/>
                    <a:pt x="856" y="24358"/>
                    <a:pt x="856" y="24358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F4828A41-3BC6-4453-AACE-1F9FE29A5910}"/>
                </a:ext>
              </a:extLst>
            </p:cNvPr>
            <p:cNvSpPr/>
            <p:nvPr userDrawn="1"/>
          </p:nvSpPr>
          <p:spPr>
            <a:xfrm>
              <a:off x="7914789" y="3363387"/>
              <a:ext cx="51330" cy="503031"/>
            </a:xfrm>
            <a:custGeom>
              <a:avLst/>
              <a:gdLst>
                <a:gd name="connsiteX0" fmla="*/ 70719 w 70985"/>
                <a:gd name="connsiteY0" fmla="*/ 0 h 695654"/>
                <a:gd name="connsiteX1" fmla="*/ 69299 w 70985"/>
                <a:gd name="connsiteY1" fmla="*/ 39752 h 695654"/>
                <a:gd name="connsiteX2" fmla="*/ 45164 w 70985"/>
                <a:gd name="connsiteY2" fmla="*/ 184561 h 695654"/>
                <a:gd name="connsiteX3" fmla="*/ 35226 w 70985"/>
                <a:gd name="connsiteY3" fmla="*/ 657322 h 695654"/>
                <a:gd name="connsiteX4" fmla="*/ 9672 w 70985"/>
                <a:gd name="connsiteY4" fmla="*/ 701333 h 695654"/>
                <a:gd name="connsiteX5" fmla="*/ 16770 w 70985"/>
                <a:gd name="connsiteY5" fmla="*/ 296718 h 695654"/>
                <a:gd name="connsiteX6" fmla="*/ 1154 w 70985"/>
                <a:gd name="connsiteY6" fmla="*/ 195919 h 695654"/>
                <a:gd name="connsiteX7" fmla="*/ 22449 w 70985"/>
                <a:gd name="connsiteY7" fmla="*/ 46850 h 695654"/>
                <a:gd name="connsiteX8" fmla="*/ 70719 w 70985"/>
                <a:gd name="connsiteY8" fmla="*/ 0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85" h="695654">
                  <a:moveTo>
                    <a:pt x="70719" y="0"/>
                  </a:moveTo>
                  <a:cubicBezTo>
                    <a:pt x="70719" y="0"/>
                    <a:pt x="73558" y="14197"/>
                    <a:pt x="69299" y="39752"/>
                  </a:cubicBezTo>
                  <a:cubicBezTo>
                    <a:pt x="62201" y="79503"/>
                    <a:pt x="46584" y="140551"/>
                    <a:pt x="45164" y="184561"/>
                  </a:cubicBezTo>
                  <a:cubicBezTo>
                    <a:pt x="42325" y="256966"/>
                    <a:pt x="84916" y="380480"/>
                    <a:pt x="35226" y="657322"/>
                  </a:cubicBezTo>
                  <a:cubicBezTo>
                    <a:pt x="26708" y="671519"/>
                    <a:pt x="18190" y="685716"/>
                    <a:pt x="9672" y="701333"/>
                  </a:cubicBezTo>
                  <a:cubicBezTo>
                    <a:pt x="9672" y="698493"/>
                    <a:pt x="46584" y="376221"/>
                    <a:pt x="16770" y="296718"/>
                  </a:cubicBezTo>
                  <a:cubicBezTo>
                    <a:pt x="-266" y="252707"/>
                    <a:pt x="-1686" y="254127"/>
                    <a:pt x="1154" y="195919"/>
                  </a:cubicBezTo>
                  <a:cubicBezTo>
                    <a:pt x="2573" y="150488"/>
                    <a:pt x="3993" y="107897"/>
                    <a:pt x="22449" y="46850"/>
                  </a:cubicBezTo>
                  <a:cubicBezTo>
                    <a:pt x="39485" y="28394"/>
                    <a:pt x="63620" y="5679"/>
                    <a:pt x="70719" y="0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45B2F10-F311-47B8-B892-15128EBCD59F}"/>
                </a:ext>
              </a:extLst>
            </p:cNvPr>
            <p:cNvSpPr/>
            <p:nvPr userDrawn="1"/>
          </p:nvSpPr>
          <p:spPr>
            <a:xfrm>
              <a:off x="7827337" y="3471179"/>
              <a:ext cx="30798" cy="51330"/>
            </a:xfrm>
            <a:custGeom>
              <a:avLst/>
              <a:gdLst>
                <a:gd name="connsiteX0" fmla="*/ 19876 w 42591"/>
                <a:gd name="connsiteY0" fmla="*/ 18456 h 70985"/>
                <a:gd name="connsiteX1" fmla="*/ 0 w 42591"/>
                <a:gd name="connsiteY1" fmla="*/ 79503 h 70985"/>
                <a:gd name="connsiteX2" fmla="*/ 42591 w 42591"/>
                <a:gd name="connsiteY2" fmla="*/ 0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91" h="70985">
                  <a:moveTo>
                    <a:pt x="19876" y="18456"/>
                  </a:moveTo>
                  <a:lnTo>
                    <a:pt x="0" y="79503"/>
                  </a:lnTo>
                  <a:lnTo>
                    <a:pt x="42591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8982B852-C18A-41CE-979C-BDC6B4EFBB68}"/>
                </a:ext>
              </a:extLst>
            </p:cNvPr>
            <p:cNvSpPr/>
            <p:nvPr userDrawn="1"/>
          </p:nvSpPr>
          <p:spPr>
            <a:xfrm>
              <a:off x="8052160" y="3019478"/>
              <a:ext cx="195052" cy="174521"/>
            </a:xfrm>
            <a:custGeom>
              <a:avLst/>
              <a:gdLst>
                <a:gd name="connsiteX0" fmla="*/ 278261 w 269743"/>
                <a:gd name="connsiteY0" fmla="*/ 0 h 241349"/>
                <a:gd name="connsiteX1" fmla="*/ 0 w 269743"/>
                <a:gd name="connsiteY1" fmla="*/ 0 h 241349"/>
                <a:gd name="connsiteX2" fmla="*/ 0 w 269743"/>
                <a:gd name="connsiteY2" fmla="*/ 201598 h 241349"/>
                <a:gd name="connsiteX3" fmla="*/ 0 w 269743"/>
                <a:gd name="connsiteY3" fmla="*/ 244189 h 241349"/>
                <a:gd name="connsiteX4" fmla="*/ 42591 w 269743"/>
                <a:gd name="connsiteY4" fmla="*/ 201598 h 241349"/>
                <a:gd name="connsiteX5" fmla="*/ 278261 w 269743"/>
                <a:gd name="connsiteY5" fmla="*/ 20159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43" h="241349">
                  <a:moveTo>
                    <a:pt x="278261" y="0"/>
                  </a:moveTo>
                  <a:lnTo>
                    <a:pt x="0" y="0"/>
                  </a:lnTo>
                  <a:lnTo>
                    <a:pt x="0" y="201598"/>
                  </a:lnTo>
                  <a:lnTo>
                    <a:pt x="0" y="244189"/>
                  </a:lnTo>
                  <a:lnTo>
                    <a:pt x="42591" y="201598"/>
                  </a:lnTo>
                  <a:lnTo>
                    <a:pt x="278261" y="201598"/>
                  </a:lnTo>
                  <a:close/>
                </a:path>
              </a:pathLst>
            </a:custGeom>
            <a:solidFill>
              <a:srgbClr val="FFFFF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7AA84027-6442-41C0-817A-36B307D6DAFC}"/>
                </a:ext>
              </a:extLst>
            </p:cNvPr>
            <p:cNvSpPr/>
            <p:nvPr userDrawn="1"/>
          </p:nvSpPr>
          <p:spPr>
            <a:xfrm>
              <a:off x="9684033" y="4339936"/>
              <a:ext cx="143723" cy="71861"/>
            </a:xfrm>
            <a:custGeom>
              <a:avLst/>
              <a:gdLst>
                <a:gd name="connsiteX0" fmla="*/ 84330 w 198758"/>
                <a:gd name="connsiteY0" fmla="*/ 6740 h 99379"/>
                <a:gd name="connsiteX1" fmla="*/ 152476 w 198758"/>
                <a:gd name="connsiteY1" fmla="*/ 49331 h 99379"/>
                <a:gd name="connsiteX2" fmla="*/ 210684 w 198758"/>
                <a:gd name="connsiteY2" fmla="*/ 86243 h 99379"/>
                <a:gd name="connsiteX3" fmla="*/ 72973 w 198758"/>
                <a:gd name="connsiteY3" fmla="*/ 99021 h 99379"/>
                <a:gd name="connsiteX4" fmla="*/ 1988 w 198758"/>
                <a:gd name="connsiteY4" fmla="*/ 62108 h 99379"/>
                <a:gd name="connsiteX5" fmla="*/ 9086 w 198758"/>
                <a:gd name="connsiteY5" fmla="*/ 1061 h 99379"/>
                <a:gd name="connsiteX6" fmla="*/ 84330 w 198758"/>
                <a:gd name="connsiteY6" fmla="*/ 6740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58" h="99379">
                  <a:moveTo>
                    <a:pt x="84330" y="6740"/>
                  </a:moveTo>
                  <a:cubicBezTo>
                    <a:pt x="84330" y="6740"/>
                    <a:pt x="118403" y="42233"/>
                    <a:pt x="152476" y="49331"/>
                  </a:cubicBezTo>
                  <a:cubicBezTo>
                    <a:pt x="186549" y="56430"/>
                    <a:pt x="210684" y="66367"/>
                    <a:pt x="210684" y="86243"/>
                  </a:cubicBezTo>
                  <a:cubicBezTo>
                    <a:pt x="210684" y="106119"/>
                    <a:pt x="111304" y="120316"/>
                    <a:pt x="72973" y="99021"/>
                  </a:cubicBezTo>
                  <a:cubicBezTo>
                    <a:pt x="14765" y="67787"/>
                    <a:pt x="9086" y="77725"/>
                    <a:pt x="1988" y="62108"/>
                  </a:cubicBezTo>
                  <a:cubicBezTo>
                    <a:pt x="-5111" y="46492"/>
                    <a:pt x="9086" y="5320"/>
                    <a:pt x="9086" y="1061"/>
                  </a:cubicBezTo>
                  <a:cubicBezTo>
                    <a:pt x="9086" y="-3198"/>
                    <a:pt x="84330" y="6740"/>
                    <a:pt x="84330" y="674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69C275B-3D01-4724-B4FF-9AE143383078}"/>
                </a:ext>
              </a:extLst>
            </p:cNvPr>
            <p:cNvSpPr/>
            <p:nvPr userDrawn="1"/>
          </p:nvSpPr>
          <p:spPr>
            <a:xfrm>
              <a:off x="9691616" y="4325305"/>
              <a:ext cx="51330" cy="20532"/>
            </a:xfrm>
            <a:custGeom>
              <a:avLst/>
              <a:gdLst>
                <a:gd name="connsiteX0" fmla="*/ 71005 w 70985"/>
                <a:gd name="connsiteY0" fmla="*/ 9938 h 28394"/>
                <a:gd name="connsiteX1" fmla="*/ 75264 w 70985"/>
                <a:gd name="connsiteY1" fmla="*/ 26974 h 28394"/>
                <a:gd name="connsiteX2" fmla="*/ 19 w 70985"/>
                <a:gd name="connsiteY2" fmla="*/ 22715 h 28394"/>
                <a:gd name="connsiteX3" fmla="*/ 4279 w 70985"/>
                <a:gd name="connsiteY3" fmla="*/ 0 h 28394"/>
                <a:gd name="connsiteX4" fmla="*/ 71005 w 70985"/>
                <a:gd name="connsiteY4" fmla="*/ 993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1005" y="9938"/>
                  </a:moveTo>
                  <a:cubicBezTo>
                    <a:pt x="71005" y="9938"/>
                    <a:pt x="75264" y="26974"/>
                    <a:pt x="75264" y="26974"/>
                  </a:cubicBezTo>
                  <a:cubicBezTo>
                    <a:pt x="75264" y="26974"/>
                    <a:pt x="-1400" y="35493"/>
                    <a:pt x="19" y="22715"/>
                  </a:cubicBezTo>
                  <a:cubicBezTo>
                    <a:pt x="1439" y="11358"/>
                    <a:pt x="4279" y="0"/>
                    <a:pt x="4279" y="0"/>
                  </a:cubicBezTo>
                  <a:lnTo>
                    <a:pt x="71005" y="9938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45949817-503B-457F-A81A-0D7C59DCBECA}"/>
                </a:ext>
              </a:extLst>
            </p:cNvPr>
            <p:cNvSpPr/>
            <p:nvPr userDrawn="1"/>
          </p:nvSpPr>
          <p:spPr>
            <a:xfrm>
              <a:off x="9411722" y="4349415"/>
              <a:ext cx="133457" cy="82127"/>
            </a:xfrm>
            <a:custGeom>
              <a:avLst/>
              <a:gdLst>
                <a:gd name="connsiteX0" fmla="*/ 79017 w 184561"/>
                <a:gd name="connsiteY0" fmla="*/ 2150 h 113576"/>
                <a:gd name="connsiteX1" fmla="*/ 137225 w 184561"/>
                <a:gd name="connsiteY1" fmla="*/ 44742 h 113576"/>
                <a:gd name="connsiteX2" fmla="*/ 192594 w 184561"/>
                <a:gd name="connsiteY2" fmla="*/ 87333 h 113576"/>
                <a:gd name="connsiteX3" fmla="*/ 59142 w 184561"/>
                <a:gd name="connsiteY3" fmla="*/ 98690 h 113576"/>
                <a:gd name="connsiteX4" fmla="*/ 2354 w 184561"/>
                <a:gd name="connsiteY4" fmla="*/ 63198 h 113576"/>
                <a:gd name="connsiteX5" fmla="*/ 5193 w 184561"/>
                <a:gd name="connsiteY5" fmla="*/ 3570 h 113576"/>
                <a:gd name="connsiteX6" fmla="*/ 79017 w 184561"/>
                <a:gd name="connsiteY6" fmla="*/ 215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13576">
                  <a:moveTo>
                    <a:pt x="79017" y="2150"/>
                  </a:moveTo>
                  <a:cubicBezTo>
                    <a:pt x="79017" y="2150"/>
                    <a:pt x="104572" y="36223"/>
                    <a:pt x="137225" y="44742"/>
                  </a:cubicBezTo>
                  <a:cubicBezTo>
                    <a:pt x="169878" y="53260"/>
                    <a:pt x="191174" y="67457"/>
                    <a:pt x="192594" y="87333"/>
                  </a:cubicBezTo>
                  <a:cubicBezTo>
                    <a:pt x="194013" y="107209"/>
                    <a:pt x="115930" y="132763"/>
                    <a:pt x="59142" y="98690"/>
                  </a:cubicBezTo>
                  <a:cubicBezTo>
                    <a:pt x="22229" y="75975"/>
                    <a:pt x="9452" y="77395"/>
                    <a:pt x="2354" y="63198"/>
                  </a:cubicBezTo>
                  <a:cubicBezTo>
                    <a:pt x="-4745" y="49001"/>
                    <a:pt x="6613" y="7829"/>
                    <a:pt x="5193" y="3570"/>
                  </a:cubicBezTo>
                  <a:cubicBezTo>
                    <a:pt x="5193" y="-3528"/>
                    <a:pt x="79017" y="2150"/>
                    <a:pt x="79017" y="215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6B01E2F-F572-4A10-AA3E-1C76C9CCDB47}"/>
                </a:ext>
              </a:extLst>
            </p:cNvPr>
            <p:cNvSpPr/>
            <p:nvPr userDrawn="1"/>
          </p:nvSpPr>
          <p:spPr>
            <a:xfrm>
              <a:off x="9416503" y="4333518"/>
              <a:ext cx="51330" cy="20532"/>
            </a:xfrm>
            <a:custGeom>
              <a:avLst/>
              <a:gdLst>
                <a:gd name="connsiteX0" fmla="*/ 72405 w 70985"/>
                <a:gd name="connsiteY0" fmla="*/ 7099 h 28394"/>
                <a:gd name="connsiteX1" fmla="*/ 73825 w 70985"/>
                <a:gd name="connsiteY1" fmla="*/ 24135 h 28394"/>
                <a:gd name="connsiteX2" fmla="*/ 0 w 70985"/>
                <a:gd name="connsiteY2" fmla="*/ 24135 h 28394"/>
                <a:gd name="connsiteX3" fmla="*/ 4259 w 70985"/>
                <a:gd name="connsiteY3" fmla="*/ 0 h 28394"/>
                <a:gd name="connsiteX4" fmla="*/ 72405 w 70985"/>
                <a:gd name="connsiteY4" fmla="*/ 7099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2405" y="7099"/>
                  </a:moveTo>
                  <a:cubicBezTo>
                    <a:pt x="72405" y="7099"/>
                    <a:pt x="73825" y="24135"/>
                    <a:pt x="73825" y="24135"/>
                  </a:cubicBezTo>
                  <a:cubicBezTo>
                    <a:pt x="73825" y="24135"/>
                    <a:pt x="0" y="36912"/>
                    <a:pt x="0" y="24135"/>
                  </a:cubicBezTo>
                  <a:cubicBezTo>
                    <a:pt x="0" y="14197"/>
                    <a:pt x="4259" y="0"/>
                    <a:pt x="4259" y="0"/>
                  </a:cubicBezTo>
                  <a:lnTo>
                    <a:pt x="72405" y="7099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70A4762F-B06E-4A1D-ACAD-D8B700E28375}"/>
                </a:ext>
              </a:extLst>
            </p:cNvPr>
            <p:cNvSpPr/>
            <p:nvPr userDrawn="1"/>
          </p:nvSpPr>
          <p:spPr>
            <a:xfrm>
              <a:off x="9399051" y="3556931"/>
              <a:ext cx="349042" cy="790477"/>
            </a:xfrm>
            <a:custGeom>
              <a:avLst/>
              <a:gdLst>
                <a:gd name="connsiteX0" fmla="*/ 397517 w 482698"/>
                <a:gd name="connsiteY0" fmla="*/ 73072 h 1093170"/>
                <a:gd name="connsiteX1" fmla="*/ 447206 w 482698"/>
                <a:gd name="connsiteY1" fmla="*/ 418060 h 1093170"/>
                <a:gd name="connsiteX2" fmla="*/ 474181 w 482698"/>
                <a:gd name="connsiteY2" fmla="*/ 656569 h 1093170"/>
                <a:gd name="connsiteX3" fmla="*/ 492637 w 482698"/>
                <a:gd name="connsiteY3" fmla="*/ 1082480 h 1093170"/>
                <a:gd name="connsiteX4" fmla="*/ 388999 w 482698"/>
                <a:gd name="connsiteY4" fmla="*/ 1092418 h 1093170"/>
                <a:gd name="connsiteX5" fmla="*/ 336470 w 482698"/>
                <a:gd name="connsiteY5" fmla="*/ 587004 h 1093170"/>
                <a:gd name="connsiteX6" fmla="*/ 235671 w 482698"/>
                <a:gd name="connsiteY6" fmla="*/ 247695 h 1093170"/>
                <a:gd name="connsiteX7" fmla="*/ 163266 w 482698"/>
                <a:gd name="connsiteY7" fmla="*/ 639533 h 1093170"/>
                <a:gd name="connsiteX8" fmla="*/ 122094 w 482698"/>
                <a:gd name="connsiteY8" fmla="*/ 1099517 h 1093170"/>
                <a:gd name="connsiteX9" fmla="*/ 0 w 482698"/>
                <a:gd name="connsiteY9" fmla="*/ 1099517 h 1093170"/>
                <a:gd name="connsiteX10" fmla="*/ 22715 w 482698"/>
                <a:gd name="connsiteY10" fmla="*/ 638113 h 1093170"/>
                <a:gd name="connsiteX11" fmla="*/ 62467 w 482698"/>
                <a:gd name="connsiteY11" fmla="*/ 30481 h 1093170"/>
                <a:gd name="connsiteX12" fmla="*/ 397517 w 482698"/>
                <a:gd name="connsiteY12" fmla="*/ 73072 h 109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2698" h="1093170">
                  <a:moveTo>
                    <a:pt x="397517" y="73072"/>
                  </a:moveTo>
                  <a:cubicBezTo>
                    <a:pt x="397517" y="73072"/>
                    <a:pt x="433009" y="331458"/>
                    <a:pt x="447206" y="418060"/>
                  </a:cubicBezTo>
                  <a:cubicBezTo>
                    <a:pt x="464243" y="520278"/>
                    <a:pt x="469921" y="604041"/>
                    <a:pt x="474181" y="656569"/>
                  </a:cubicBezTo>
                  <a:cubicBezTo>
                    <a:pt x="479860" y="723296"/>
                    <a:pt x="488378" y="1062604"/>
                    <a:pt x="492637" y="1082480"/>
                  </a:cubicBezTo>
                  <a:cubicBezTo>
                    <a:pt x="496896" y="1102356"/>
                    <a:pt x="388999" y="1092418"/>
                    <a:pt x="388999" y="1092418"/>
                  </a:cubicBezTo>
                  <a:cubicBezTo>
                    <a:pt x="388999" y="1092418"/>
                    <a:pt x="353506" y="657989"/>
                    <a:pt x="336470" y="587004"/>
                  </a:cubicBezTo>
                  <a:cubicBezTo>
                    <a:pt x="319433" y="521698"/>
                    <a:pt x="258386" y="240597"/>
                    <a:pt x="235671" y="247695"/>
                  </a:cubicBezTo>
                  <a:cubicBezTo>
                    <a:pt x="188821" y="261892"/>
                    <a:pt x="174624" y="588424"/>
                    <a:pt x="163266" y="639533"/>
                  </a:cubicBezTo>
                  <a:cubicBezTo>
                    <a:pt x="151908" y="692062"/>
                    <a:pt x="122094" y="1099517"/>
                    <a:pt x="122094" y="1099517"/>
                  </a:cubicBezTo>
                  <a:cubicBezTo>
                    <a:pt x="122094" y="1099517"/>
                    <a:pt x="21296" y="1115133"/>
                    <a:pt x="0" y="1099517"/>
                  </a:cubicBezTo>
                  <a:cubicBezTo>
                    <a:pt x="0" y="1099517"/>
                    <a:pt x="15617" y="734653"/>
                    <a:pt x="22715" y="638113"/>
                  </a:cubicBezTo>
                  <a:cubicBezTo>
                    <a:pt x="25555" y="601201"/>
                    <a:pt x="-1419" y="193747"/>
                    <a:pt x="62467" y="30481"/>
                  </a:cubicBezTo>
                  <a:cubicBezTo>
                    <a:pt x="96540" y="-57541"/>
                    <a:pt x="397517" y="73072"/>
                    <a:pt x="397517" y="73072"/>
                  </a:cubicBezTo>
                  <a:close/>
                </a:path>
              </a:pathLst>
            </a:custGeom>
            <a:solidFill>
              <a:srgbClr val="2F324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DCF2B67-4FC6-4EF2-B06A-99DF65791431}"/>
                </a:ext>
              </a:extLst>
            </p:cNvPr>
            <p:cNvSpPr/>
            <p:nvPr userDrawn="1"/>
          </p:nvSpPr>
          <p:spPr>
            <a:xfrm>
              <a:off x="9623723" y="3149855"/>
              <a:ext cx="256649" cy="307978"/>
            </a:xfrm>
            <a:custGeom>
              <a:avLst/>
              <a:gdLst>
                <a:gd name="connsiteX0" fmla="*/ 352296 w 354925"/>
                <a:gd name="connsiteY0" fmla="*/ 433009 h 425910"/>
                <a:gd name="connsiteX1" fmla="*/ 92491 w 354925"/>
                <a:gd name="connsiteY1" fmla="*/ 379060 h 425910"/>
                <a:gd name="connsiteX2" fmla="*/ 47060 w 354925"/>
                <a:gd name="connsiteY2" fmla="*/ 292459 h 425910"/>
                <a:gd name="connsiteX3" fmla="*/ 35703 w 354925"/>
                <a:gd name="connsiteY3" fmla="*/ 252707 h 425910"/>
                <a:gd name="connsiteX4" fmla="*/ 35703 w 354925"/>
                <a:gd name="connsiteY4" fmla="*/ 252707 h 425910"/>
                <a:gd name="connsiteX5" fmla="*/ 14407 w 354925"/>
                <a:gd name="connsiteY5" fmla="*/ 151908 h 425910"/>
                <a:gd name="connsiteX6" fmla="*/ 49900 w 354925"/>
                <a:gd name="connsiteY6" fmla="*/ 0 h 425910"/>
                <a:gd name="connsiteX7" fmla="*/ 96750 w 354925"/>
                <a:gd name="connsiteY7" fmla="*/ 41171 h 425910"/>
                <a:gd name="connsiteX8" fmla="*/ 137921 w 354925"/>
                <a:gd name="connsiteY8" fmla="*/ 143390 h 425910"/>
                <a:gd name="connsiteX9" fmla="*/ 181932 w 354925"/>
                <a:gd name="connsiteY9" fmla="*/ 302397 h 425910"/>
                <a:gd name="connsiteX10" fmla="*/ 234461 w 354925"/>
                <a:gd name="connsiteY10" fmla="*/ 330791 h 425910"/>
                <a:gd name="connsiteX11" fmla="*/ 365073 w 354925"/>
                <a:gd name="connsiteY11" fmla="*/ 346407 h 425910"/>
                <a:gd name="connsiteX12" fmla="*/ 352296 w 354925"/>
                <a:gd name="connsiteY12" fmla="*/ 433009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925" h="425910">
                  <a:moveTo>
                    <a:pt x="352296" y="433009"/>
                  </a:moveTo>
                  <a:cubicBezTo>
                    <a:pt x="352296" y="433009"/>
                    <a:pt x="130822" y="403195"/>
                    <a:pt x="92491" y="379060"/>
                  </a:cubicBezTo>
                  <a:cubicBezTo>
                    <a:pt x="75454" y="367703"/>
                    <a:pt x="59837" y="332210"/>
                    <a:pt x="47060" y="292459"/>
                  </a:cubicBezTo>
                  <a:cubicBezTo>
                    <a:pt x="42801" y="279681"/>
                    <a:pt x="38542" y="265484"/>
                    <a:pt x="35703" y="252707"/>
                  </a:cubicBezTo>
                  <a:cubicBezTo>
                    <a:pt x="35703" y="252707"/>
                    <a:pt x="35703" y="252707"/>
                    <a:pt x="35703" y="252707"/>
                  </a:cubicBezTo>
                  <a:cubicBezTo>
                    <a:pt x="21506" y="200178"/>
                    <a:pt x="14407" y="151908"/>
                    <a:pt x="14407" y="151908"/>
                  </a:cubicBezTo>
                  <a:cubicBezTo>
                    <a:pt x="14407" y="151908"/>
                    <a:pt x="-35283" y="19876"/>
                    <a:pt x="49900" y="0"/>
                  </a:cubicBezTo>
                  <a:cubicBezTo>
                    <a:pt x="49900" y="0"/>
                    <a:pt x="82553" y="8518"/>
                    <a:pt x="96750" y="41171"/>
                  </a:cubicBezTo>
                  <a:cubicBezTo>
                    <a:pt x="110947" y="73825"/>
                    <a:pt x="130822" y="122094"/>
                    <a:pt x="137921" y="143390"/>
                  </a:cubicBezTo>
                  <a:cubicBezTo>
                    <a:pt x="142180" y="157587"/>
                    <a:pt x="179092" y="298137"/>
                    <a:pt x="181932" y="302397"/>
                  </a:cubicBezTo>
                  <a:cubicBezTo>
                    <a:pt x="184771" y="306656"/>
                    <a:pt x="203227" y="322272"/>
                    <a:pt x="234461" y="330791"/>
                  </a:cubicBezTo>
                  <a:cubicBezTo>
                    <a:pt x="284150" y="344988"/>
                    <a:pt x="365073" y="346407"/>
                    <a:pt x="365073" y="346407"/>
                  </a:cubicBezTo>
                  <a:lnTo>
                    <a:pt x="352296" y="433009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D251ABF-7A0F-488B-AAAA-FF879E567ACE}"/>
                </a:ext>
              </a:extLst>
            </p:cNvPr>
            <p:cNvSpPr/>
            <p:nvPr userDrawn="1"/>
          </p:nvSpPr>
          <p:spPr>
            <a:xfrm>
              <a:off x="9528731" y="2928965"/>
              <a:ext cx="133457" cy="184787"/>
            </a:xfrm>
            <a:custGeom>
              <a:avLst/>
              <a:gdLst>
                <a:gd name="connsiteX0" fmla="*/ 6643 w 184561"/>
                <a:gd name="connsiteY0" fmla="*/ 160666 h 255546"/>
                <a:gd name="connsiteX1" fmla="*/ 6643 w 184561"/>
                <a:gd name="connsiteY1" fmla="*/ 160666 h 255546"/>
                <a:gd name="connsiteX2" fmla="*/ 25099 w 184561"/>
                <a:gd name="connsiteY2" fmla="*/ 218874 h 255546"/>
                <a:gd name="connsiteX3" fmla="*/ 179847 w 184561"/>
                <a:gd name="connsiteY3" fmla="*/ 163505 h 255546"/>
                <a:gd name="connsiteX4" fmla="*/ 186945 w 184561"/>
                <a:gd name="connsiteY4" fmla="*/ 95360 h 255546"/>
                <a:gd name="connsiteX5" fmla="*/ 140095 w 184561"/>
                <a:gd name="connsiteY5" fmla="*/ 7338 h 255546"/>
                <a:gd name="connsiteX6" fmla="*/ 18001 w 184561"/>
                <a:gd name="connsiteY6" fmla="*/ 30053 h 255546"/>
                <a:gd name="connsiteX7" fmla="*/ 6643 w 184561"/>
                <a:gd name="connsiteY7" fmla="*/ 160666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561" h="255546">
                  <a:moveTo>
                    <a:pt x="6643" y="160666"/>
                  </a:moveTo>
                  <a:cubicBezTo>
                    <a:pt x="6643" y="160666"/>
                    <a:pt x="6643" y="160666"/>
                    <a:pt x="6643" y="160666"/>
                  </a:cubicBezTo>
                  <a:cubicBezTo>
                    <a:pt x="10902" y="180542"/>
                    <a:pt x="16581" y="200418"/>
                    <a:pt x="25099" y="218874"/>
                  </a:cubicBezTo>
                  <a:cubicBezTo>
                    <a:pt x="52074" y="279921"/>
                    <a:pt x="145774" y="302636"/>
                    <a:pt x="179847" y="163505"/>
                  </a:cubicBezTo>
                  <a:cubicBezTo>
                    <a:pt x="186945" y="136531"/>
                    <a:pt x="188365" y="115235"/>
                    <a:pt x="186945" y="95360"/>
                  </a:cubicBezTo>
                  <a:cubicBezTo>
                    <a:pt x="182686" y="28634"/>
                    <a:pt x="140095" y="7338"/>
                    <a:pt x="140095" y="7338"/>
                  </a:cubicBezTo>
                  <a:cubicBezTo>
                    <a:pt x="107442" y="-2600"/>
                    <a:pt x="47814" y="-8279"/>
                    <a:pt x="18001" y="30053"/>
                  </a:cubicBezTo>
                  <a:cubicBezTo>
                    <a:pt x="-1875" y="57028"/>
                    <a:pt x="-4715" y="110976"/>
                    <a:pt x="6643" y="160666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0AAA7634-80B1-420B-B91A-6B8004D46D73}"/>
                </a:ext>
              </a:extLst>
            </p:cNvPr>
            <p:cNvSpPr/>
            <p:nvPr userDrawn="1"/>
          </p:nvSpPr>
          <p:spPr>
            <a:xfrm>
              <a:off x="9524052" y="2925927"/>
              <a:ext cx="143723" cy="112925"/>
            </a:xfrm>
            <a:custGeom>
              <a:avLst/>
              <a:gdLst>
                <a:gd name="connsiteX0" fmla="*/ 13115 w 198758"/>
                <a:gd name="connsiteY0" fmla="*/ 164866 h 156167"/>
                <a:gd name="connsiteX1" fmla="*/ 13115 w 198758"/>
                <a:gd name="connsiteY1" fmla="*/ 164866 h 156167"/>
                <a:gd name="connsiteX2" fmla="*/ 42928 w 198758"/>
                <a:gd name="connsiteY2" fmla="*/ 136472 h 156167"/>
                <a:gd name="connsiteX3" fmla="*/ 51447 w 198758"/>
                <a:gd name="connsiteY3" fmla="*/ 133633 h 156167"/>
                <a:gd name="connsiteX4" fmla="*/ 81261 w 198758"/>
                <a:gd name="connsiteY4" fmla="*/ 129374 h 156167"/>
                <a:gd name="connsiteX5" fmla="*/ 103975 w 198758"/>
                <a:gd name="connsiteY5" fmla="*/ 74005 h 156167"/>
                <a:gd name="connsiteX6" fmla="*/ 194837 w 198758"/>
                <a:gd name="connsiteY6" fmla="*/ 99560 h 156167"/>
                <a:gd name="connsiteX7" fmla="*/ 170702 w 198758"/>
                <a:gd name="connsiteY7" fmla="*/ 15798 h 156167"/>
                <a:gd name="connsiteX8" fmla="*/ 13115 w 198758"/>
                <a:gd name="connsiteY8" fmla="*/ 25735 h 156167"/>
                <a:gd name="connsiteX9" fmla="*/ 13115 w 198758"/>
                <a:gd name="connsiteY9" fmla="*/ 164866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758" h="156167">
                  <a:moveTo>
                    <a:pt x="13115" y="164866"/>
                  </a:moveTo>
                  <a:cubicBezTo>
                    <a:pt x="13115" y="164866"/>
                    <a:pt x="13115" y="164866"/>
                    <a:pt x="13115" y="164866"/>
                  </a:cubicBezTo>
                  <a:cubicBezTo>
                    <a:pt x="13115" y="164866"/>
                    <a:pt x="17374" y="167706"/>
                    <a:pt x="42928" y="136472"/>
                  </a:cubicBezTo>
                  <a:cubicBezTo>
                    <a:pt x="48607" y="130793"/>
                    <a:pt x="50027" y="136472"/>
                    <a:pt x="51447" y="133633"/>
                  </a:cubicBezTo>
                  <a:lnTo>
                    <a:pt x="81261" y="129374"/>
                  </a:lnTo>
                  <a:cubicBezTo>
                    <a:pt x="81261" y="129374"/>
                    <a:pt x="65644" y="78264"/>
                    <a:pt x="103975" y="74005"/>
                  </a:cubicBezTo>
                  <a:cubicBezTo>
                    <a:pt x="143727" y="69746"/>
                    <a:pt x="194837" y="99560"/>
                    <a:pt x="194837" y="99560"/>
                  </a:cubicBezTo>
                  <a:cubicBezTo>
                    <a:pt x="218971" y="-1239"/>
                    <a:pt x="170702" y="15798"/>
                    <a:pt x="170702" y="15798"/>
                  </a:cubicBezTo>
                  <a:cubicBezTo>
                    <a:pt x="146567" y="-1239"/>
                    <a:pt x="42928" y="-12596"/>
                    <a:pt x="13115" y="25735"/>
                  </a:cubicBezTo>
                  <a:cubicBezTo>
                    <a:pt x="-9601" y="54130"/>
                    <a:pt x="1757" y="115177"/>
                    <a:pt x="13115" y="164866"/>
                  </a:cubicBezTo>
                  <a:close/>
                </a:path>
              </a:pathLst>
            </a:custGeom>
            <a:solidFill>
              <a:srgbClr val="66524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C488960-A31D-4C8E-85D1-8475F48462F4}"/>
                </a:ext>
              </a:extLst>
            </p:cNvPr>
            <p:cNvSpPr/>
            <p:nvPr userDrawn="1"/>
          </p:nvSpPr>
          <p:spPr>
            <a:xfrm>
              <a:off x="9545025" y="2998319"/>
              <a:ext cx="20532" cy="30798"/>
            </a:xfrm>
            <a:custGeom>
              <a:avLst/>
              <a:gdLst>
                <a:gd name="connsiteX0" fmla="*/ 32379 w 28394"/>
                <a:gd name="connsiteY0" fmla="*/ 13644 h 42591"/>
                <a:gd name="connsiteX1" fmla="*/ 3985 w 28394"/>
                <a:gd name="connsiteY1" fmla="*/ 9385 h 42591"/>
                <a:gd name="connsiteX2" fmla="*/ 21021 w 28394"/>
                <a:gd name="connsiteY2" fmla="*/ 51976 h 42591"/>
                <a:gd name="connsiteX3" fmla="*/ 32379 w 28394"/>
                <a:gd name="connsiteY3" fmla="*/ 13644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32379" y="13644"/>
                  </a:moveTo>
                  <a:cubicBezTo>
                    <a:pt x="32379" y="3706"/>
                    <a:pt x="15342" y="-9072"/>
                    <a:pt x="3985" y="9385"/>
                  </a:cubicBezTo>
                  <a:cubicBezTo>
                    <a:pt x="-8793" y="27841"/>
                    <a:pt x="12503" y="54815"/>
                    <a:pt x="21021" y="51976"/>
                  </a:cubicBezTo>
                  <a:cubicBezTo>
                    <a:pt x="28120" y="50556"/>
                    <a:pt x="32379" y="30680"/>
                    <a:pt x="32379" y="13644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329FB3DE-9F73-4F5F-9D25-89C2AA914DD7}"/>
                </a:ext>
              </a:extLst>
            </p:cNvPr>
            <p:cNvSpPr/>
            <p:nvPr userDrawn="1"/>
          </p:nvSpPr>
          <p:spPr>
            <a:xfrm>
              <a:off x="9417530" y="3135473"/>
              <a:ext cx="277181" cy="503031"/>
            </a:xfrm>
            <a:custGeom>
              <a:avLst/>
              <a:gdLst>
                <a:gd name="connsiteX0" fmla="*/ 254127 w 383319"/>
                <a:gd name="connsiteY0" fmla="*/ 13 h 695654"/>
                <a:gd name="connsiteX1" fmla="*/ 344987 w 383319"/>
                <a:gd name="connsiteY1" fmla="*/ 25568 h 695654"/>
                <a:gd name="connsiteX2" fmla="*/ 380480 w 383319"/>
                <a:gd name="connsiteY2" fmla="*/ 161859 h 695654"/>
                <a:gd name="connsiteX3" fmla="*/ 363444 w 383319"/>
                <a:gd name="connsiteY3" fmla="*/ 340741 h 695654"/>
                <a:gd name="connsiteX4" fmla="*/ 386159 w 383319"/>
                <a:gd name="connsiteY4" fmla="*/ 674371 h 695654"/>
                <a:gd name="connsiteX5" fmla="*/ 0 w 383319"/>
                <a:gd name="connsiteY5" fmla="*/ 702765 h 695654"/>
                <a:gd name="connsiteX6" fmla="*/ 41171 w 383319"/>
                <a:gd name="connsiteY6" fmla="*/ 390431 h 695654"/>
                <a:gd name="connsiteX7" fmla="*/ 2839 w 383319"/>
                <a:gd name="connsiteY7" fmla="*/ 157600 h 695654"/>
                <a:gd name="connsiteX8" fmla="*/ 41171 w 383319"/>
                <a:gd name="connsiteY8" fmla="*/ 25568 h 695654"/>
                <a:gd name="connsiteX9" fmla="*/ 154747 w 383319"/>
                <a:gd name="connsiteY9" fmla="*/ 13 h 695654"/>
                <a:gd name="connsiteX10" fmla="*/ 254127 w 383319"/>
                <a:gd name="connsiteY10" fmla="*/ 13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3319" h="695654">
                  <a:moveTo>
                    <a:pt x="254127" y="13"/>
                  </a:moveTo>
                  <a:cubicBezTo>
                    <a:pt x="254127" y="13"/>
                    <a:pt x="335050" y="17049"/>
                    <a:pt x="344987" y="25568"/>
                  </a:cubicBezTo>
                  <a:cubicBezTo>
                    <a:pt x="356345" y="35505"/>
                    <a:pt x="379060" y="134885"/>
                    <a:pt x="380480" y="161859"/>
                  </a:cubicBezTo>
                  <a:cubicBezTo>
                    <a:pt x="381900" y="188833"/>
                    <a:pt x="374801" y="299570"/>
                    <a:pt x="363444" y="340741"/>
                  </a:cubicBezTo>
                  <a:cubicBezTo>
                    <a:pt x="352086" y="381913"/>
                    <a:pt x="379060" y="616164"/>
                    <a:pt x="386159" y="674371"/>
                  </a:cubicBezTo>
                  <a:cubicBezTo>
                    <a:pt x="386159" y="674371"/>
                    <a:pt x="173203" y="725481"/>
                    <a:pt x="0" y="702765"/>
                  </a:cubicBezTo>
                  <a:cubicBezTo>
                    <a:pt x="0" y="702765"/>
                    <a:pt x="46850" y="448639"/>
                    <a:pt x="41171" y="390431"/>
                  </a:cubicBezTo>
                  <a:cubicBezTo>
                    <a:pt x="32653" y="316606"/>
                    <a:pt x="2839" y="157600"/>
                    <a:pt x="2839" y="157600"/>
                  </a:cubicBezTo>
                  <a:cubicBezTo>
                    <a:pt x="2839" y="157600"/>
                    <a:pt x="22715" y="34086"/>
                    <a:pt x="41171" y="25568"/>
                  </a:cubicBezTo>
                  <a:cubicBezTo>
                    <a:pt x="102218" y="-1407"/>
                    <a:pt x="154747" y="13"/>
                    <a:pt x="154747" y="13"/>
                  </a:cubicBezTo>
                  <a:lnTo>
                    <a:pt x="254127" y="13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38A84C33-02B4-460F-9BBC-84C6262D5046}"/>
                </a:ext>
              </a:extLst>
            </p:cNvPr>
            <p:cNvSpPr/>
            <p:nvPr userDrawn="1"/>
          </p:nvSpPr>
          <p:spPr>
            <a:xfrm>
              <a:off x="9531481" y="3049937"/>
              <a:ext cx="71861" cy="102659"/>
            </a:xfrm>
            <a:custGeom>
              <a:avLst/>
              <a:gdLst>
                <a:gd name="connsiteX0" fmla="*/ 106478 w 99379"/>
                <a:gd name="connsiteY0" fmla="*/ 136759 h 141970"/>
                <a:gd name="connsiteX1" fmla="*/ 0 w 99379"/>
                <a:gd name="connsiteY1" fmla="*/ 119723 h 141970"/>
                <a:gd name="connsiteX2" fmla="*/ 8518 w 99379"/>
                <a:gd name="connsiteY2" fmla="*/ 14665 h 141970"/>
                <a:gd name="connsiteX3" fmla="*/ 106478 w 99379"/>
                <a:gd name="connsiteY3" fmla="*/ 78551 h 141970"/>
                <a:gd name="connsiteX4" fmla="*/ 106478 w 99379"/>
                <a:gd name="connsiteY4" fmla="*/ 99847 h 141970"/>
                <a:gd name="connsiteX5" fmla="*/ 106478 w 99379"/>
                <a:gd name="connsiteY5" fmla="*/ 118303 h 141970"/>
                <a:gd name="connsiteX6" fmla="*/ 106478 w 99379"/>
                <a:gd name="connsiteY6" fmla="*/ 136759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79" h="141970">
                  <a:moveTo>
                    <a:pt x="106478" y="136759"/>
                  </a:moveTo>
                  <a:cubicBezTo>
                    <a:pt x="106478" y="136759"/>
                    <a:pt x="82343" y="156635"/>
                    <a:pt x="0" y="119723"/>
                  </a:cubicBezTo>
                  <a:cubicBezTo>
                    <a:pt x="0" y="119723"/>
                    <a:pt x="12777" y="71453"/>
                    <a:pt x="8518" y="14665"/>
                  </a:cubicBezTo>
                  <a:cubicBezTo>
                    <a:pt x="4259" y="-40703"/>
                    <a:pt x="106478" y="78551"/>
                    <a:pt x="106478" y="78551"/>
                  </a:cubicBezTo>
                  <a:cubicBezTo>
                    <a:pt x="106478" y="87070"/>
                    <a:pt x="106478" y="94168"/>
                    <a:pt x="106478" y="99847"/>
                  </a:cubicBezTo>
                  <a:cubicBezTo>
                    <a:pt x="106478" y="106946"/>
                    <a:pt x="106478" y="114044"/>
                    <a:pt x="106478" y="118303"/>
                  </a:cubicBezTo>
                  <a:cubicBezTo>
                    <a:pt x="105058" y="129661"/>
                    <a:pt x="106478" y="136759"/>
                    <a:pt x="106478" y="13675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A4EDF5B6-C578-44A0-AAC1-F947BB8BDDEF}"/>
                </a:ext>
              </a:extLst>
            </p:cNvPr>
            <p:cNvSpPr/>
            <p:nvPr userDrawn="1"/>
          </p:nvSpPr>
          <p:spPr>
            <a:xfrm>
              <a:off x="9528402" y="3134734"/>
              <a:ext cx="82127" cy="20532"/>
            </a:xfrm>
            <a:custGeom>
              <a:avLst/>
              <a:gdLst>
                <a:gd name="connsiteX0" fmla="*/ 117836 w 113576"/>
                <a:gd name="connsiteY0" fmla="*/ 5296 h 28394"/>
                <a:gd name="connsiteX1" fmla="*/ 110737 w 113576"/>
                <a:gd name="connsiteY1" fmla="*/ 37949 h 28394"/>
                <a:gd name="connsiteX2" fmla="*/ 0 w 113576"/>
                <a:gd name="connsiteY2" fmla="*/ 2456 h 28394"/>
                <a:gd name="connsiteX3" fmla="*/ 117836 w 113576"/>
                <a:gd name="connsiteY3" fmla="*/ 5296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28394">
                  <a:moveTo>
                    <a:pt x="117836" y="5296"/>
                  </a:moveTo>
                  <a:cubicBezTo>
                    <a:pt x="117836" y="5296"/>
                    <a:pt x="136291" y="33690"/>
                    <a:pt x="110737" y="37949"/>
                  </a:cubicBezTo>
                  <a:cubicBezTo>
                    <a:pt x="83762" y="42208"/>
                    <a:pt x="29814" y="37949"/>
                    <a:pt x="0" y="2456"/>
                  </a:cubicBezTo>
                  <a:cubicBezTo>
                    <a:pt x="0" y="2456"/>
                    <a:pt x="80923" y="-4642"/>
                    <a:pt x="117836" y="529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D557EF0F-FE3B-4BEB-A513-2806B0308742}"/>
                </a:ext>
              </a:extLst>
            </p:cNvPr>
            <p:cNvSpPr/>
            <p:nvPr userDrawn="1"/>
          </p:nvSpPr>
          <p:spPr>
            <a:xfrm>
              <a:off x="9542773" y="3254568"/>
              <a:ext cx="472233" cy="410638"/>
            </a:xfrm>
            <a:custGeom>
              <a:avLst/>
              <a:gdLst>
                <a:gd name="connsiteX0" fmla="*/ 221474 w 653062"/>
                <a:gd name="connsiteY0" fmla="*/ 0 h 567880"/>
                <a:gd name="connsiteX1" fmla="*/ 0 w 653062"/>
                <a:gd name="connsiteY1" fmla="*/ 545166 h 567880"/>
                <a:gd name="connsiteX2" fmla="*/ 444367 w 653062"/>
                <a:gd name="connsiteY2" fmla="*/ 545166 h 567880"/>
                <a:gd name="connsiteX3" fmla="*/ 663001 w 653062"/>
                <a:gd name="connsiteY3" fmla="*/ 14197 h 567880"/>
                <a:gd name="connsiteX4" fmla="*/ 221474 w 653062"/>
                <a:gd name="connsiteY4" fmla="*/ 0 h 56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062" h="567880">
                  <a:moveTo>
                    <a:pt x="221474" y="0"/>
                  </a:moveTo>
                  <a:cubicBezTo>
                    <a:pt x="221474" y="0"/>
                    <a:pt x="156167" y="346407"/>
                    <a:pt x="0" y="545166"/>
                  </a:cubicBezTo>
                  <a:cubicBezTo>
                    <a:pt x="0" y="545166"/>
                    <a:pt x="159007" y="617570"/>
                    <a:pt x="444367" y="545166"/>
                  </a:cubicBezTo>
                  <a:cubicBezTo>
                    <a:pt x="444367" y="545166"/>
                    <a:pt x="643125" y="205857"/>
                    <a:pt x="663001" y="14197"/>
                  </a:cubicBezTo>
                  <a:cubicBezTo>
                    <a:pt x="663001" y="14197"/>
                    <a:pt x="465663" y="53949"/>
                    <a:pt x="221474" y="0"/>
                  </a:cubicBezTo>
                  <a:close/>
                </a:path>
              </a:pathLst>
            </a:custGeom>
            <a:solidFill>
              <a:srgbClr val="DBDFF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EB05022-BAB3-4E67-81A4-C5EF4CEB72B2}"/>
                </a:ext>
              </a:extLst>
            </p:cNvPr>
            <p:cNvSpPr/>
            <p:nvPr userDrawn="1"/>
          </p:nvSpPr>
          <p:spPr>
            <a:xfrm>
              <a:off x="9565359" y="3282286"/>
              <a:ext cx="431169" cy="369574"/>
            </a:xfrm>
            <a:custGeom>
              <a:avLst/>
              <a:gdLst>
                <a:gd name="connsiteX0" fmla="*/ 201598 w 596274"/>
                <a:gd name="connsiteY0" fmla="*/ 0 h 511092"/>
                <a:gd name="connsiteX1" fmla="*/ 0 w 596274"/>
                <a:gd name="connsiteY1" fmla="*/ 494056 h 511092"/>
                <a:gd name="connsiteX2" fmla="*/ 401776 w 596274"/>
                <a:gd name="connsiteY2" fmla="*/ 494056 h 511092"/>
                <a:gd name="connsiteX3" fmla="*/ 599114 w 596274"/>
                <a:gd name="connsiteY3" fmla="*/ 14197 h 511092"/>
                <a:gd name="connsiteX4" fmla="*/ 201598 w 596274"/>
                <a:gd name="connsiteY4" fmla="*/ 0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274" h="511092">
                  <a:moveTo>
                    <a:pt x="201598" y="0"/>
                  </a:moveTo>
                  <a:cubicBezTo>
                    <a:pt x="201598" y="0"/>
                    <a:pt x="143390" y="313754"/>
                    <a:pt x="0" y="494056"/>
                  </a:cubicBezTo>
                  <a:cubicBezTo>
                    <a:pt x="0" y="494056"/>
                    <a:pt x="143390" y="560782"/>
                    <a:pt x="401776" y="494056"/>
                  </a:cubicBezTo>
                  <a:cubicBezTo>
                    <a:pt x="401776" y="494056"/>
                    <a:pt x="580658" y="185981"/>
                    <a:pt x="599114" y="14197"/>
                  </a:cubicBezTo>
                  <a:cubicBezTo>
                    <a:pt x="600534" y="12777"/>
                    <a:pt x="421652" y="48270"/>
                    <a:pt x="201598" y="0"/>
                  </a:cubicBezTo>
                  <a:close/>
                </a:path>
              </a:pathLst>
            </a:custGeom>
            <a:solidFill>
              <a:srgbClr val="BDC9F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87C4A8BF-8116-42F1-A1FD-0FF7BF8C4C36}"/>
                </a:ext>
              </a:extLst>
            </p:cNvPr>
            <p:cNvSpPr/>
            <p:nvPr userDrawn="1"/>
          </p:nvSpPr>
          <p:spPr>
            <a:xfrm>
              <a:off x="9552013" y="3097499"/>
              <a:ext cx="51330" cy="30798"/>
            </a:xfrm>
            <a:custGeom>
              <a:avLst/>
              <a:gdLst>
                <a:gd name="connsiteX0" fmla="*/ 76664 w 70985"/>
                <a:gd name="connsiteY0" fmla="*/ 51109 h 42591"/>
                <a:gd name="connsiteX1" fmla="*/ 0 w 70985"/>
                <a:gd name="connsiteY1" fmla="*/ 0 h 42591"/>
                <a:gd name="connsiteX2" fmla="*/ 76664 w 70985"/>
                <a:gd name="connsiteY2" fmla="*/ 31233 h 42591"/>
                <a:gd name="connsiteX3" fmla="*/ 76664 w 70985"/>
                <a:gd name="connsiteY3" fmla="*/ 32653 h 42591"/>
                <a:gd name="connsiteX4" fmla="*/ 76664 w 70985"/>
                <a:gd name="connsiteY4" fmla="*/ 51109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42591">
                  <a:moveTo>
                    <a:pt x="76664" y="51109"/>
                  </a:moveTo>
                  <a:cubicBezTo>
                    <a:pt x="19876" y="48270"/>
                    <a:pt x="0" y="0"/>
                    <a:pt x="0" y="0"/>
                  </a:cubicBezTo>
                  <a:cubicBezTo>
                    <a:pt x="28394" y="39752"/>
                    <a:pt x="76664" y="31233"/>
                    <a:pt x="76664" y="31233"/>
                  </a:cubicBezTo>
                  <a:lnTo>
                    <a:pt x="76664" y="32653"/>
                  </a:lnTo>
                  <a:cubicBezTo>
                    <a:pt x="76664" y="39752"/>
                    <a:pt x="76664" y="45430"/>
                    <a:pt x="76664" y="51109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E9F5CFE4-0940-4C0E-A26B-504FE08379E2}"/>
                </a:ext>
              </a:extLst>
            </p:cNvPr>
            <p:cNvSpPr/>
            <p:nvPr userDrawn="1"/>
          </p:nvSpPr>
          <p:spPr>
            <a:xfrm>
              <a:off x="9552939" y="3498415"/>
              <a:ext cx="51330" cy="51330"/>
            </a:xfrm>
            <a:custGeom>
              <a:avLst/>
              <a:gdLst>
                <a:gd name="connsiteX0" fmla="*/ 28534 w 70985"/>
                <a:gd name="connsiteY0" fmla="*/ 4926 h 70985"/>
                <a:gd name="connsiteX1" fmla="*/ 41311 w 70985"/>
                <a:gd name="connsiteY1" fmla="*/ 9185 h 70985"/>
                <a:gd name="connsiteX2" fmla="*/ 76804 w 70985"/>
                <a:gd name="connsiteY2" fmla="*/ 3507 h 70985"/>
                <a:gd name="connsiteX3" fmla="*/ 59767 w 70985"/>
                <a:gd name="connsiteY3" fmla="*/ 75911 h 70985"/>
                <a:gd name="connsiteX4" fmla="*/ 5819 w 70985"/>
                <a:gd name="connsiteY4" fmla="*/ 47517 h 70985"/>
                <a:gd name="connsiteX5" fmla="*/ 28534 w 70985"/>
                <a:gd name="connsiteY5" fmla="*/ 4926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70985">
                  <a:moveTo>
                    <a:pt x="28534" y="4926"/>
                  </a:moveTo>
                  <a:cubicBezTo>
                    <a:pt x="28534" y="4926"/>
                    <a:pt x="35632" y="10605"/>
                    <a:pt x="41311" y="9185"/>
                  </a:cubicBezTo>
                  <a:cubicBezTo>
                    <a:pt x="52669" y="7766"/>
                    <a:pt x="64026" y="-6431"/>
                    <a:pt x="76804" y="3507"/>
                  </a:cubicBezTo>
                  <a:cubicBezTo>
                    <a:pt x="89581" y="14864"/>
                    <a:pt x="68285" y="68813"/>
                    <a:pt x="59767" y="75911"/>
                  </a:cubicBezTo>
                  <a:cubicBezTo>
                    <a:pt x="51249" y="83010"/>
                    <a:pt x="29953" y="74492"/>
                    <a:pt x="5819" y="47517"/>
                  </a:cubicBezTo>
                  <a:cubicBezTo>
                    <a:pt x="-15477" y="21963"/>
                    <a:pt x="28534" y="4926"/>
                    <a:pt x="28534" y="492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F997AAB1-C278-477A-91EC-47A80B369CB5}"/>
                </a:ext>
              </a:extLst>
            </p:cNvPr>
            <p:cNvSpPr/>
            <p:nvPr userDrawn="1"/>
          </p:nvSpPr>
          <p:spPr>
            <a:xfrm>
              <a:off x="9578186" y="3498897"/>
              <a:ext cx="92393" cy="61596"/>
            </a:xfrm>
            <a:custGeom>
              <a:avLst/>
              <a:gdLst>
                <a:gd name="connsiteX0" fmla="*/ 37629 w 127773"/>
                <a:gd name="connsiteY0" fmla="*/ 0 h 85182"/>
                <a:gd name="connsiteX1" fmla="*/ 85899 w 127773"/>
                <a:gd name="connsiteY1" fmla="*/ 17036 h 85182"/>
                <a:gd name="connsiteX2" fmla="*/ 132749 w 127773"/>
                <a:gd name="connsiteY2" fmla="*/ 46850 h 85182"/>
                <a:gd name="connsiteX3" fmla="*/ 87319 w 127773"/>
                <a:gd name="connsiteY3" fmla="*/ 34073 h 85182"/>
                <a:gd name="connsiteX4" fmla="*/ 70282 w 127773"/>
                <a:gd name="connsiteY4" fmla="*/ 32653 h 85182"/>
                <a:gd name="connsiteX5" fmla="*/ 90158 w 127773"/>
                <a:gd name="connsiteY5" fmla="*/ 44011 h 85182"/>
                <a:gd name="connsiteX6" fmla="*/ 134169 w 127773"/>
                <a:gd name="connsiteY6" fmla="*/ 79503 h 85182"/>
                <a:gd name="connsiteX7" fmla="*/ 122811 w 127773"/>
                <a:gd name="connsiteY7" fmla="*/ 80923 h 85182"/>
                <a:gd name="connsiteX8" fmla="*/ 127071 w 127773"/>
                <a:gd name="connsiteY8" fmla="*/ 88022 h 85182"/>
                <a:gd name="connsiteX9" fmla="*/ 71702 w 127773"/>
                <a:gd name="connsiteY9" fmla="*/ 80923 h 85182"/>
                <a:gd name="connsiteX10" fmla="*/ 83060 w 127773"/>
                <a:gd name="connsiteY10" fmla="*/ 95120 h 85182"/>
                <a:gd name="connsiteX11" fmla="*/ 4976 w 127773"/>
                <a:gd name="connsiteY11" fmla="*/ 73825 h 85182"/>
                <a:gd name="connsiteX12" fmla="*/ 37629 w 127773"/>
                <a:gd name="connsiteY12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73" h="85182">
                  <a:moveTo>
                    <a:pt x="37629" y="0"/>
                  </a:moveTo>
                  <a:cubicBezTo>
                    <a:pt x="37629" y="0"/>
                    <a:pt x="60344" y="5679"/>
                    <a:pt x="85899" y="17036"/>
                  </a:cubicBezTo>
                  <a:cubicBezTo>
                    <a:pt x="108614" y="25555"/>
                    <a:pt x="132749" y="41171"/>
                    <a:pt x="132749" y="46850"/>
                  </a:cubicBezTo>
                  <a:cubicBezTo>
                    <a:pt x="132749" y="52529"/>
                    <a:pt x="110034" y="41171"/>
                    <a:pt x="87319" y="34073"/>
                  </a:cubicBezTo>
                  <a:cubicBezTo>
                    <a:pt x="66023" y="26974"/>
                    <a:pt x="70282" y="32653"/>
                    <a:pt x="70282" y="32653"/>
                  </a:cubicBezTo>
                  <a:cubicBezTo>
                    <a:pt x="70282" y="32653"/>
                    <a:pt x="68863" y="31234"/>
                    <a:pt x="90158" y="44011"/>
                  </a:cubicBezTo>
                  <a:cubicBezTo>
                    <a:pt x="112874" y="56788"/>
                    <a:pt x="135588" y="73825"/>
                    <a:pt x="134169" y="79503"/>
                  </a:cubicBezTo>
                  <a:cubicBezTo>
                    <a:pt x="134169" y="82343"/>
                    <a:pt x="132749" y="83762"/>
                    <a:pt x="122811" y="80923"/>
                  </a:cubicBezTo>
                  <a:cubicBezTo>
                    <a:pt x="127071" y="83762"/>
                    <a:pt x="127071" y="86602"/>
                    <a:pt x="127071" y="88022"/>
                  </a:cubicBezTo>
                  <a:cubicBezTo>
                    <a:pt x="121391" y="100799"/>
                    <a:pt x="85899" y="86602"/>
                    <a:pt x="71702" y="80923"/>
                  </a:cubicBezTo>
                  <a:cubicBezTo>
                    <a:pt x="83060" y="85182"/>
                    <a:pt x="90158" y="89441"/>
                    <a:pt x="83060" y="95120"/>
                  </a:cubicBezTo>
                  <a:cubicBezTo>
                    <a:pt x="74541" y="100799"/>
                    <a:pt x="23432" y="79503"/>
                    <a:pt x="4976" y="73825"/>
                  </a:cubicBezTo>
                  <a:cubicBezTo>
                    <a:pt x="-16319" y="66726"/>
                    <a:pt x="37629" y="0"/>
                    <a:pt x="37629" y="0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F1134C3-F623-4A93-8EE4-759AA0169ED5}"/>
                </a:ext>
              </a:extLst>
            </p:cNvPr>
            <p:cNvSpPr/>
            <p:nvPr userDrawn="1"/>
          </p:nvSpPr>
          <p:spPr>
            <a:xfrm>
              <a:off x="9429655" y="3260728"/>
              <a:ext cx="123191" cy="205318"/>
            </a:xfrm>
            <a:custGeom>
              <a:avLst/>
              <a:gdLst>
                <a:gd name="connsiteX0" fmla="*/ 81191 w 170364"/>
                <a:gd name="connsiteY0" fmla="*/ 0 h 283940"/>
                <a:gd name="connsiteX1" fmla="*/ 59895 w 170364"/>
                <a:gd name="connsiteY1" fmla="*/ 168945 h 283940"/>
                <a:gd name="connsiteX2" fmla="*/ 170632 w 170364"/>
                <a:gd name="connsiteY2" fmla="*/ 291039 h 283940"/>
                <a:gd name="connsiteX3" fmla="*/ 268 w 170364"/>
                <a:gd name="connsiteY3" fmla="*/ 168945 h 283940"/>
                <a:gd name="connsiteX4" fmla="*/ 81191 w 170364"/>
                <a:gd name="connsiteY4" fmla="*/ 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83940">
                  <a:moveTo>
                    <a:pt x="81191" y="0"/>
                  </a:moveTo>
                  <a:cubicBezTo>
                    <a:pt x="81191" y="0"/>
                    <a:pt x="47118" y="159007"/>
                    <a:pt x="59895" y="168945"/>
                  </a:cubicBezTo>
                  <a:cubicBezTo>
                    <a:pt x="72672" y="178882"/>
                    <a:pt x="153596" y="278262"/>
                    <a:pt x="170632" y="291039"/>
                  </a:cubicBezTo>
                  <a:cubicBezTo>
                    <a:pt x="187668" y="303816"/>
                    <a:pt x="5947" y="193079"/>
                    <a:pt x="268" y="168945"/>
                  </a:cubicBezTo>
                  <a:cubicBezTo>
                    <a:pt x="-5411" y="144810"/>
                    <a:pt x="81191" y="0"/>
                    <a:pt x="81191" y="0"/>
                  </a:cubicBezTo>
                  <a:close/>
                </a:path>
              </a:pathLst>
            </a:custGeom>
            <a:solidFill>
              <a:srgbClr val="A87F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DEA5401-6FB5-4C5F-BF9C-9B9F3636E6A7}"/>
                </a:ext>
              </a:extLst>
            </p:cNvPr>
            <p:cNvSpPr/>
            <p:nvPr userDrawn="1"/>
          </p:nvSpPr>
          <p:spPr>
            <a:xfrm>
              <a:off x="9371090" y="3150905"/>
              <a:ext cx="215584" cy="390106"/>
            </a:xfrm>
            <a:custGeom>
              <a:avLst/>
              <a:gdLst>
                <a:gd name="connsiteX0" fmla="*/ 149405 w 298137"/>
                <a:gd name="connsiteY0" fmla="*/ 2807 h 539486"/>
                <a:gd name="connsiteX1" fmla="*/ 169281 w 298137"/>
                <a:gd name="connsiteY1" fmla="*/ 90828 h 539486"/>
                <a:gd name="connsiteX2" fmla="*/ 143726 w 298137"/>
                <a:gd name="connsiteY2" fmla="*/ 201565 h 539486"/>
                <a:gd name="connsiteX3" fmla="*/ 108234 w 298137"/>
                <a:gd name="connsiteY3" fmla="*/ 322240 h 539486"/>
                <a:gd name="connsiteX4" fmla="*/ 207613 w 298137"/>
                <a:gd name="connsiteY4" fmla="*/ 408842 h 539486"/>
                <a:gd name="connsiteX5" fmla="*/ 306992 w 298137"/>
                <a:gd name="connsiteY5" fmla="*/ 485506 h 539486"/>
                <a:gd name="connsiteX6" fmla="*/ 268660 w 298137"/>
                <a:gd name="connsiteY6" fmla="*/ 550812 h 539486"/>
                <a:gd name="connsiteX7" fmla="*/ 52865 w 298137"/>
                <a:gd name="connsiteY7" fmla="*/ 408842 h 539486"/>
                <a:gd name="connsiteX8" fmla="*/ 1756 w 298137"/>
                <a:gd name="connsiteY8" fmla="*/ 316561 h 539486"/>
                <a:gd name="connsiteX9" fmla="*/ 35829 w 298137"/>
                <a:gd name="connsiteY9" fmla="*/ 129160 h 539486"/>
                <a:gd name="connsiteX10" fmla="*/ 149405 w 298137"/>
                <a:gd name="connsiteY10" fmla="*/ 2807 h 53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137" h="539486">
                  <a:moveTo>
                    <a:pt x="149405" y="2807"/>
                  </a:moveTo>
                  <a:cubicBezTo>
                    <a:pt x="162182" y="7066"/>
                    <a:pt x="169281" y="28361"/>
                    <a:pt x="169281" y="90828"/>
                  </a:cubicBezTo>
                  <a:cubicBezTo>
                    <a:pt x="170701" y="154715"/>
                    <a:pt x="150825" y="185948"/>
                    <a:pt x="143726" y="201565"/>
                  </a:cubicBezTo>
                  <a:cubicBezTo>
                    <a:pt x="136628" y="217182"/>
                    <a:pt x="99716" y="310882"/>
                    <a:pt x="108234" y="322240"/>
                  </a:cubicBezTo>
                  <a:cubicBezTo>
                    <a:pt x="118172" y="333597"/>
                    <a:pt x="201934" y="403163"/>
                    <a:pt x="207613" y="408842"/>
                  </a:cubicBezTo>
                  <a:cubicBezTo>
                    <a:pt x="213292" y="414520"/>
                    <a:pt x="306992" y="485506"/>
                    <a:pt x="306992" y="485506"/>
                  </a:cubicBezTo>
                  <a:lnTo>
                    <a:pt x="268660" y="550812"/>
                  </a:lnTo>
                  <a:cubicBezTo>
                    <a:pt x="268660" y="550812"/>
                    <a:pt x="68482" y="421619"/>
                    <a:pt x="52865" y="408842"/>
                  </a:cubicBezTo>
                  <a:cubicBezTo>
                    <a:pt x="37249" y="396064"/>
                    <a:pt x="-9602" y="369090"/>
                    <a:pt x="1756" y="316561"/>
                  </a:cubicBezTo>
                  <a:cubicBezTo>
                    <a:pt x="13114" y="264032"/>
                    <a:pt x="31570" y="139098"/>
                    <a:pt x="35829" y="129160"/>
                  </a:cubicBezTo>
                  <a:cubicBezTo>
                    <a:pt x="38668" y="117803"/>
                    <a:pt x="64223" y="-21328"/>
                    <a:pt x="149405" y="2807"/>
                  </a:cubicBez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CE2DF257-9223-42F5-90E6-8DF512302CAB}"/>
                </a:ext>
              </a:extLst>
            </p:cNvPr>
            <p:cNvSpPr/>
            <p:nvPr userDrawn="1"/>
          </p:nvSpPr>
          <p:spPr>
            <a:xfrm>
              <a:off x="6882706" y="4139492"/>
              <a:ext cx="184787" cy="82127"/>
            </a:xfrm>
            <a:custGeom>
              <a:avLst/>
              <a:gdLst>
                <a:gd name="connsiteX0" fmla="*/ 200405 w 255546"/>
                <a:gd name="connsiteY0" fmla="*/ 0 h 113576"/>
                <a:gd name="connsiteX1" fmla="*/ 137938 w 255546"/>
                <a:gd name="connsiteY1" fmla="*/ 36912 h 113576"/>
                <a:gd name="connsiteX2" fmla="*/ 3067 w 255546"/>
                <a:gd name="connsiteY2" fmla="*/ 53949 h 113576"/>
                <a:gd name="connsiteX3" fmla="*/ 227 w 255546"/>
                <a:gd name="connsiteY3" fmla="*/ 89441 h 113576"/>
                <a:gd name="connsiteX4" fmla="*/ 193307 w 255546"/>
                <a:gd name="connsiteY4" fmla="*/ 102219 h 113576"/>
                <a:gd name="connsiteX5" fmla="*/ 196146 w 255546"/>
                <a:gd name="connsiteY5" fmla="*/ 112156 h 113576"/>
                <a:gd name="connsiteX6" fmla="*/ 261452 w 255546"/>
                <a:gd name="connsiteY6" fmla="*/ 116416 h 113576"/>
                <a:gd name="connsiteX7" fmla="*/ 262872 w 255546"/>
                <a:gd name="connsiteY7" fmla="*/ 32653 h 113576"/>
                <a:gd name="connsiteX8" fmla="*/ 200405 w 255546"/>
                <a:gd name="connsiteY8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46" h="113576">
                  <a:moveTo>
                    <a:pt x="200405" y="0"/>
                  </a:moveTo>
                  <a:cubicBezTo>
                    <a:pt x="200405" y="0"/>
                    <a:pt x="160653" y="35493"/>
                    <a:pt x="137938" y="36912"/>
                  </a:cubicBezTo>
                  <a:cubicBezTo>
                    <a:pt x="115223" y="38332"/>
                    <a:pt x="8745" y="52529"/>
                    <a:pt x="3067" y="53949"/>
                  </a:cubicBezTo>
                  <a:cubicBezTo>
                    <a:pt x="-1193" y="55368"/>
                    <a:pt x="227" y="89441"/>
                    <a:pt x="227" y="89441"/>
                  </a:cubicBezTo>
                  <a:cubicBezTo>
                    <a:pt x="227" y="89441"/>
                    <a:pt x="140778" y="124934"/>
                    <a:pt x="193307" y="102219"/>
                  </a:cubicBezTo>
                  <a:lnTo>
                    <a:pt x="196146" y="112156"/>
                  </a:lnTo>
                  <a:cubicBezTo>
                    <a:pt x="196146" y="112156"/>
                    <a:pt x="258613" y="122094"/>
                    <a:pt x="261452" y="116416"/>
                  </a:cubicBezTo>
                  <a:cubicBezTo>
                    <a:pt x="264292" y="110737"/>
                    <a:pt x="268551" y="52529"/>
                    <a:pt x="262872" y="32653"/>
                  </a:cubicBezTo>
                  <a:cubicBezTo>
                    <a:pt x="255774" y="14197"/>
                    <a:pt x="200405" y="0"/>
                    <a:pt x="200405" y="0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AFC4B1AB-599B-4361-A9F7-79C417986B68}"/>
                </a:ext>
              </a:extLst>
            </p:cNvPr>
            <p:cNvSpPr/>
            <p:nvPr userDrawn="1"/>
          </p:nvSpPr>
          <p:spPr>
            <a:xfrm>
              <a:off x="7027620" y="4122039"/>
              <a:ext cx="51330" cy="30798"/>
            </a:xfrm>
            <a:custGeom>
              <a:avLst/>
              <a:gdLst>
                <a:gd name="connsiteX0" fmla="*/ 12777 w 70985"/>
                <a:gd name="connsiteY0" fmla="*/ 0 h 42591"/>
                <a:gd name="connsiteX1" fmla="*/ 0 w 70985"/>
                <a:gd name="connsiteY1" fmla="*/ 24135 h 42591"/>
                <a:gd name="connsiteX2" fmla="*/ 62467 w 70985"/>
                <a:gd name="connsiteY2" fmla="*/ 56788 h 42591"/>
                <a:gd name="connsiteX3" fmla="*/ 79503 w 70985"/>
                <a:gd name="connsiteY3" fmla="*/ 34073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85" h="42591">
                  <a:moveTo>
                    <a:pt x="12777" y="0"/>
                  </a:moveTo>
                  <a:lnTo>
                    <a:pt x="0" y="24135"/>
                  </a:lnTo>
                  <a:lnTo>
                    <a:pt x="62467" y="56788"/>
                  </a:lnTo>
                  <a:lnTo>
                    <a:pt x="79503" y="34073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2346721F-481B-4B5E-97BD-82B1B86E19E9}"/>
                </a:ext>
              </a:extLst>
            </p:cNvPr>
            <p:cNvSpPr/>
            <p:nvPr userDrawn="1"/>
          </p:nvSpPr>
          <p:spPr>
            <a:xfrm>
              <a:off x="6686791" y="3969889"/>
              <a:ext cx="133457" cy="174521"/>
            </a:xfrm>
            <a:custGeom>
              <a:avLst/>
              <a:gdLst>
                <a:gd name="connsiteX0" fmla="*/ 178882 w 184561"/>
                <a:gd name="connsiteY0" fmla="*/ 142267 h 241349"/>
                <a:gd name="connsiteX1" fmla="*/ 117835 w 184561"/>
                <a:gd name="connsiteY1" fmla="*/ 112453 h 241349"/>
                <a:gd name="connsiteX2" fmla="*/ 31233 w 184561"/>
                <a:gd name="connsiteY2" fmla="*/ 297 h 241349"/>
                <a:gd name="connsiteX3" fmla="*/ 0 w 184561"/>
                <a:gd name="connsiteY3" fmla="*/ 15914 h 241349"/>
                <a:gd name="connsiteX4" fmla="*/ 88022 w 184561"/>
                <a:gd name="connsiteY4" fmla="*/ 187698 h 241349"/>
                <a:gd name="connsiteX5" fmla="*/ 80923 w 184561"/>
                <a:gd name="connsiteY5" fmla="*/ 196216 h 241349"/>
                <a:gd name="connsiteX6" fmla="*/ 110737 w 184561"/>
                <a:gd name="connsiteY6" fmla="*/ 254424 h 241349"/>
                <a:gd name="connsiteX7" fmla="*/ 183142 w 184561"/>
                <a:gd name="connsiteY7" fmla="*/ 211833 h 241349"/>
                <a:gd name="connsiteX8" fmla="*/ 178882 w 184561"/>
                <a:gd name="connsiteY8" fmla="*/ 142267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561" h="241349">
                  <a:moveTo>
                    <a:pt x="178882" y="142267"/>
                  </a:moveTo>
                  <a:cubicBezTo>
                    <a:pt x="178882" y="142267"/>
                    <a:pt x="130613" y="130910"/>
                    <a:pt x="117835" y="112453"/>
                  </a:cubicBezTo>
                  <a:cubicBezTo>
                    <a:pt x="105058" y="93997"/>
                    <a:pt x="35493" y="4556"/>
                    <a:pt x="31233" y="297"/>
                  </a:cubicBezTo>
                  <a:cubicBezTo>
                    <a:pt x="26974" y="-2542"/>
                    <a:pt x="0" y="15914"/>
                    <a:pt x="0" y="15914"/>
                  </a:cubicBezTo>
                  <a:cubicBezTo>
                    <a:pt x="0" y="15914"/>
                    <a:pt x="41171" y="155045"/>
                    <a:pt x="88022" y="187698"/>
                  </a:cubicBezTo>
                  <a:lnTo>
                    <a:pt x="80923" y="196216"/>
                  </a:lnTo>
                  <a:cubicBezTo>
                    <a:pt x="80923" y="196216"/>
                    <a:pt x="105058" y="254424"/>
                    <a:pt x="110737" y="254424"/>
                  </a:cubicBezTo>
                  <a:cubicBezTo>
                    <a:pt x="116416" y="254424"/>
                    <a:pt x="168945" y="227449"/>
                    <a:pt x="183142" y="211833"/>
                  </a:cubicBezTo>
                  <a:cubicBezTo>
                    <a:pt x="197339" y="197636"/>
                    <a:pt x="178882" y="142267"/>
                    <a:pt x="178882" y="142267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FE1FCCCD-50C0-4E8A-9674-79F57E0D859A}"/>
                </a:ext>
              </a:extLst>
            </p:cNvPr>
            <p:cNvSpPr/>
            <p:nvPr userDrawn="1"/>
          </p:nvSpPr>
          <p:spPr>
            <a:xfrm>
              <a:off x="6816142" y="4071737"/>
              <a:ext cx="20532" cy="51330"/>
            </a:xfrm>
            <a:custGeom>
              <a:avLst/>
              <a:gdLst>
                <a:gd name="connsiteX0" fmla="*/ 28394 w 28394"/>
                <a:gd name="connsiteY0" fmla="*/ 0 h 70985"/>
                <a:gd name="connsiteX1" fmla="*/ 0 w 28394"/>
                <a:gd name="connsiteY1" fmla="*/ 1420 h 70985"/>
                <a:gd name="connsiteX2" fmla="*/ 4259 w 28394"/>
                <a:gd name="connsiteY2" fmla="*/ 72405 h 70985"/>
                <a:gd name="connsiteX3" fmla="*/ 34073 w 28394"/>
                <a:gd name="connsiteY3" fmla="*/ 75244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70985">
                  <a:moveTo>
                    <a:pt x="28394" y="0"/>
                  </a:moveTo>
                  <a:lnTo>
                    <a:pt x="0" y="1420"/>
                  </a:lnTo>
                  <a:lnTo>
                    <a:pt x="4259" y="72405"/>
                  </a:lnTo>
                  <a:lnTo>
                    <a:pt x="34073" y="75244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BCF98E3C-9C0A-4059-8277-40D7BB3697E0}"/>
                </a:ext>
              </a:extLst>
            </p:cNvPr>
            <p:cNvSpPr/>
            <p:nvPr userDrawn="1"/>
          </p:nvSpPr>
          <p:spPr>
            <a:xfrm>
              <a:off x="6823328" y="3988582"/>
              <a:ext cx="759679" cy="143723"/>
            </a:xfrm>
            <a:custGeom>
              <a:avLst/>
              <a:gdLst>
                <a:gd name="connsiteX0" fmla="*/ 0 w 1050579"/>
                <a:gd name="connsiteY0" fmla="*/ 106478 h 198758"/>
                <a:gd name="connsiteX1" fmla="*/ 9938 w 1050579"/>
                <a:gd name="connsiteY1" fmla="*/ 207276 h 198758"/>
                <a:gd name="connsiteX2" fmla="*/ 364863 w 1050579"/>
                <a:gd name="connsiteY2" fmla="*/ 180302 h 198758"/>
                <a:gd name="connsiteX3" fmla="*/ 552264 w 1050579"/>
                <a:gd name="connsiteY3" fmla="*/ 168945 h 198758"/>
                <a:gd name="connsiteX4" fmla="*/ 908609 w 1050579"/>
                <a:gd name="connsiteY4" fmla="*/ 173204 h 198758"/>
                <a:gd name="connsiteX5" fmla="*/ 973916 w 1050579"/>
                <a:gd name="connsiteY5" fmla="*/ 173204 h 198758"/>
                <a:gd name="connsiteX6" fmla="*/ 973916 w 1050579"/>
                <a:gd name="connsiteY6" fmla="*/ 173204 h 198758"/>
                <a:gd name="connsiteX7" fmla="*/ 1047740 w 1050579"/>
                <a:gd name="connsiteY7" fmla="*/ 173204 h 198758"/>
                <a:gd name="connsiteX8" fmla="*/ 769478 w 1050579"/>
                <a:gd name="connsiteY8" fmla="*/ 0 h 198758"/>
                <a:gd name="connsiteX9" fmla="*/ 492637 w 1050579"/>
                <a:gd name="connsiteY9" fmla="*/ 51109 h 198758"/>
                <a:gd name="connsiteX10" fmla="*/ 208696 w 1050579"/>
                <a:gd name="connsiteY10" fmla="*/ 92281 h 198758"/>
                <a:gd name="connsiteX11" fmla="*/ 0 w 1050579"/>
                <a:gd name="connsiteY11" fmla="*/ 106478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579" h="198758">
                  <a:moveTo>
                    <a:pt x="0" y="106478"/>
                  </a:moveTo>
                  <a:lnTo>
                    <a:pt x="9938" y="207276"/>
                  </a:lnTo>
                  <a:cubicBezTo>
                    <a:pt x="9938" y="207276"/>
                    <a:pt x="306656" y="184561"/>
                    <a:pt x="364863" y="180302"/>
                  </a:cubicBezTo>
                  <a:cubicBezTo>
                    <a:pt x="421651" y="177463"/>
                    <a:pt x="498315" y="166105"/>
                    <a:pt x="552264" y="168945"/>
                  </a:cubicBezTo>
                  <a:cubicBezTo>
                    <a:pt x="586337" y="170364"/>
                    <a:pt x="775157" y="171784"/>
                    <a:pt x="908609" y="173204"/>
                  </a:cubicBezTo>
                  <a:cubicBezTo>
                    <a:pt x="932744" y="173204"/>
                    <a:pt x="954040" y="173204"/>
                    <a:pt x="973916" y="173204"/>
                  </a:cubicBezTo>
                  <a:cubicBezTo>
                    <a:pt x="973916" y="173204"/>
                    <a:pt x="973916" y="173204"/>
                    <a:pt x="973916" y="173204"/>
                  </a:cubicBezTo>
                  <a:cubicBezTo>
                    <a:pt x="1016507" y="173204"/>
                    <a:pt x="1044901" y="173204"/>
                    <a:pt x="1047740" y="173204"/>
                  </a:cubicBezTo>
                  <a:cubicBezTo>
                    <a:pt x="1057678" y="171784"/>
                    <a:pt x="1140021" y="28394"/>
                    <a:pt x="769478" y="0"/>
                  </a:cubicBezTo>
                  <a:cubicBezTo>
                    <a:pt x="769478" y="0"/>
                    <a:pt x="535228" y="44011"/>
                    <a:pt x="492637" y="51109"/>
                  </a:cubicBezTo>
                  <a:cubicBezTo>
                    <a:pt x="450046" y="56788"/>
                    <a:pt x="256966" y="90861"/>
                    <a:pt x="208696" y="92281"/>
                  </a:cubicBezTo>
                  <a:cubicBezTo>
                    <a:pt x="157587" y="92281"/>
                    <a:pt x="0" y="106478"/>
                    <a:pt x="0" y="106478"/>
                  </a:cubicBezTo>
                  <a:close/>
                </a:path>
              </a:pathLst>
            </a:custGeom>
            <a:solidFill>
              <a:srgbClr val="995D3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5067A0F4-DF37-4C19-A2E1-F95C5C64BD3B}"/>
                </a:ext>
              </a:extLst>
            </p:cNvPr>
            <p:cNvSpPr/>
            <p:nvPr userDrawn="1"/>
          </p:nvSpPr>
          <p:spPr>
            <a:xfrm>
              <a:off x="7592247" y="3818168"/>
              <a:ext cx="174521" cy="20532"/>
            </a:xfrm>
            <a:custGeom>
              <a:avLst/>
              <a:gdLst>
                <a:gd name="connsiteX0" fmla="*/ 0 w 241349"/>
                <a:gd name="connsiteY0" fmla="*/ 38332 h 28394"/>
                <a:gd name="connsiteX1" fmla="*/ 249868 w 241349"/>
                <a:gd name="connsiteY1" fmla="*/ 38332 h 28394"/>
                <a:gd name="connsiteX2" fmla="*/ 237090 w 241349"/>
                <a:gd name="connsiteY2" fmla="*/ 8518 h 28394"/>
                <a:gd name="connsiteX3" fmla="*/ 234251 w 241349"/>
                <a:gd name="connsiteY3" fmla="*/ 0 h 28394"/>
                <a:gd name="connsiteX4" fmla="*/ 1420 w 241349"/>
                <a:gd name="connsiteY4" fmla="*/ 0 h 28394"/>
                <a:gd name="connsiteX5" fmla="*/ 0 w 241349"/>
                <a:gd name="connsiteY5" fmla="*/ 38332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49" h="28394">
                  <a:moveTo>
                    <a:pt x="0" y="38332"/>
                  </a:moveTo>
                  <a:lnTo>
                    <a:pt x="249868" y="38332"/>
                  </a:lnTo>
                  <a:cubicBezTo>
                    <a:pt x="242769" y="19876"/>
                    <a:pt x="237090" y="8518"/>
                    <a:pt x="237090" y="8518"/>
                  </a:cubicBezTo>
                  <a:cubicBezTo>
                    <a:pt x="235671" y="5679"/>
                    <a:pt x="235671" y="2839"/>
                    <a:pt x="234251" y="0"/>
                  </a:cubicBezTo>
                  <a:lnTo>
                    <a:pt x="1420" y="0"/>
                  </a:lnTo>
                  <a:lnTo>
                    <a:pt x="0" y="38332"/>
                  </a:lnTo>
                  <a:close/>
                </a:path>
              </a:pathLst>
            </a:custGeom>
            <a:solidFill>
              <a:srgbClr val="3C639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9415437B-6606-4EE7-B4EC-8994142C5578}"/>
                </a:ext>
              </a:extLst>
            </p:cNvPr>
            <p:cNvSpPr/>
            <p:nvPr userDrawn="1"/>
          </p:nvSpPr>
          <p:spPr>
            <a:xfrm>
              <a:off x="7409683" y="3602451"/>
              <a:ext cx="256649" cy="420903"/>
            </a:xfrm>
            <a:custGeom>
              <a:avLst/>
              <a:gdLst>
                <a:gd name="connsiteX0" fmla="*/ 106242 w 354925"/>
                <a:gd name="connsiteY0" fmla="*/ 28577 h 582077"/>
                <a:gd name="connsiteX1" fmla="*/ 5444 w 354925"/>
                <a:gd name="connsiteY1" fmla="*/ 79686 h 582077"/>
                <a:gd name="connsiteX2" fmla="*/ 16801 w 354925"/>
                <a:gd name="connsiteY2" fmla="*/ 294061 h 582077"/>
                <a:gd name="connsiteX3" fmla="*/ 15381 w 354925"/>
                <a:gd name="connsiteY3" fmla="*/ 485721 h 582077"/>
                <a:gd name="connsiteX4" fmla="*/ 317778 w 354925"/>
                <a:gd name="connsiteY4" fmla="*/ 592198 h 582077"/>
                <a:gd name="connsiteX5" fmla="*/ 346172 w 354925"/>
                <a:gd name="connsiteY5" fmla="*/ 379243 h 582077"/>
                <a:gd name="connsiteX6" fmla="*/ 356110 w 354925"/>
                <a:gd name="connsiteY6" fmla="*/ 177645 h 582077"/>
                <a:gd name="connsiteX7" fmla="*/ 366048 w 354925"/>
                <a:gd name="connsiteY7" fmla="*/ 41354 h 582077"/>
                <a:gd name="connsiteX8" fmla="*/ 209881 w 354925"/>
                <a:gd name="connsiteY8" fmla="*/ 183 h 582077"/>
                <a:gd name="connsiteX9" fmla="*/ 106242 w 354925"/>
                <a:gd name="connsiteY9" fmla="*/ 28577 h 58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4925" h="582077">
                  <a:moveTo>
                    <a:pt x="106242" y="28577"/>
                  </a:moveTo>
                  <a:cubicBezTo>
                    <a:pt x="106242" y="28577"/>
                    <a:pt x="22480" y="56971"/>
                    <a:pt x="5444" y="79686"/>
                  </a:cubicBezTo>
                  <a:cubicBezTo>
                    <a:pt x="-11593" y="100981"/>
                    <a:pt x="16801" y="294061"/>
                    <a:pt x="16801" y="294061"/>
                  </a:cubicBezTo>
                  <a:lnTo>
                    <a:pt x="15381" y="485721"/>
                  </a:lnTo>
                  <a:cubicBezTo>
                    <a:pt x="15381" y="485721"/>
                    <a:pt x="211300" y="586519"/>
                    <a:pt x="317778" y="592198"/>
                  </a:cubicBezTo>
                  <a:cubicBezTo>
                    <a:pt x="317778" y="592198"/>
                    <a:pt x="347592" y="444549"/>
                    <a:pt x="346172" y="379243"/>
                  </a:cubicBezTo>
                  <a:cubicBezTo>
                    <a:pt x="344752" y="313937"/>
                    <a:pt x="356110" y="177645"/>
                    <a:pt x="356110" y="177645"/>
                  </a:cubicBezTo>
                  <a:cubicBezTo>
                    <a:pt x="356110" y="177645"/>
                    <a:pt x="346172" y="72587"/>
                    <a:pt x="366048" y="41354"/>
                  </a:cubicBezTo>
                  <a:cubicBezTo>
                    <a:pt x="366048" y="41354"/>
                    <a:pt x="251052" y="1602"/>
                    <a:pt x="209881" y="183"/>
                  </a:cubicBezTo>
                  <a:cubicBezTo>
                    <a:pt x="170129" y="-2657"/>
                    <a:pt x="106242" y="28577"/>
                    <a:pt x="106242" y="28577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3FCC613F-15E7-48B7-B7D9-2A59482CEBC5}"/>
                </a:ext>
              </a:extLst>
            </p:cNvPr>
            <p:cNvSpPr/>
            <p:nvPr userDrawn="1"/>
          </p:nvSpPr>
          <p:spPr>
            <a:xfrm>
              <a:off x="7588140" y="3630301"/>
              <a:ext cx="215584" cy="266915"/>
            </a:xfrm>
            <a:custGeom>
              <a:avLst/>
              <a:gdLst>
                <a:gd name="connsiteX0" fmla="*/ 120675 w 298137"/>
                <a:gd name="connsiteY0" fmla="*/ 0 h 369122"/>
                <a:gd name="connsiteX1" fmla="*/ 184561 w 298137"/>
                <a:gd name="connsiteY1" fmla="*/ 69565 h 369122"/>
                <a:gd name="connsiteX2" fmla="*/ 300977 w 298137"/>
                <a:gd name="connsiteY2" fmla="*/ 271163 h 369122"/>
                <a:gd name="connsiteX3" fmla="*/ 235671 w 298137"/>
                <a:gd name="connsiteY3" fmla="*/ 318013 h 369122"/>
                <a:gd name="connsiteX4" fmla="*/ 28394 w 298137"/>
                <a:gd name="connsiteY4" fmla="*/ 376221 h 369122"/>
                <a:gd name="connsiteX5" fmla="*/ 0 w 298137"/>
                <a:gd name="connsiteY5" fmla="*/ 312334 h 369122"/>
                <a:gd name="connsiteX6" fmla="*/ 184561 w 298137"/>
                <a:gd name="connsiteY6" fmla="*/ 254127 h 369122"/>
                <a:gd name="connsiteX7" fmla="*/ 110737 w 298137"/>
                <a:gd name="connsiteY7" fmla="*/ 146229 h 369122"/>
                <a:gd name="connsiteX8" fmla="*/ 120675 w 298137"/>
                <a:gd name="connsiteY8" fmla="*/ 0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137" h="369122">
                  <a:moveTo>
                    <a:pt x="120675" y="0"/>
                  </a:moveTo>
                  <a:cubicBezTo>
                    <a:pt x="120675" y="0"/>
                    <a:pt x="170364" y="48270"/>
                    <a:pt x="184561" y="69565"/>
                  </a:cubicBezTo>
                  <a:cubicBezTo>
                    <a:pt x="201598" y="93700"/>
                    <a:pt x="305236" y="254127"/>
                    <a:pt x="300977" y="271163"/>
                  </a:cubicBezTo>
                  <a:cubicBezTo>
                    <a:pt x="298137" y="289619"/>
                    <a:pt x="282521" y="303816"/>
                    <a:pt x="235671" y="318013"/>
                  </a:cubicBezTo>
                  <a:cubicBezTo>
                    <a:pt x="187401" y="330791"/>
                    <a:pt x="28394" y="376221"/>
                    <a:pt x="28394" y="376221"/>
                  </a:cubicBezTo>
                  <a:lnTo>
                    <a:pt x="0" y="312334"/>
                  </a:lnTo>
                  <a:cubicBezTo>
                    <a:pt x="0" y="312334"/>
                    <a:pt x="166105" y="266904"/>
                    <a:pt x="184561" y="254127"/>
                  </a:cubicBezTo>
                  <a:cubicBezTo>
                    <a:pt x="203017" y="242769"/>
                    <a:pt x="110737" y="146229"/>
                    <a:pt x="110737" y="146229"/>
                  </a:cubicBezTo>
                  <a:cubicBezTo>
                    <a:pt x="110737" y="146229"/>
                    <a:pt x="70985" y="28394"/>
                    <a:pt x="120675" y="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82C29A4D-3448-4D2D-8A70-68942D18235A}"/>
                </a:ext>
              </a:extLst>
            </p:cNvPr>
            <p:cNvSpPr/>
            <p:nvPr userDrawn="1"/>
          </p:nvSpPr>
          <p:spPr>
            <a:xfrm>
              <a:off x="7327546" y="3660029"/>
              <a:ext cx="102659" cy="143723"/>
            </a:xfrm>
            <a:custGeom>
              <a:avLst/>
              <a:gdLst>
                <a:gd name="connsiteX0" fmla="*/ 119033 w 141970"/>
                <a:gd name="connsiteY0" fmla="*/ 60 h 198758"/>
                <a:gd name="connsiteX1" fmla="*/ 1197 w 141970"/>
                <a:gd name="connsiteY1" fmla="*/ 164745 h 198758"/>
                <a:gd name="connsiteX2" fmla="*/ 82120 w 141970"/>
                <a:gd name="connsiteY2" fmla="*/ 207336 h 198758"/>
                <a:gd name="connsiteX3" fmla="*/ 143168 w 141970"/>
                <a:gd name="connsiteY3" fmla="*/ 103698 h 198758"/>
                <a:gd name="connsiteX4" fmla="*/ 119033 w 141970"/>
                <a:gd name="connsiteY4" fmla="*/ 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70" h="198758">
                  <a:moveTo>
                    <a:pt x="119033" y="60"/>
                  </a:moveTo>
                  <a:cubicBezTo>
                    <a:pt x="119033" y="60"/>
                    <a:pt x="13975" y="150548"/>
                    <a:pt x="1197" y="164745"/>
                  </a:cubicBezTo>
                  <a:cubicBezTo>
                    <a:pt x="-11580" y="178942"/>
                    <a:pt x="82120" y="207336"/>
                    <a:pt x="82120" y="207336"/>
                  </a:cubicBezTo>
                  <a:cubicBezTo>
                    <a:pt x="82120" y="207336"/>
                    <a:pt x="130390" y="110796"/>
                    <a:pt x="143168" y="103698"/>
                  </a:cubicBezTo>
                  <a:cubicBezTo>
                    <a:pt x="157365" y="96599"/>
                    <a:pt x="161624" y="-2780"/>
                    <a:pt x="119033" y="6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DF525D87-7925-4382-A1B8-7CA40E5C0489}"/>
                </a:ext>
              </a:extLst>
            </p:cNvPr>
            <p:cNvSpPr/>
            <p:nvPr userDrawn="1"/>
          </p:nvSpPr>
          <p:spPr>
            <a:xfrm>
              <a:off x="7021460" y="3870374"/>
              <a:ext cx="615956" cy="287446"/>
            </a:xfrm>
            <a:custGeom>
              <a:avLst/>
              <a:gdLst>
                <a:gd name="connsiteX0" fmla="*/ 854661 w 851821"/>
                <a:gd name="connsiteY0" fmla="*/ 245816 h 397516"/>
                <a:gd name="connsiteX1" fmla="*/ 793613 w 851821"/>
                <a:gd name="connsiteY1" fmla="*/ 343775 h 397516"/>
                <a:gd name="connsiteX2" fmla="*/ 552264 w 851821"/>
                <a:gd name="connsiteY2" fmla="*/ 278469 h 397516"/>
                <a:gd name="connsiteX3" fmla="*/ 300977 w 851821"/>
                <a:gd name="connsiteY3" fmla="*/ 177670 h 397516"/>
                <a:gd name="connsiteX4" fmla="*/ 102219 w 851821"/>
                <a:gd name="connsiteY4" fmla="*/ 407662 h 397516"/>
                <a:gd name="connsiteX5" fmla="*/ 0 w 851821"/>
                <a:gd name="connsiteY5" fmla="*/ 360812 h 397516"/>
                <a:gd name="connsiteX6" fmla="*/ 198758 w 851821"/>
                <a:gd name="connsiteY6" fmla="*/ 79711 h 397516"/>
                <a:gd name="connsiteX7" fmla="*/ 283940 w 851821"/>
                <a:gd name="connsiteY7" fmla="*/ 208 h 397516"/>
                <a:gd name="connsiteX8" fmla="*/ 854661 w 851821"/>
                <a:gd name="connsiteY8" fmla="*/ 200386 h 397516"/>
                <a:gd name="connsiteX9" fmla="*/ 854661 w 851821"/>
                <a:gd name="connsiteY9" fmla="*/ 245816 h 39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1821" h="397516">
                  <a:moveTo>
                    <a:pt x="854661" y="245816"/>
                  </a:moveTo>
                  <a:cubicBezTo>
                    <a:pt x="854661" y="245816"/>
                    <a:pt x="861759" y="335257"/>
                    <a:pt x="793613" y="343775"/>
                  </a:cubicBezTo>
                  <a:cubicBezTo>
                    <a:pt x="725468" y="350874"/>
                    <a:pt x="650224" y="329578"/>
                    <a:pt x="552264" y="278469"/>
                  </a:cubicBezTo>
                  <a:cubicBezTo>
                    <a:pt x="454305" y="225940"/>
                    <a:pt x="323692" y="167732"/>
                    <a:pt x="300977" y="177670"/>
                  </a:cubicBezTo>
                  <a:cubicBezTo>
                    <a:pt x="278262" y="187608"/>
                    <a:pt x="102219" y="407662"/>
                    <a:pt x="102219" y="407662"/>
                  </a:cubicBezTo>
                  <a:lnTo>
                    <a:pt x="0" y="360812"/>
                  </a:lnTo>
                  <a:cubicBezTo>
                    <a:pt x="0" y="360812"/>
                    <a:pt x="190240" y="102426"/>
                    <a:pt x="198758" y="79711"/>
                  </a:cubicBezTo>
                  <a:cubicBezTo>
                    <a:pt x="207277" y="58415"/>
                    <a:pt x="244189" y="-4052"/>
                    <a:pt x="283940" y="208"/>
                  </a:cubicBezTo>
                  <a:cubicBezTo>
                    <a:pt x="322272" y="4467"/>
                    <a:pt x="854661" y="200386"/>
                    <a:pt x="854661" y="200386"/>
                  </a:cubicBezTo>
                  <a:lnTo>
                    <a:pt x="854661" y="245816"/>
                  </a:lnTo>
                  <a:close/>
                </a:path>
              </a:pathLst>
            </a:custGeom>
            <a:solidFill>
              <a:srgbClr val="A3633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7354BE27-EC32-4B37-8800-50B4ADA19F7A}"/>
                </a:ext>
              </a:extLst>
            </p:cNvPr>
            <p:cNvSpPr/>
            <p:nvPr userDrawn="1"/>
          </p:nvSpPr>
          <p:spPr>
            <a:xfrm>
              <a:off x="7426085" y="3404463"/>
              <a:ext cx="133457" cy="195052"/>
            </a:xfrm>
            <a:custGeom>
              <a:avLst/>
              <a:gdLst>
                <a:gd name="connsiteX0" fmla="*/ 65104 w 184561"/>
                <a:gd name="connsiteY0" fmla="*/ 1403 h 269743"/>
                <a:gd name="connsiteX1" fmla="*/ 4057 w 184561"/>
                <a:gd name="connsiteY1" fmla="*/ 141953 h 269743"/>
                <a:gd name="connsiteX2" fmla="*/ 104855 w 184561"/>
                <a:gd name="connsiteY2" fmla="*/ 272566 h 269743"/>
                <a:gd name="connsiteX3" fmla="*/ 177260 w 184561"/>
                <a:gd name="connsiteY3" fmla="*/ 183125 h 269743"/>
                <a:gd name="connsiteX4" fmla="*/ 177260 w 184561"/>
                <a:gd name="connsiteY4" fmla="*/ 32636 h 269743"/>
                <a:gd name="connsiteX5" fmla="*/ 65104 w 184561"/>
                <a:gd name="connsiteY5" fmla="*/ 1403 h 26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561" h="269743">
                  <a:moveTo>
                    <a:pt x="65104" y="1403"/>
                  </a:moveTo>
                  <a:cubicBezTo>
                    <a:pt x="26772" y="5662"/>
                    <a:pt x="-12980" y="55352"/>
                    <a:pt x="4057" y="141953"/>
                  </a:cubicBezTo>
                  <a:cubicBezTo>
                    <a:pt x="21093" y="228555"/>
                    <a:pt x="65104" y="276825"/>
                    <a:pt x="104855" y="272566"/>
                  </a:cubicBezTo>
                  <a:cubicBezTo>
                    <a:pt x="144607" y="266887"/>
                    <a:pt x="155965" y="232814"/>
                    <a:pt x="177260" y="183125"/>
                  </a:cubicBezTo>
                  <a:cubicBezTo>
                    <a:pt x="197136" y="133435"/>
                    <a:pt x="197136" y="46833"/>
                    <a:pt x="177260" y="32636"/>
                  </a:cubicBezTo>
                  <a:cubicBezTo>
                    <a:pt x="155965" y="15600"/>
                    <a:pt x="138928" y="-5696"/>
                    <a:pt x="65104" y="140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6DE5F0BF-E457-46C5-849A-45C045CED530}"/>
                </a:ext>
              </a:extLst>
            </p:cNvPr>
            <p:cNvSpPr/>
            <p:nvPr userDrawn="1"/>
          </p:nvSpPr>
          <p:spPr>
            <a:xfrm>
              <a:off x="7483427" y="3514034"/>
              <a:ext cx="71861" cy="123191"/>
            </a:xfrm>
            <a:custGeom>
              <a:avLst/>
              <a:gdLst>
                <a:gd name="connsiteX0" fmla="*/ 0 w 99379"/>
                <a:gd name="connsiteY0" fmla="*/ 106840 h 170364"/>
                <a:gd name="connsiteX1" fmla="*/ 8518 w 99379"/>
                <a:gd name="connsiteY1" fmla="*/ 166468 h 170364"/>
                <a:gd name="connsiteX2" fmla="*/ 109317 w 99379"/>
                <a:gd name="connsiteY2" fmla="*/ 140913 h 170364"/>
                <a:gd name="connsiteX3" fmla="*/ 106478 w 99379"/>
                <a:gd name="connsiteY3" fmla="*/ 10300 h 170364"/>
                <a:gd name="connsiteX4" fmla="*/ 0 w 99379"/>
                <a:gd name="connsiteY4" fmla="*/ 106840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170364">
                  <a:moveTo>
                    <a:pt x="0" y="106840"/>
                  </a:moveTo>
                  <a:cubicBezTo>
                    <a:pt x="0" y="106840"/>
                    <a:pt x="9938" y="145172"/>
                    <a:pt x="8518" y="166468"/>
                  </a:cubicBezTo>
                  <a:cubicBezTo>
                    <a:pt x="8518" y="166468"/>
                    <a:pt x="68146" y="192022"/>
                    <a:pt x="109317" y="140913"/>
                  </a:cubicBezTo>
                  <a:cubicBezTo>
                    <a:pt x="109317" y="140913"/>
                    <a:pt x="93700" y="59990"/>
                    <a:pt x="106478" y="10300"/>
                  </a:cubicBezTo>
                  <a:cubicBezTo>
                    <a:pt x="117835" y="-39389"/>
                    <a:pt x="0" y="106840"/>
                    <a:pt x="0" y="10684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68E52F7C-44F4-4DCD-ABD1-0D4DF6C17555}"/>
                </a:ext>
              </a:extLst>
            </p:cNvPr>
            <p:cNvSpPr/>
            <p:nvPr userDrawn="1"/>
          </p:nvSpPr>
          <p:spPr>
            <a:xfrm>
              <a:off x="7423933" y="3401902"/>
              <a:ext cx="143723" cy="133457"/>
            </a:xfrm>
            <a:custGeom>
              <a:avLst/>
              <a:gdLst>
                <a:gd name="connsiteX0" fmla="*/ 2773 w 198758"/>
                <a:gd name="connsiteY0" fmla="*/ 141236 h 184561"/>
                <a:gd name="connsiteX1" fmla="*/ 83696 w 198758"/>
                <a:gd name="connsiteY1" fmla="*/ 110002 h 184561"/>
                <a:gd name="connsiteX2" fmla="*/ 130546 w 198758"/>
                <a:gd name="connsiteY2" fmla="*/ 144075 h 184561"/>
                <a:gd name="connsiteX3" fmla="*/ 147583 w 198758"/>
                <a:gd name="connsiteY3" fmla="*/ 151174 h 184561"/>
                <a:gd name="connsiteX4" fmla="*/ 183075 w 198758"/>
                <a:gd name="connsiteY4" fmla="*/ 185246 h 184561"/>
                <a:gd name="connsiteX5" fmla="*/ 204371 w 198758"/>
                <a:gd name="connsiteY5" fmla="*/ 74510 h 184561"/>
                <a:gd name="connsiteX6" fmla="*/ 73758 w 198758"/>
                <a:gd name="connsiteY6" fmla="*/ 685 h 184561"/>
                <a:gd name="connsiteX7" fmla="*/ 2773 w 198758"/>
                <a:gd name="connsiteY7" fmla="*/ 141236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758" h="184561">
                  <a:moveTo>
                    <a:pt x="2773" y="141236"/>
                  </a:moveTo>
                  <a:cubicBezTo>
                    <a:pt x="2773" y="141236"/>
                    <a:pt x="56722" y="114261"/>
                    <a:pt x="83696" y="110002"/>
                  </a:cubicBezTo>
                  <a:cubicBezTo>
                    <a:pt x="112090" y="105743"/>
                    <a:pt x="137645" y="117101"/>
                    <a:pt x="130546" y="144075"/>
                  </a:cubicBezTo>
                  <a:lnTo>
                    <a:pt x="147583" y="151174"/>
                  </a:lnTo>
                  <a:cubicBezTo>
                    <a:pt x="147583" y="151174"/>
                    <a:pt x="178816" y="166790"/>
                    <a:pt x="183075" y="185246"/>
                  </a:cubicBezTo>
                  <a:cubicBezTo>
                    <a:pt x="183075" y="185246"/>
                    <a:pt x="202951" y="102904"/>
                    <a:pt x="204371" y="74510"/>
                  </a:cubicBezTo>
                  <a:cubicBezTo>
                    <a:pt x="205791" y="43276"/>
                    <a:pt x="173137" y="-6413"/>
                    <a:pt x="73758" y="685"/>
                  </a:cubicBezTo>
                  <a:cubicBezTo>
                    <a:pt x="-24201" y="4944"/>
                    <a:pt x="4193" y="128458"/>
                    <a:pt x="2773" y="141236"/>
                  </a:cubicBezTo>
                  <a:close/>
                </a:path>
              </a:pathLst>
            </a:custGeom>
            <a:solidFill>
              <a:srgbClr val="283B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86380B97-4FC7-45B9-ADC0-6F7F9B67EF50}"/>
                </a:ext>
              </a:extLst>
            </p:cNvPr>
            <p:cNvSpPr/>
            <p:nvPr userDrawn="1"/>
          </p:nvSpPr>
          <p:spPr>
            <a:xfrm>
              <a:off x="7525676" y="3482966"/>
              <a:ext cx="20532" cy="41064"/>
            </a:xfrm>
            <a:custGeom>
              <a:avLst/>
              <a:gdLst>
                <a:gd name="connsiteX0" fmla="*/ 2621 w 28394"/>
                <a:gd name="connsiteY0" fmla="*/ 19192 h 56788"/>
                <a:gd name="connsiteX1" fmla="*/ 32435 w 28394"/>
                <a:gd name="connsiteY1" fmla="*/ 7835 h 56788"/>
                <a:gd name="connsiteX2" fmla="*/ 9719 w 28394"/>
                <a:gd name="connsiteY2" fmla="*/ 57524 h 56788"/>
                <a:gd name="connsiteX3" fmla="*/ 2621 w 28394"/>
                <a:gd name="connsiteY3" fmla="*/ 1919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621" y="19192"/>
                  </a:moveTo>
                  <a:cubicBezTo>
                    <a:pt x="5460" y="7835"/>
                    <a:pt x="22497" y="-10621"/>
                    <a:pt x="32435" y="7835"/>
                  </a:cubicBezTo>
                  <a:cubicBezTo>
                    <a:pt x="42373" y="26291"/>
                    <a:pt x="21077" y="57524"/>
                    <a:pt x="9719" y="57524"/>
                  </a:cubicBezTo>
                  <a:cubicBezTo>
                    <a:pt x="-1638" y="57524"/>
                    <a:pt x="-1638" y="34809"/>
                    <a:pt x="2621" y="191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95F56CF8-1250-4CF6-8033-5FF8C9714611}"/>
                </a:ext>
              </a:extLst>
            </p:cNvPr>
            <p:cNvSpPr/>
            <p:nvPr userDrawn="1"/>
          </p:nvSpPr>
          <p:spPr>
            <a:xfrm>
              <a:off x="7340731" y="3716605"/>
              <a:ext cx="420903" cy="328510"/>
            </a:xfrm>
            <a:custGeom>
              <a:avLst/>
              <a:gdLst>
                <a:gd name="connsiteX0" fmla="*/ 15617 w 582077"/>
                <a:gd name="connsiteY0" fmla="*/ 68049 h 454304"/>
                <a:gd name="connsiteX1" fmla="*/ 173204 w 582077"/>
                <a:gd name="connsiteY1" fmla="*/ 28297 h 454304"/>
                <a:gd name="connsiteX2" fmla="*/ 454305 w 582077"/>
                <a:gd name="connsiteY2" fmla="*/ 70888 h 454304"/>
                <a:gd name="connsiteX3" fmla="*/ 572140 w 582077"/>
                <a:gd name="connsiteY3" fmla="*/ 337792 h 454304"/>
                <a:gd name="connsiteX4" fmla="*/ 570720 w 582077"/>
                <a:gd name="connsiteY4" fmla="*/ 342051 h 454304"/>
                <a:gd name="connsiteX5" fmla="*/ 549425 w 582077"/>
                <a:gd name="connsiteY5" fmla="*/ 381803 h 454304"/>
                <a:gd name="connsiteX6" fmla="*/ 299557 w 582077"/>
                <a:gd name="connsiteY6" fmla="*/ 451368 h 454304"/>
                <a:gd name="connsiteX7" fmla="*/ 69565 w 582077"/>
                <a:gd name="connsiteY7" fmla="*/ 282424 h 454304"/>
                <a:gd name="connsiteX8" fmla="*/ 89441 w 582077"/>
                <a:gd name="connsiteY8" fmla="*/ 166008 h 454304"/>
                <a:gd name="connsiteX9" fmla="*/ 0 w 582077"/>
                <a:gd name="connsiteY9" fmla="*/ 102122 h 454304"/>
                <a:gd name="connsiteX10" fmla="*/ 15617 w 582077"/>
                <a:gd name="connsiteY10" fmla="*/ 68049 h 45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2077" h="454304">
                  <a:moveTo>
                    <a:pt x="15617" y="68049"/>
                  </a:moveTo>
                  <a:cubicBezTo>
                    <a:pt x="38332" y="25458"/>
                    <a:pt x="89441" y="-37009"/>
                    <a:pt x="173204" y="28297"/>
                  </a:cubicBezTo>
                  <a:cubicBezTo>
                    <a:pt x="292459" y="119158"/>
                    <a:pt x="305236" y="11261"/>
                    <a:pt x="454305" y="70888"/>
                  </a:cubicBezTo>
                  <a:cubicBezTo>
                    <a:pt x="559363" y="112060"/>
                    <a:pt x="618990" y="224216"/>
                    <a:pt x="572140" y="337792"/>
                  </a:cubicBezTo>
                  <a:lnTo>
                    <a:pt x="570720" y="342051"/>
                  </a:lnTo>
                  <a:cubicBezTo>
                    <a:pt x="565041" y="356248"/>
                    <a:pt x="557943" y="369026"/>
                    <a:pt x="549425" y="381803"/>
                  </a:cubicBezTo>
                  <a:cubicBezTo>
                    <a:pt x="494056" y="464146"/>
                    <a:pt x="391838" y="488281"/>
                    <a:pt x="299557" y="451368"/>
                  </a:cubicBezTo>
                  <a:cubicBezTo>
                    <a:pt x="150488" y="393161"/>
                    <a:pt x="185981" y="298041"/>
                    <a:pt x="69565" y="282424"/>
                  </a:cubicBezTo>
                  <a:cubicBezTo>
                    <a:pt x="-61047" y="265387"/>
                    <a:pt x="89441" y="166008"/>
                    <a:pt x="89441" y="166008"/>
                  </a:cubicBezTo>
                  <a:lnTo>
                    <a:pt x="0" y="102122"/>
                  </a:lnTo>
                  <a:cubicBezTo>
                    <a:pt x="1420" y="100702"/>
                    <a:pt x="7099" y="86505"/>
                    <a:pt x="15617" y="68049"/>
                  </a:cubicBezTo>
                  <a:close/>
                </a:path>
              </a:pathLst>
            </a:custGeom>
            <a:solidFill>
              <a:srgbClr val="FCBC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27A8F782-BA09-40E1-8534-68B88AA40D49}"/>
                </a:ext>
              </a:extLst>
            </p:cNvPr>
            <p:cNvSpPr/>
            <p:nvPr userDrawn="1"/>
          </p:nvSpPr>
          <p:spPr>
            <a:xfrm>
              <a:off x="7336625" y="3710706"/>
              <a:ext cx="431169" cy="338776"/>
            </a:xfrm>
            <a:custGeom>
              <a:avLst/>
              <a:gdLst>
                <a:gd name="connsiteX0" fmla="*/ 2839 w 596274"/>
                <a:gd name="connsiteY0" fmla="*/ 100342 h 468501"/>
                <a:gd name="connsiteX1" fmla="*/ 1420 w 596274"/>
                <a:gd name="connsiteY1" fmla="*/ 106021 h 468501"/>
                <a:gd name="connsiteX2" fmla="*/ 0 w 596274"/>
                <a:gd name="connsiteY2" fmla="*/ 110280 h 468501"/>
                <a:gd name="connsiteX3" fmla="*/ 85182 w 596274"/>
                <a:gd name="connsiteY3" fmla="*/ 171327 h 468501"/>
                <a:gd name="connsiteX4" fmla="*/ 18456 w 596274"/>
                <a:gd name="connsiteY4" fmla="*/ 263608 h 468501"/>
                <a:gd name="connsiteX5" fmla="*/ 78084 w 596274"/>
                <a:gd name="connsiteY5" fmla="*/ 296261 h 468501"/>
                <a:gd name="connsiteX6" fmla="*/ 174623 w 596274"/>
                <a:gd name="connsiteY6" fmla="*/ 361568 h 468501"/>
                <a:gd name="connsiteX7" fmla="*/ 306656 w 596274"/>
                <a:gd name="connsiteY7" fmla="*/ 465206 h 468501"/>
                <a:gd name="connsiteX8" fmla="*/ 565041 w 596274"/>
                <a:gd name="connsiteY8" fmla="*/ 392801 h 468501"/>
                <a:gd name="connsiteX9" fmla="*/ 583498 w 596274"/>
                <a:gd name="connsiteY9" fmla="*/ 357308 h 468501"/>
                <a:gd name="connsiteX10" fmla="*/ 586337 w 596274"/>
                <a:gd name="connsiteY10" fmla="*/ 351630 h 468501"/>
                <a:gd name="connsiteX11" fmla="*/ 587757 w 596274"/>
                <a:gd name="connsiteY11" fmla="*/ 347371 h 468501"/>
                <a:gd name="connsiteX12" fmla="*/ 584917 w 596274"/>
                <a:gd name="connsiteY12" fmla="*/ 181265 h 468501"/>
                <a:gd name="connsiteX13" fmla="*/ 464243 w 596274"/>
                <a:gd name="connsiteY13" fmla="*/ 70529 h 468501"/>
                <a:gd name="connsiteX14" fmla="*/ 313754 w 596274"/>
                <a:gd name="connsiteY14" fmla="*/ 59171 h 468501"/>
                <a:gd name="connsiteX15" fmla="*/ 184561 w 596274"/>
                <a:gd name="connsiteY15" fmla="*/ 29357 h 468501"/>
                <a:gd name="connsiteX16" fmla="*/ 96540 w 596274"/>
                <a:gd name="connsiteY16" fmla="*/ 963 h 468501"/>
                <a:gd name="connsiteX17" fmla="*/ 14197 w 596274"/>
                <a:gd name="connsiteY17" fmla="*/ 71948 h 468501"/>
                <a:gd name="connsiteX18" fmla="*/ 2839 w 596274"/>
                <a:gd name="connsiteY18" fmla="*/ 100342 h 468501"/>
                <a:gd name="connsiteX19" fmla="*/ 51109 w 596274"/>
                <a:gd name="connsiteY19" fmla="*/ 131576 h 468501"/>
                <a:gd name="connsiteX20" fmla="*/ 15617 w 596274"/>
                <a:gd name="connsiteY20" fmla="*/ 106021 h 468501"/>
                <a:gd name="connsiteX21" fmla="*/ 17036 w 596274"/>
                <a:gd name="connsiteY21" fmla="*/ 101762 h 468501"/>
                <a:gd name="connsiteX22" fmla="*/ 26974 w 596274"/>
                <a:gd name="connsiteY22" fmla="*/ 79047 h 468501"/>
                <a:gd name="connsiteX23" fmla="*/ 99379 w 596274"/>
                <a:gd name="connsiteY23" fmla="*/ 15160 h 468501"/>
                <a:gd name="connsiteX24" fmla="*/ 174623 w 596274"/>
                <a:gd name="connsiteY24" fmla="*/ 40715 h 468501"/>
                <a:gd name="connsiteX25" fmla="*/ 318013 w 596274"/>
                <a:gd name="connsiteY25" fmla="*/ 73368 h 468501"/>
                <a:gd name="connsiteX26" fmla="*/ 458564 w 596274"/>
                <a:gd name="connsiteY26" fmla="*/ 83306 h 468501"/>
                <a:gd name="connsiteX27" fmla="*/ 572140 w 596274"/>
                <a:gd name="connsiteY27" fmla="*/ 341692 h 468501"/>
                <a:gd name="connsiteX28" fmla="*/ 570720 w 596274"/>
                <a:gd name="connsiteY28" fmla="*/ 345951 h 468501"/>
                <a:gd name="connsiteX29" fmla="*/ 569301 w 596274"/>
                <a:gd name="connsiteY29" fmla="*/ 348790 h 468501"/>
                <a:gd name="connsiteX30" fmla="*/ 549425 w 596274"/>
                <a:gd name="connsiteY30" fmla="*/ 384283 h 468501"/>
                <a:gd name="connsiteX31" fmla="*/ 309495 w 596274"/>
                <a:gd name="connsiteY31" fmla="*/ 451009 h 468501"/>
                <a:gd name="connsiteX32" fmla="*/ 184561 w 596274"/>
                <a:gd name="connsiteY32" fmla="*/ 353049 h 468501"/>
                <a:gd name="connsiteX33" fmla="*/ 76664 w 596274"/>
                <a:gd name="connsiteY33" fmla="*/ 282064 h 468501"/>
                <a:gd name="connsiteX34" fmla="*/ 29814 w 596274"/>
                <a:gd name="connsiteY34" fmla="*/ 260769 h 468501"/>
                <a:gd name="connsiteX35" fmla="*/ 99379 w 596274"/>
                <a:gd name="connsiteY35" fmla="*/ 178426 h 468501"/>
                <a:gd name="connsiteX36" fmla="*/ 107897 w 596274"/>
                <a:gd name="connsiteY36" fmla="*/ 172747 h 468501"/>
                <a:gd name="connsiteX37" fmla="*/ 51109 w 596274"/>
                <a:gd name="connsiteY37" fmla="*/ 131576 h 46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6274" h="468501">
                  <a:moveTo>
                    <a:pt x="2839" y="100342"/>
                  </a:moveTo>
                  <a:cubicBezTo>
                    <a:pt x="1420" y="103182"/>
                    <a:pt x="1420" y="106021"/>
                    <a:pt x="1420" y="106021"/>
                  </a:cubicBezTo>
                  <a:lnTo>
                    <a:pt x="0" y="110280"/>
                  </a:lnTo>
                  <a:lnTo>
                    <a:pt x="85182" y="171327"/>
                  </a:lnTo>
                  <a:cubicBezTo>
                    <a:pt x="62467" y="186944"/>
                    <a:pt x="8518" y="229535"/>
                    <a:pt x="18456" y="263608"/>
                  </a:cubicBezTo>
                  <a:cubicBezTo>
                    <a:pt x="24135" y="280644"/>
                    <a:pt x="44011" y="290582"/>
                    <a:pt x="78084" y="296261"/>
                  </a:cubicBezTo>
                  <a:cubicBezTo>
                    <a:pt x="132032" y="303360"/>
                    <a:pt x="151908" y="328914"/>
                    <a:pt x="174623" y="361568"/>
                  </a:cubicBezTo>
                  <a:cubicBezTo>
                    <a:pt x="198758" y="394221"/>
                    <a:pt x="228572" y="435392"/>
                    <a:pt x="306656" y="465206"/>
                  </a:cubicBezTo>
                  <a:cubicBezTo>
                    <a:pt x="406035" y="504957"/>
                    <a:pt x="509673" y="475144"/>
                    <a:pt x="565041" y="392801"/>
                  </a:cubicBezTo>
                  <a:cubicBezTo>
                    <a:pt x="572140" y="381443"/>
                    <a:pt x="579238" y="370086"/>
                    <a:pt x="583498" y="357308"/>
                  </a:cubicBezTo>
                  <a:cubicBezTo>
                    <a:pt x="584917" y="355889"/>
                    <a:pt x="584917" y="353049"/>
                    <a:pt x="586337" y="351630"/>
                  </a:cubicBezTo>
                  <a:lnTo>
                    <a:pt x="587757" y="347371"/>
                  </a:lnTo>
                  <a:cubicBezTo>
                    <a:pt x="610472" y="292002"/>
                    <a:pt x="609052" y="232375"/>
                    <a:pt x="584917" y="181265"/>
                  </a:cubicBezTo>
                  <a:cubicBezTo>
                    <a:pt x="562202" y="131576"/>
                    <a:pt x="519611" y="91824"/>
                    <a:pt x="464243" y="70529"/>
                  </a:cubicBezTo>
                  <a:cubicBezTo>
                    <a:pt x="391838" y="42135"/>
                    <a:pt x="350666" y="52072"/>
                    <a:pt x="313754" y="59171"/>
                  </a:cubicBezTo>
                  <a:cubicBezTo>
                    <a:pt x="275422" y="67689"/>
                    <a:pt x="244189" y="74788"/>
                    <a:pt x="184561" y="29357"/>
                  </a:cubicBezTo>
                  <a:cubicBezTo>
                    <a:pt x="153328" y="6642"/>
                    <a:pt x="124934" y="-3296"/>
                    <a:pt x="96540" y="963"/>
                  </a:cubicBezTo>
                  <a:cubicBezTo>
                    <a:pt x="56788" y="8062"/>
                    <a:pt x="29814" y="43554"/>
                    <a:pt x="14197" y="71948"/>
                  </a:cubicBezTo>
                  <a:cubicBezTo>
                    <a:pt x="8518" y="84726"/>
                    <a:pt x="4259" y="94663"/>
                    <a:pt x="2839" y="100342"/>
                  </a:cubicBezTo>
                  <a:close/>
                  <a:moveTo>
                    <a:pt x="51109" y="131576"/>
                  </a:moveTo>
                  <a:lnTo>
                    <a:pt x="15617" y="106021"/>
                  </a:lnTo>
                  <a:cubicBezTo>
                    <a:pt x="15617" y="104601"/>
                    <a:pt x="17036" y="103182"/>
                    <a:pt x="17036" y="101762"/>
                  </a:cubicBezTo>
                  <a:cubicBezTo>
                    <a:pt x="19876" y="96083"/>
                    <a:pt x="22715" y="87565"/>
                    <a:pt x="26974" y="79047"/>
                  </a:cubicBezTo>
                  <a:cubicBezTo>
                    <a:pt x="41171" y="53492"/>
                    <a:pt x="65306" y="20839"/>
                    <a:pt x="99379" y="15160"/>
                  </a:cubicBezTo>
                  <a:cubicBezTo>
                    <a:pt x="122094" y="10901"/>
                    <a:pt x="147649" y="19419"/>
                    <a:pt x="174623" y="40715"/>
                  </a:cubicBezTo>
                  <a:cubicBezTo>
                    <a:pt x="241349" y="91824"/>
                    <a:pt x="278262" y="83306"/>
                    <a:pt x="318013" y="73368"/>
                  </a:cubicBezTo>
                  <a:cubicBezTo>
                    <a:pt x="352086" y="64850"/>
                    <a:pt x="390418" y="56332"/>
                    <a:pt x="458564" y="83306"/>
                  </a:cubicBezTo>
                  <a:cubicBezTo>
                    <a:pt x="565041" y="125897"/>
                    <a:pt x="614731" y="236634"/>
                    <a:pt x="572140" y="341692"/>
                  </a:cubicBezTo>
                  <a:lnTo>
                    <a:pt x="570720" y="345951"/>
                  </a:lnTo>
                  <a:cubicBezTo>
                    <a:pt x="570720" y="347371"/>
                    <a:pt x="570720" y="347371"/>
                    <a:pt x="569301" y="348790"/>
                  </a:cubicBezTo>
                  <a:cubicBezTo>
                    <a:pt x="563622" y="361568"/>
                    <a:pt x="557943" y="374345"/>
                    <a:pt x="549425" y="384283"/>
                  </a:cubicBezTo>
                  <a:cubicBezTo>
                    <a:pt x="498315" y="460947"/>
                    <a:pt x="401776" y="487921"/>
                    <a:pt x="309495" y="451009"/>
                  </a:cubicBezTo>
                  <a:cubicBezTo>
                    <a:pt x="237090" y="422615"/>
                    <a:pt x="208696" y="385702"/>
                    <a:pt x="184561" y="353049"/>
                  </a:cubicBezTo>
                  <a:cubicBezTo>
                    <a:pt x="159007" y="318976"/>
                    <a:pt x="137711" y="290582"/>
                    <a:pt x="76664" y="282064"/>
                  </a:cubicBezTo>
                  <a:cubicBezTo>
                    <a:pt x="58208" y="279225"/>
                    <a:pt x="34073" y="273546"/>
                    <a:pt x="29814" y="260769"/>
                  </a:cubicBezTo>
                  <a:cubicBezTo>
                    <a:pt x="22715" y="238053"/>
                    <a:pt x="69565" y="198302"/>
                    <a:pt x="99379" y="178426"/>
                  </a:cubicBezTo>
                  <a:lnTo>
                    <a:pt x="107897" y="172747"/>
                  </a:lnTo>
                  <a:lnTo>
                    <a:pt x="51109" y="131576"/>
                  </a:lnTo>
                  <a:close/>
                </a:path>
              </a:pathLst>
            </a:custGeom>
            <a:solidFill>
              <a:srgbClr val="E0A76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7DAFBD11-14C4-4494-9C8D-E52C9C4FF1F0}"/>
                </a:ext>
              </a:extLst>
            </p:cNvPr>
            <p:cNvSpPr/>
            <p:nvPr userDrawn="1"/>
          </p:nvSpPr>
          <p:spPr>
            <a:xfrm>
              <a:off x="7626124" y="3857178"/>
              <a:ext cx="61596" cy="123191"/>
            </a:xfrm>
            <a:custGeom>
              <a:avLst/>
              <a:gdLst>
                <a:gd name="connsiteX0" fmla="*/ 14197 w 85182"/>
                <a:gd name="connsiteY0" fmla="*/ 134872 h 170364"/>
                <a:gd name="connsiteX1" fmla="*/ 69565 w 85182"/>
                <a:gd name="connsiteY1" fmla="*/ 0 h 170364"/>
                <a:gd name="connsiteX2" fmla="*/ 93700 w 85182"/>
                <a:gd name="connsiteY2" fmla="*/ 9938 h 170364"/>
                <a:gd name="connsiteX3" fmla="*/ 86602 w 85182"/>
                <a:gd name="connsiteY3" fmla="*/ 29814 h 170364"/>
                <a:gd name="connsiteX4" fmla="*/ 92281 w 85182"/>
                <a:gd name="connsiteY4" fmla="*/ 32653 h 170364"/>
                <a:gd name="connsiteX5" fmla="*/ 51109 w 85182"/>
                <a:gd name="connsiteY5" fmla="*/ 133452 h 170364"/>
                <a:gd name="connsiteX6" fmla="*/ 51109 w 85182"/>
                <a:gd name="connsiteY6" fmla="*/ 133452 h 170364"/>
                <a:gd name="connsiteX7" fmla="*/ 39752 w 85182"/>
                <a:gd name="connsiteY7" fmla="*/ 163266 h 170364"/>
                <a:gd name="connsiteX8" fmla="*/ 34073 w 85182"/>
                <a:gd name="connsiteY8" fmla="*/ 160426 h 170364"/>
                <a:gd name="connsiteX9" fmla="*/ 25555 w 85182"/>
                <a:gd name="connsiteY9" fmla="*/ 180302 h 170364"/>
                <a:gd name="connsiteX10" fmla="*/ 0 w 85182"/>
                <a:gd name="connsiteY10" fmla="*/ 170364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182" h="170364">
                  <a:moveTo>
                    <a:pt x="14197" y="134872"/>
                  </a:moveTo>
                  <a:lnTo>
                    <a:pt x="69565" y="0"/>
                  </a:lnTo>
                  <a:lnTo>
                    <a:pt x="93700" y="9938"/>
                  </a:lnTo>
                  <a:lnTo>
                    <a:pt x="86602" y="29814"/>
                  </a:lnTo>
                  <a:lnTo>
                    <a:pt x="92281" y="32653"/>
                  </a:lnTo>
                  <a:lnTo>
                    <a:pt x="51109" y="133452"/>
                  </a:lnTo>
                  <a:lnTo>
                    <a:pt x="51109" y="133452"/>
                  </a:lnTo>
                  <a:lnTo>
                    <a:pt x="39752" y="163266"/>
                  </a:lnTo>
                  <a:lnTo>
                    <a:pt x="34073" y="160426"/>
                  </a:lnTo>
                  <a:lnTo>
                    <a:pt x="25555" y="180302"/>
                  </a:lnTo>
                  <a:lnTo>
                    <a:pt x="0" y="170364"/>
                  </a:lnTo>
                  <a:close/>
                </a:path>
              </a:pathLst>
            </a:custGeom>
            <a:solidFill>
              <a:srgbClr val="56361B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14343FA0-085B-4A39-B25A-A51B522E1141}"/>
                </a:ext>
              </a:extLst>
            </p:cNvPr>
            <p:cNvSpPr/>
            <p:nvPr userDrawn="1"/>
          </p:nvSpPr>
          <p:spPr>
            <a:xfrm>
              <a:off x="6973210" y="3612849"/>
              <a:ext cx="10266" cy="10266"/>
            </a:xfrm>
            <a:custGeom>
              <a:avLst/>
              <a:gdLst>
                <a:gd name="connsiteX0" fmla="*/ 4259 w 14197"/>
                <a:gd name="connsiteY0" fmla="*/ 25555 h 14197"/>
                <a:gd name="connsiteX1" fmla="*/ 7099 w 14197"/>
                <a:gd name="connsiteY1" fmla="*/ 17036 h 14197"/>
                <a:gd name="connsiteX2" fmla="*/ 7099 w 14197"/>
                <a:gd name="connsiteY2" fmla="*/ 17036 h 14197"/>
                <a:gd name="connsiteX3" fmla="*/ 0 w 14197"/>
                <a:gd name="connsiteY3" fmla="*/ 9938 h 14197"/>
                <a:gd name="connsiteX4" fmla="*/ 4259 w 14197"/>
                <a:gd name="connsiteY4" fmla="*/ 0 h 14197"/>
                <a:gd name="connsiteX5" fmla="*/ 15617 w 14197"/>
                <a:gd name="connsiteY5" fmla="*/ 0 h 14197"/>
                <a:gd name="connsiteX6" fmla="*/ 24135 w 14197"/>
                <a:gd name="connsiteY6" fmla="*/ 7099 h 14197"/>
                <a:gd name="connsiteX7" fmla="*/ 19876 w 14197"/>
                <a:gd name="connsiteY7" fmla="*/ 18456 h 14197"/>
                <a:gd name="connsiteX8" fmla="*/ 9938 w 14197"/>
                <a:gd name="connsiteY8" fmla="*/ 17036 h 14197"/>
                <a:gd name="connsiteX9" fmla="*/ 5679 w 14197"/>
                <a:gd name="connsiteY9" fmla="*/ 26974 h 14197"/>
                <a:gd name="connsiteX10" fmla="*/ 5679 w 14197"/>
                <a:gd name="connsiteY10" fmla="*/ 26974 h 14197"/>
                <a:gd name="connsiteX11" fmla="*/ 5679 w 14197"/>
                <a:gd name="connsiteY11" fmla="*/ 26974 h 14197"/>
                <a:gd name="connsiteX12" fmla="*/ 4259 w 14197"/>
                <a:gd name="connsiteY12" fmla="*/ 25555 h 14197"/>
                <a:gd name="connsiteX13" fmla="*/ 4259 w 14197"/>
                <a:gd name="connsiteY13" fmla="*/ 25555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197" h="14197">
                  <a:moveTo>
                    <a:pt x="4259" y="25555"/>
                  </a:moveTo>
                  <a:lnTo>
                    <a:pt x="7099" y="17036"/>
                  </a:lnTo>
                  <a:lnTo>
                    <a:pt x="7099" y="17036"/>
                  </a:lnTo>
                  <a:lnTo>
                    <a:pt x="0" y="9938"/>
                  </a:lnTo>
                  <a:lnTo>
                    <a:pt x="4259" y="0"/>
                  </a:lnTo>
                  <a:lnTo>
                    <a:pt x="15617" y="0"/>
                  </a:lnTo>
                  <a:lnTo>
                    <a:pt x="24135" y="7099"/>
                  </a:lnTo>
                  <a:lnTo>
                    <a:pt x="19876" y="18456"/>
                  </a:lnTo>
                  <a:lnTo>
                    <a:pt x="9938" y="17036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4259" y="25555"/>
                  </a:lnTo>
                  <a:lnTo>
                    <a:pt x="4259" y="25555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6E2F4DA1-7480-408C-BD80-B10D90D1F8FA}"/>
                </a:ext>
              </a:extLst>
            </p:cNvPr>
            <p:cNvSpPr/>
            <p:nvPr userDrawn="1"/>
          </p:nvSpPr>
          <p:spPr>
            <a:xfrm>
              <a:off x="6993743" y="3621062"/>
              <a:ext cx="10266" cy="10266"/>
            </a:xfrm>
            <a:custGeom>
              <a:avLst/>
              <a:gdLst>
                <a:gd name="connsiteX0" fmla="*/ 0 w 14197"/>
                <a:gd name="connsiteY0" fmla="*/ 11358 h 14197"/>
                <a:gd name="connsiteX1" fmla="*/ 4259 w 14197"/>
                <a:gd name="connsiteY1" fmla="*/ 0 h 14197"/>
                <a:gd name="connsiteX2" fmla="*/ 15617 w 14197"/>
                <a:gd name="connsiteY2" fmla="*/ 1420 h 14197"/>
                <a:gd name="connsiteX3" fmla="*/ 15617 w 14197"/>
                <a:gd name="connsiteY3" fmla="*/ 1420 h 14197"/>
                <a:gd name="connsiteX4" fmla="*/ 24135 w 14197"/>
                <a:gd name="connsiteY4" fmla="*/ 8518 h 14197"/>
                <a:gd name="connsiteX5" fmla="*/ 19876 w 14197"/>
                <a:gd name="connsiteY5" fmla="*/ 19876 h 14197"/>
                <a:gd name="connsiteX6" fmla="*/ 9938 w 14197"/>
                <a:gd name="connsiteY6" fmla="*/ 18456 h 14197"/>
                <a:gd name="connsiteX7" fmla="*/ 7099 w 14197"/>
                <a:gd name="connsiteY7" fmla="*/ 26974 h 14197"/>
                <a:gd name="connsiteX8" fmla="*/ 5679 w 14197"/>
                <a:gd name="connsiteY8" fmla="*/ 26974 h 14197"/>
                <a:gd name="connsiteX9" fmla="*/ 4259 w 14197"/>
                <a:gd name="connsiteY9" fmla="*/ 26974 h 14197"/>
                <a:gd name="connsiteX10" fmla="*/ 7099 w 14197"/>
                <a:gd name="connsiteY10" fmla="*/ 1845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4259" y="0"/>
                  </a:lnTo>
                  <a:lnTo>
                    <a:pt x="15617" y="1420"/>
                  </a:lnTo>
                  <a:lnTo>
                    <a:pt x="15617" y="1420"/>
                  </a:lnTo>
                  <a:lnTo>
                    <a:pt x="24135" y="8518"/>
                  </a:lnTo>
                  <a:lnTo>
                    <a:pt x="19876" y="19876"/>
                  </a:lnTo>
                  <a:lnTo>
                    <a:pt x="9938" y="18456"/>
                  </a:lnTo>
                  <a:lnTo>
                    <a:pt x="7099" y="26974"/>
                  </a:lnTo>
                  <a:lnTo>
                    <a:pt x="5679" y="26974"/>
                  </a:lnTo>
                  <a:lnTo>
                    <a:pt x="4259" y="26974"/>
                  </a:lnTo>
                  <a:lnTo>
                    <a:pt x="7099" y="1845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AC434346-59CA-46CD-97DA-BCDE683E1A06}"/>
                </a:ext>
              </a:extLst>
            </p:cNvPr>
            <p:cNvSpPr/>
            <p:nvPr userDrawn="1"/>
          </p:nvSpPr>
          <p:spPr>
            <a:xfrm>
              <a:off x="7013248" y="3630301"/>
              <a:ext cx="10266" cy="10266"/>
            </a:xfrm>
            <a:custGeom>
              <a:avLst/>
              <a:gdLst>
                <a:gd name="connsiteX0" fmla="*/ 0 w 14197"/>
                <a:gd name="connsiteY0" fmla="*/ 11358 h 14197"/>
                <a:gd name="connsiteX1" fmla="*/ 5679 w 14197"/>
                <a:gd name="connsiteY1" fmla="*/ 0 h 14197"/>
                <a:gd name="connsiteX2" fmla="*/ 17036 w 14197"/>
                <a:gd name="connsiteY2" fmla="*/ 1420 h 14197"/>
                <a:gd name="connsiteX3" fmla="*/ 17036 w 14197"/>
                <a:gd name="connsiteY3" fmla="*/ 1420 h 14197"/>
                <a:gd name="connsiteX4" fmla="*/ 25555 w 14197"/>
                <a:gd name="connsiteY4" fmla="*/ 8518 h 14197"/>
                <a:gd name="connsiteX5" fmla="*/ 21296 w 14197"/>
                <a:gd name="connsiteY5" fmla="*/ 19876 h 14197"/>
                <a:gd name="connsiteX6" fmla="*/ 11358 w 14197"/>
                <a:gd name="connsiteY6" fmla="*/ 18456 h 14197"/>
                <a:gd name="connsiteX7" fmla="*/ 8518 w 14197"/>
                <a:gd name="connsiteY7" fmla="*/ 26974 h 14197"/>
                <a:gd name="connsiteX8" fmla="*/ 5679 w 14197"/>
                <a:gd name="connsiteY8" fmla="*/ 25555 h 14197"/>
                <a:gd name="connsiteX9" fmla="*/ 8518 w 14197"/>
                <a:gd name="connsiteY9" fmla="*/ 1703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5679" y="0"/>
                  </a:lnTo>
                  <a:lnTo>
                    <a:pt x="17036" y="1420"/>
                  </a:lnTo>
                  <a:lnTo>
                    <a:pt x="17036" y="1420"/>
                  </a:lnTo>
                  <a:lnTo>
                    <a:pt x="25555" y="8518"/>
                  </a:lnTo>
                  <a:lnTo>
                    <a:pt x="21296" y="19876"/>
                  </a:lnTo>
                  <a:lnTo>
                    <a:pt x="11358" y="18456"/>
                  </a:lnTo>
                  <a:lnTo>
                    <a:pt x="8518" y="26974"/>
                  </a:lnTo>
                  <a:lnTo>
                    <a:pt x="5679" y="25555"/>
                  </a:lnTo>
                  <a:lnTo>
                    <a:pt x="8518" y="1703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A5ACB597-C071-4FA8-A6E8-0672F3C87E58}"/>
                </a:ext>
              </a:extLst>
            </p:cNvPr>
            <p:cNvSpPr/>
            <p:nvPr userDrawn="1"/>
          </p:nvSpPr>
          <p:spPr>
            <a:xfrm>
              <a:off x="7468822" y="3824558"/>
              <a:ext cx="71861" cy="71861"/>
            </a:xfrm>
            <a:custGeom>
              <a:avLst/>
              <a:gdLst>
                <a:gd name="connsiteX0" fmla="*/ 3162 w 99379"/>
                <a:gd name="connsiteY0" fmla="*/ 33753 h 99379"/>
                <a:gd name="connsiteX1" fmla="*/ 75567 w 99379"/>
                <a:gd name="connsiteY1" fmla="*/ 3939 h 99379"/>
                <a:gd name="connsiteX2" fmla="*/ 108220 w 99379"/>
                <a:gd name="connsiteY2" fmla="*/ 74924 h 99379"/>
                <a:gd name="connsiteX3" fmla="*/ 35815 w 99379"/>
                <a:gd name="connsiteY3" fmla="*/ 104738 h 99379"/>
                <a:gd name="connsiteX4" fmla="*/ 3162 w 99379"/>
                <a:gd name="connsiteY4" fmla="*/ 33753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99379">
                  <a:moveTo>
                    <a:pt x="3162" y="33753"/>
                  </a:moveTo>
                  <a:cubicBezTo>
                    <a:pt x="15939" y="6779"/>
                    <a:pt x="47173" y="-7418"/>
                    <a:pt x="75567" y="3939"/>
                  </a:cubicBezTo>
                  <a:cubicBezTo>
                    <a:pt x="103961" y="15297"/>
                    <a:pt x="118158" y="46530"/>
                    <a:pt x="108220" y="74924"/>
                  </a:cubicBezTo>
                  <a:cubicBezTo>
                    <a:pt x="95442" y="101899"/>
                    <a:pt x="64209" y="116096"/>
                    <a:pt x="35815" y="104738"/>
                  </a:cubicBezTo>
                  <a:cubicBezTo>
                    <a:pt x="7421" y="93381"/>
                    <a:pt x="-6776" y="62147"/>
                    <a:pt x="3162" y="33753"/>
                  </a:cubicBezTo>
                  <a:close/>
                </a:path>
              </a:pathLst>
            </a:custGeom>
            <a:solidFill>
              <a:srgbClr val="39241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657348BB-4959-4008-9DF2-1B4A6510B7BA}"/>
                </a:ext>
              </a:extLst>
            </p:cNvPr>
            <p:cNvSpPr/>
            <p:nvPr userDrawn="1"/>
          </p:nvSpPr>
          <p:spPr>
            <a:xfrm>
              <a:off x="6944424" y="3624906"/>
              <a:ext cx="544094" cy="246382"/>
            </a:xfrm>
            <a:custGeom>
              <a:avLst/>
              <a:gdLst>
                <a:gd name="connsiteX0" fmla="*/ 4317 w 752442"/>
                <a:gd name="connsiteY0" fmla="*/ 54311 h 340728"/>
                <a:gd name="connsiteX1" fmla="*/ 103696 w 752442"/>
                <a:gd name="connsiteY1" fmla="*/ 91223 h 340728"/>
                <a:gd name="connsiteX2" fmla="*/ 106535 w 752442"/>
                <a:gd name="connsiteY2" fmla="*/ 91223 h 340728"/>
                <a:gd name="connsiteX3" fmla="*/ 109375 w 752442"/>
                <a:gd name="connsiteY3" fmla="*/ 91223 h 340728"/>
                <a:gd name="connsiteX4" fmla="*/ 113634 w 752442"/>
                <a:gd name="connsiteY4" fmla="*/ 91223 h 340728"/>
                <a:gd name="connsiteX5" fmla="*/ 115053 w 752442"/>
                <a:gd name="connsiteY5" fmla="*/ 91223 h 340728"/>
                <a:gd name="connsiteX6" fmla="*/ 116473 w 752442"/>
                <a:gd name="connsiteY6" fmla="*/ 91223 h 340728"/>
                <a:gd name="connsiteX7" fmla="*/ 117893 w 752442"/>
                <a:gd name="connsiteY7" fmla="*/ 91223 h 340728"/>
                <a:gd name="connsiteX8" fmla="*/ 119312 w 752442"/>
                <a:gd name="connsiteY8" fmla="*/ 91223 h 340728"/>
                <a:gd name="connsiteX9" fmla="*/ 146287 w 752442"/>
                <a:gd name="connsiteY9" fmla="*/ 102580 h 340728"/>
                <a:gd name="connsiteX10" fmla="*/ 149126 w 752442"/>
                <a:gd name="connsiteY10" fmla="*/ 104000 h 340728"/>
                <a:gd name="connsiteX11" fmla="*/ 169002 w 752442"/>
                <a:gd name="connsiteY11" fmla="*/ 112518 h 340728"/>
                <a:gd name="connsiteX12" fmla="*/ 171841 w 752442"/>
                <a:gd name="connsiteY12" fmla="*/ 113938 h 340728"/>
                <a:gd name="connsiteX13" fmla="*/ 183199 w 752442"/>
                <a:gd name="connsiteY13" fmla="*/ 118197 h 340728"/>
                <a:gd name="connsiteX14" fmla="*/ 186038 w 752442"/>
                <a:gd name="connsiteY14" fmla="*/ 119617 h 340728"/>
                <a:gd name="connsiteX15" fmla="*/ 215852 w 752442"/>
                <a:gd name="connsiteY15" fmla="*/ 132394 h 340728"/>
                <a:gd name="connsiteX16" fmla="*/ 218692 w 752442"/>
                <a:gd name="connsiteY16" fmla="*/ 133814 h 340728"/>
                <a:gd name="connsiteX17" fmla="*/ 218692 w 752442"/>
                <a:gd name="connsiteY17" fmla="*/ 133814 h 340728"/>
                <a:gd name="connsiteX18" fmla="*/ 221531 w 752442"/>
                <a:gd name="connsiteY18" fmla="*/ 135233 h 340728"/>
                <a:gd name="connsiteX19" fmla="*/ 254184 w 752442"/>
                <a:gd name="connsiteY19" fmla="*/ 148011 h 340728"/>
                <a:gd name="connsiteX20" fmla="*/ 257024 w 752442"/>
                <a:gd name="connsiteY20" fmla="*/ 149431 h 340728"/>
                <a:gd name="connsiteX21" fmla="*/ 289677 w 752442"/>
                <a:gd name="connsiteY21" fmla="*/ 163628 h 340728"/>
                <a:gd name="connsiteX22" fmla="*/ 292516 w 752442"/>
                <a:gd name="connsiteY22" fmla="*/ 165047 h 340728"/>
                <a:gd name="connsiteX23" fmla="*/ 325169 w 752442"/>
                <a:gd name="connsiteY23" fmla="*/ 179244 h 340728"/>
                <a:gd name="connsiteX24" fmla="*/ 328009 w 752442"/>
                <a:gd name="connsiteY24" fmla="*/ 180664 h 340728"/>
                <a:gd name="connsiteX25" fmla="*/ 359242 w 752442"/>
                <a:gd name="connsiteY25" fmla="*/ 192022 h 340728"/>
                <a:gd name="connsiteX26" fmla="*/ 362082 w 752442"/>
                <a:gd name="connsiteY26" fmla="*/ 193441 h 340728"/>
                <a:gd name="connsiteX27" fmla="*/ 396154 w 752442"/>
                <a:gd name="connsiteY27" fmla="*/ 207638 h 340728"/>
                <a:gd name="connsiteX28" fmla="*/ 398994 w 752442"/>
                <a:gd name="connsiteY28" fmla="*/ 209058 h 340728"/>
                <a:gd name="connsiteX29" fmla="*/ 433067 w 752442"/>
                <a:gd name="connsiteY29" fmla="*/ 223255 h 340728"/>
                <a:gd name="connsiteX30" fmla="*/ 435906 w 752442"/>
                <a:gd name="connsiteY30" fmla="*/ 224675 h 340728"/>
                <a:gd name="connsiteX31" fmla="*/ 474238 w 752442"/>
                <a:gd name="connsiteY31" fmla="*/ 240291 h 340728"/>
                <a:gd name="connsiteX32" fmla="*/ 477077 w 752442"/>
                <a:gd name="connsiteY32" fmla="*/ 241711 h 340728"/>
                <a:gd name="connsiteX33" fmla="*/ 515409 w 752442"/>
                <a:gd name="connsiteY33" fmla="*/ 257328 h 340728"/>
                <a:gd name="connsiteX34" fmla="*/ 518249 w 752442"/>
                <a:gd name="connsiteY34" fmla="*/ 258748 h 340728"/>
                <a:gd name="connsiteX35" fmla="*/ 546643 w 752442"/>
                <a:gd name="connsiteY35" fmla="*/ 270105 h 340728"/>
                <a:gd name="connsiteX36" fmla="*/ 549482 w 752442"/>
                <a:gd name="connsiteY36" fmla="*/ 271525 h 340728"/>
                <a:gd name="connsiteX37" fmla="*/ 577876 w 752442"/>
                <a:gd name="connsiteY37" fmla="*/ 282883 h 340728"/>
                <a:gd name="connsiteX38" fmla="*/ 580716 w 752442"/>
                <a:gd name="connsiteY38" fmla="*/ 284302 h 340728"/>
                <a:gd name="connsiteX39" fmla="*/ 600592 w 752442"/>
                <a:gd name="connsiteY39" fmla="*/ 291401 h 340728"/>
                <a:gd name="connsiteX40" fmla="*/ 603431 w 752442"/>
                <a:gd name="connsiteY40" fmla="*/ 292820 h 340728"/>
                <a:gd name="connsiteX41" fmla="*/ 623307 w 752442"/>
                <a:gd name="connsiteY41" fmla="*/ 301339 h 340728"/>
                <a:gd name="connsiteX42" fmla="*/ 626146 w 752442"/>
                <a:gd name="connsiteY42" fmla="*/ 302758 h 340728"/>
                <a:gd name="connsiteX43" fmla="*/ 646022 w 752442"/>
                <a:gd name="connsiteY43" fmla="*/ 311277 h 340728"/>
                <a:gd name="connsiteX44" fmla="*/ 648861 w 752442"/>
                <a:gd name="connsiteY44" fmla="*/ 312696 h 340728"/>
                <a:gd name="connsiteX45" fmla="*/ 667317 w 752442"/>
                <a:gd name="connsiteY45" fmla="*/ 319795 h 340728"/>
                <a:gd name="connsiteX46" fmla="*/ 670157 w 752442"/>
                <a:gd name="connsiteY46" fmla="*/ 321214 h 340728"/>
                <a:gd name="connsiteX47" fmla="*/ 688613 w 752442"/>
                <a:gd name="connsiteY47" fmla="*/ 328313 h 340728"/>
                <a:gd name="connsiteX48" fmla="*/ 691452 w 752442"/>
                <a:gd name="connsiteY48" fmla="*/ 329733 h 340728"/>
                <a:gd name="connsiteX49" fmla="*/ 709909 w 752442"/>
                <a:gd name="connsiteY49" fmla="*/ 336831 h 340728"/>
                <a:gd name="connsiteX50" fmla="*/ 712748 w 752442"/>
                <a:gd name="connsiteY50" fmla="*/ 338251 h 340728"/>
                <a:gd name="connsiteX51" fmla="*/ 732624 w 752442"/>
                <a:gd name="connsiteY51" fmla="*/ 346769 h 340728"/>
                <a:gd name="connsiteX52" fmla="*/ 732624 w 752442"/>
                <a:gd name="connsiteY52" fmla="*/ 346769 h 340728"/>
                <a:gd name="connsiteX53" fmla="*/ 758178 w 752442"/>
                <a:gd name="connsiteY53" fmla="*/ 284302 h 340728"/>
                <a:gd name="connsiteX54" fmla="*/ 758178 w 752442"/>
                <a:gd name="connsiteY54" fmla="*/ 284302 h 340728"/>
                <a:gd name="connsiteX55" fmla="*/ 738303 w 752442"/>
                <a:gd name="connsiteY55" fmla="*/ 277204 h 340728"/>
                <a:gd name="connsiteX56" fmla="*/ 735463 w 752442"/>
                <a:gd name="connsiteY56" fmla="*/ 275784 h 340728"/>
                <a:gd name="connsiteX57" fmla="*/ 717007 w 752442"/>
                <a:gd name="connsiteY57" fmla="*/ 268686 h 340728"/>
                <a:gd name="connsiteX58" fmla="*/ 714168 w 752442"/>
                <a:gd name="connsiteY58" fmla="*/ 267266 h 340728"/>
                <a:gd name="connsiteX59" fmla="*/ 695712 w 752442"/>
                <a:gd name="connsiteY59" fmla="*/ 260167 h 340728"/>
                <a:gd name="connsiteX60" fmla="*/ 692872 w 752442"/>
                <a:gd name="connsiteY60" fmla="*/ 258748 h 340728"/>
                <a:gd name="connsiteX61" fmla="*/ 674416 w 752442"/>
                <a:gd name="connsiteY61" fmla="*/ 251649 h 340728"/>
                <a:gd name="connsiteX62" fmla="*/ 671577 w 752442"/>
                <a:gd name="connsiteY62" fmla="*/ 250229 h 340728"/>
                <a:gd name="connsiteX63" fmla="*/ 651701 w 752442"/>
                <a:gd name="connsiteY63" fmla="*/ 243131 h 340728"/>
                <a:gd name="connsiteX64" fmla="*/ 648861 w 752442"/>
                <a:gd name="connsiteY64" fmla="*/ 241711 h 340728"/>
                <a:gd name="connsiteX65" fmla="*/ 626146 w 752442"/>
                <a:gd name="connsiteY65" fmla="*/ 234613 h 340728"/>
                <a:gd name="connsiteX66" fmla="*/ 623307 w 752442"/>
                <a:gd name="connsiteY66" fmla="*/ 233193 h 340728"/>
                <a:gd name="connsiteX67" fmla="*/ 602011 w 752442"/>
                <a:gd name="connsiteY67" fmla="*/ 226094 h 340728"/>
                <a:gd name="connsiteX68" fmla="*/ 600592 w 752442"/>
                <a:gd name="connsiteY68" fmla="*/ 224675 h 340728"/>
                <a:gd name="connsiteX69" fmla="*/ 572197 w 752442"/>
                <a:gd name="connsiteY69" fmla="*/ 214737 h 340728"/>
                <a:gd name="connsiteX70" fmla="*/ 569358 w 752442"/>
                <a:gd name="connsiteY70" fmla="*/ 213317 h 340728"/>
                <a:gd name="connsiteX71" fmla="*/ 540964 w 752442"/>
                <a:gd name="connsiteY71" fmla="*/ 203379 h 340728"/>
                <a:gd name="connsiteX72" fmla="*/ 538125 w 752442"/>
                <a:gd name="connsiteY72" fmla="*/ 201959 h 340728"/>
                <a:gd name="connsiteX73" fmla="*/ 498373 w 752442"/>
                <a:gd name="connsiteY73" fmla="*/ 187762 h 340728"/>
                <a:gd name="connsiteX74" fmla="*/ 495534 w 752442"/>
                <a:gd name="connsiteY74" fmla="*/ 186343 h 340728"/>
                <a:gd name="connsiteX75" fmla="*/ 455782 w 752442"/>
                <a:gd name="connsiteY75" fmla="*/ 172146 h 340728"/>
                <a:gd name="connsiteX76" fmla="*/ 452942 w 752442"/>
                <a:gd name="connsiteY76" fmla="*/ 170726 h 340728"/>
                <a:gd name="connsiteX77" fmla="*/ 418870 w 752442"/>
                <a:gd name="connsiteY77" fmla="*/ 157949 h 340728"/>
                <a:gd name="connsiteX78" fmla="*/ 416030 w 752442"/>
                <a:gd name="connsiteY78" fmla="*/ 156529 h 340728"/>
                <a:gd name="connsiteX79" fmla="*/ 381957 w 752442"/>
                <a:gd name="connsiteY79" fmla="*/ 143752 h 340728"/>
                <a:gd name="connsiteX80" fmla="*/ 379118 w 752442"/>
                <a:gd name="connsiteY80" fmla="*/ 142332 h 340728"/>
                <a:gd name="connsiteX81" fmla="*/ 346465 w 752442"/>
                <a:gd name="connsiteY81" fmla="*/ 129555 h 340728"/>
                <a:gd name="connsiteX82" fmla="*/ 343625 w 752442"/>
                <a:gd name="connsiteY82" fmla="*/ 128135 h 340728"/>
                <a:gd name="connsiteX83" fmla="*/ 310972 w 752442"/>
                <a:gd name="connsiteY83" fmla="*/ 115358 h 340728"/>
                <a:gd name="connsiteX84" fmla="*/ 308133 w 752442"/>
                <a:gd name="connsiteY84" fmla="*/ 113938 h 340728"/>
                <a:gd name="connsiteX85" fmla="*/ 274060 w 752442"/>
                <a:gd name="connsiteY85" fmla="*/ 102580 h 340728"/>
                <a:gd name="connsiteX86" fmla="*/ 271221 w 752442"/>
                <a:gd name="connsiteY86" fmla="*/ 101161 h 340728"/>
                <a:gd name="connsiteX87" fmla="*/ 238567 w 752442"/>
                <a:gd name="connsiteY87" fmla="*/ 88383 h 340728"/>
                <a:gd name="connsiteX88" fmla="*/ 235728 w 752442"/>
                <a:gd name="connsiteY88" fmla="*/ 86964 h 340728"/>
                <a:gd name="connsiteX89" fmla="*/ 235728 w 752442"/>
                <a:gd name="connsiteY89" fmla="*/ 86964 h 340728"/>
                <a:gd name="connsiteX90" fmla="*/ 232889 w 752442"/>
                <a:gd name="connsiteY90" fmla="*/ 85544 h 340728"/>
                <a:gd name="connsiteX91" fmla="*/ 203075 w 752442"/>
                <a:gd name="connsiteY91" fmla="*/ 77026 h 340728"/>
                <a:gd name="connsiteX92" fmla="*/ 200236 w 752442"/>
                <a:gd name="connsiteY92" fmla="*/ 75606 h 340728"/>
                <a:gd name="connsiteX93" fmla="*/ 188878 w 752442"/>
                <a:gd name="connsiteY93" fmla="*/ 71347 h 340728"/>
                <a:gd name="connsiteX94" fmla="*/ 186038 w 752442"/>
                <a:gd name="connsiteY94" fmla="*/ 69927 h 340728"/>
                <a:gd name="connsiteX95" fmla="*/ 166163 w 752442"/>
                <a:gd name="connsiteY95" fmla="*/ 62829 h 340728"/>
                <a:gd name="connsiteX96" fmla="*/ 163323 w 752442"/>
                <a:gd name="connsiteY96" fmla="*/ 61409 h 340728"/>
                <a:gd name="connsiteX97" fmla="*/ 136349 w 752442"/>
                <a:gd name="connsiteY97" fmla="*/ 51471 h 340728"/>
                <a:gd name="connsiteX98" fmla="*/ 134929 w 752442"/>
                <a:gd name="connsiteY98" fmla="*/ 51471 h 340728"/>
                <a:gd name="connsiteX99" fmla="*/ 133510 w 752442"/>
                <a:gd name="connsiteY99" fmla="*/ 51471 h 340728"/>
                <a:gd name="connsiteX100" fmla="*/ 132090 w 752442"/>
                <a:gd name="connsiteY100" fmla="*/ 51471 h 340728"/>
                <a:gd name="connsiteX101" fmla="*/ 132090 w 752442"/>
                <a:gd name="connsiteY101" fmla="*/ 48632 h 340728"/>
                <a:gd name="connsiteX102" fmla="*/ 129250 w 752442"/>
                <a:gd name="connsiteY102" fmla="*/ 45792 h 340728"/>
                <a:gd name="connsiteX103" fmla="*/ 126411 w 752442"/>
                <a:gd name="connsiteY103" fmla="*/ 42953 h 340728"/>
                <a:gd name="connsiteX104" fmla="*/ 124991 w 752442"/>
                <a:gd name="connsiteY104" fmla="*/ 41533 h 340728"/>
                <a:gd name="connsiteX105" fmla="*/ 27032 w 752442"/>
                <a:gd name="connsiteY105" fmla="*/ 362 h 340728"/>
                <a:gd name="connsiteX106" fmla="*/ 14255 w 752442"/>
                <a:gd name="connsiteY106" fmla="*/ 7460 h 340728"/>
                <a:gd name="connsiteX107" fmla="*/ 1477 w 752442"/>
                <a:gd name="connsiteY107" fmla="*/ 40113 h 340728"/>
                <a:gd name="connsiteX108" fmla="*/ 4317 w 752442"/>
                <a:gd name="connsiteY108" fmla="*/ 54311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52442" h="340728">
                  <a:moveTo>
                    <a:pt x="4317" y="54311"/>
                  </a:moveTo>
                  <a:lnTo>
                    <a:pt x="103696" y="91223"/>
                  </a:lnTo>
                  <a:cubicBezTo>
                    <a:pt x="105115" y="91223"/>
                    <a:pt x="105115" y="91223"/>
                    <a:pt x="106535" y="91223"/>
                  </a:cubicBezTo>
                  <a:lnTo>
                    <a:pt x="109375" y="91223"/>
                  </a:lnTo>
                  <a:lnTo>
                    <a:pt x="113634" y="91223"/>
                  </a:lnTo>
                  <a:lnTo>
                    <a:pt x="115053" y="91223"/>
                  </a:lnTo>
                  <a:cubicBezTo>
                    <a:pt x="115053" y="91223"/>
                    <a:pt x="115053" y="91223"/>
                    <a:pt x="116473" y="91223"/>
                  </a:cubicBezTo>
                  <a:cubicBezTo>
                    <a:pt x="116473" y="91223"/>
                    <a:pt x="116473" y="91223"/>
                    <a:pt x="117893" y="91223"/>
                  </a:cubicBezTo>
                  <a:cubicBezTo>
                    <a:pt x="117893" y="91223"/>
                    <a:pt x="117893" y="91223"/>
                    <a:pt x="119312" y="91223"/>
                  </a:cubicBezTo>
                  <a:lnTo>
                    <a:pt x="146287" y="102580"/>
                  </a:lnTo>
                  <a:lnTo>
                    <a:pt x="149126" y="104000"/>
                  </a:lnTo>
                  <a:lnTo>
                    <a:pt x="169002" y="112518"/>
                  </a:lnTo>
                  <a:lnTo>
                    <a:pt x="171841" y="113938"/>
                  </a:lnTo>
                  <a:lnTo>
                    <a:pt x="183199" y="118197"/>
                  </a:lnTo>
                  <a:lnTo>
                    <a:pt x="186038" y="119617"/>
                  </a:lnTo>
                  <a:lnTo>
                    <a:pt x="215852" y="132394"/>
                  </a:lnTo>
                  <a:lnTo>
                    <a:pt x="218692" y="133814"/>
                  </a:lnTo>
                  <a:lnTo>
                    <a:pt x="218692" y="133814"/>
                  </a:lnTo>
                  <a:lnTo>
                    <a:pt x="221531" y="135233"/>
                  </a:lnTo>
                  <a:lnTo>
                    <a:pt x="254184" y="148011"/>
                  </a:lnTo>
                  <a:lnTo>
                    <a:pt x="257024" y="149431"/>
                  </a:lnTo>
                  <a:lnTo>
                    <a:pt x="289677" y="163628"/>
                  </a:lnTo>
                  <a:lnTo>
                    <a:pt x="292516" y="165047"/>
                  </a:lnTo>
                  <a:lnTo>
                    <a:pt x="325169" y="179244"/>
                  </a:lnTo>
                  <a:lnTo>
                    <a:pt x="328009" y="180664"/>
                  </a:lnTo>
                  <a:lnTo>
                    <a:pt x="359242" y="192022"/>
                  </a:lnTo>
                  <a:lnTo>
                    <a:pt x="362082" y="193441"/>
                  </a:lnTo>
                  <a:lnTo>
                    <a:pt x="396154" y="207638"/>
                  </a:lnTo>
                  <a:lnTo>
                    <a:pt x="398994" y="209058"/>
                  </a:lnTo>
                  <a:lnTo>
                    <a:pt x="433067" y="223255"/>
                  </a:lnTo>
                  <a:lnTo>
                    <a:pt x="435906" y="224675"/>
                  </a:lnTo>
                  <a:lnTo>
                    <a:pt x="474238" y="240291"/>
                  </a:lnTo>
                  <a:lnTo>
                    <a:pt x="477077" y="241711"/>
                  </a:lnTo>
                  <a:lnTo>
                    <a:pt x="515409" y="257328"/>
                  </a:lnTo>
                  <a:lnTo>
                    <a:pt x="518249" y="258748"/>
                  </a:lnTo>
                  <a:lnTo>
                    <a:pt x="546643" y="270105"/>
                  </a:lnTo>
                  <a:lnTo>
                    <a:pt x="549482" y="271525"/>
                  </a:lnTo>
                  <a:lnTo>
                    <a:pt x="577876" y="282883"/>
                  </a:lnTo>
                  <a:lnTo>
                    <a:pt x="580716" y="284302"/>
                  </a:lnTo>
                  <a:lnTo>
                    <a:pt x="600592" y="291401"/>
                  </a:lnTo>
                  <a:lnTo>
                    <a:pt x="603431" y="292820"/>
                  </a:lnTo>
                  <a:lnTo>
                    <a:pt x="623307" y="301339"/>
                  </a:lnTo>
                  <a:lnTo>
                    <a:pt x="626146" y="302758"/>
                  </a:lnTo>
                  <a:lnTo>
                    <a:pt x="646022" y="311277"/>
                  </a:lnTo>
                  <a:lnTo>
                    <a:pt x="648861" y="312696"/>
                  </a:lnTo>
                  <a:lnTo>
                    <a:pt x="667317" y="319795"/>
                  </a:lnTo>
                  <a:lnTo>
                    <a:pt x="670157" y="321214"/>
                  </a:lnTo>
                  <a:lnTo>
                    <a:pt x="688613" y="328313"/>
                  </a:lnTo>
                  <a:lnTo>
                    <a:pt x="691452" y="329733"/>
                  </a:lnTo>
                  <a:lnTo>
                    <a:pt x="709909" y="336831"/>
                  </a:lnTo>
                  <a:lnTo>
                    <a:pt x="712748" y="338251"/>
                  </a:lnTo>
                  <a:lnTo>
                    <a:pt x="732624" y="346769"/>
                  </a:lnTo>
                  <a:lnTo>
                    <a:pt x="732624" y="346769"/>
                  </a:lnTo>
                  <a:lnTo>
                    <a:pt x="758178" y="284302"/>
                  </a:lnTo>
                  <a:lnTo>
                    <a:pt x="758178" y="284302"/>
                  </a:lnTo>
                  <a:lnTo>
                    <a:pt x="738303" y="277204"/>
                  </a:lnTo>
                  <a:lnTo>
                    <a:pt x="735463" y="275784"/>
                  </a:lnTo>
                  <a:lnTo>
                    <a:pt x="717007" y="268686"/>
                  </a:lnTo>
                  <a:lnTo>
                    <a:pt x="714168" y="267266"/>
                  </a:lnTo>
                  <a:lnTo>
                    <a:pt x="695712" y="260167"/>
                  </a:lnTo>
                  <a:lnTo>
                    <a:pt x="692872" y="258748"/>
                  </a:lnTo>
                  <a:lnTo>
                    <a:pt x="674416" y="251649"/>
                  </a:lnTo>
                  <a:lnTo>
                    <a:pt x="671577" y="250229"/>
                  </a:lnTo>
                  <a:lnTo>
                    <a:pt x="651701" y="243131"/>
                  </a:lnTo>
                  <a:lnTo>
                    <a:pt x="648861" y="241711"/>
                  </a:lnTo>
                  <a:lnTo>
                    <a:pt x="626146" y="234613"/>
                  </a:lnTo>
                  <a:lnTo>
                    <a:pt x="623307" y="233193"/>
                  </a:lnTo>
                  <a:lnTo>
                    <a:pt x="602011" y="226094"/>
                  </a:lnTo>
                  <a:lnTo>
                    <a:pt x="600592" y="224675"/>
                  </a:lnTo>
                  <a:lnTo>
                    <a:pt x="572197" y="214737"/>
                  </a:lnTo>
                  <a:lnTo>
                    <a:pt x="569358" y="213317"/>
                  </a:lnTo>
                  <a:lnTo>
                    <a:pt x="540964" y="203379"/>
                  </a:lnTo>
                  <a:lnTo>
                    <a:pt x="538125" y="201959"/>
                  </a:lnTo>
                  <a:lnTo>
                    <a:pt x="498373" y="187762"/>
                  </a:lnTo>
                  <a:lnTo>
                    <a:pt x="495534" y="186343"/>
                  </a:lnTo>
                  <a:lnTo>
                    <a:pt x="455782" y="172146"/>
                  </a:lnTo>
                  <a:lnTo>
                    <a:pt x="452942" y="170726"/>
                  </a:lnTo>
                  <a:lnTo>
                    <a:pt x="418870" y="157949"/>
                  </a:lnTo>
                  <a:lnTo>
                    <a:pt x="416030" y="156529"/>
                  </a:lnTo>
                  <a:lnTo>
                    <a:pt x="381957" y="143752"/>
                  </a:lnTo>
                  <a:lnTo>
                    <a:pt x="379118" y="142332"/>
                  </a:lnTo>
                  <a:lnTo>
                    <a:pt x="346465" y="129555"/>
                  </a:lnTo>
                  <a:lnTo>
                    <a:pt x="343625" y="128135"/>
                  </a:lnTo>
                  <a:lnTo>
                    <a:pt x="310972" y="115358"/>
                  </a:lnTo>
                  <a:lnTo>
                    <a:pt x="308133" y="113938"/>
                  </a:lnTo>
                  <a:lnTo>
                    <a:pt x="274060" y="102580"/>
                  </a:lnTo>
                  <a:lnTo>
                    <a:pt x="271221" y="101161"/>
                  </a:lnTo>
                  <a:lnTo>
                    <a:pt x="238567" y="88383"/>
                  </a:lnTo>
                  <a:lnTo>
                    <a:pt x="235728" y="86964"/>
                  </a:lnTo>
                  <a:lnTo>
                    <a:pt x="235728" y="86964"/>
                  </a:lnTo>
                  <a:lnTo>
                    <a:pt x="232889" y="85544"/>
                  </a:lnTo>
                  <a:lnTo>
                    <a:pt x="203075" y="77026"/>
                  </a:lnTo>
                  <a:lnTo>
                    <a:pt x="200236" y="75606"/>
                  </a:lnTo>
                  <a:lnTo>
                    <a:pt x="188878" y="71347"/>
                  </a:lnTo>
                  <a:lnTo>
                    <a:pt x="186038" y="69927"/>
                  </a:lnTo>
                  <a:lnTo>
                    <a:pt x="166163" y="62829"/>
                  </a:lnTo>
                  <a:lnTo>
                    <a:pt x="163323" y="61409"/>
                  </a:lnTo>
                  <a:lnTo>
                    <a:pt x="136349" y="51471"/>
                  </a:lnTo>
                  <a:cubicBezTo>
                    <a:pt x="136349" y="51471"/>
                    <a:pt x="136349" y="51471"/>
                    <a:pt x="134929" y="51471"/>
                  </a:cubicBezTo>
                  <a:cubicBezTo>
                    <a:pt x="134929" y="51471"/>
                    <a:pt x="134929" y="51471"/>
                    <a:pt x="133510" y="51471"/>
                  </a:cubicBezTo>
                  <a:cubicBezTo>
                    <a:pt x="133510" y="51471"/>
                    <a:pt x="133510" y="51471"/>
                    <a:pt x="132090" y="51471"/>
                  </a:cubicBezTo>
                  <a:lnTo>
                    <a:pt x="132090" y="48632"/>
                  </a:lnTo>
                  <a:lnTo>
                    <a:pt x="129250" y="45792"/>
                  </a:lnTo>
                  <a:lnTo>
                    <a:pt x="126411" y="42953"/>
                  </a:lnTo>
                  <a:cubicBezTo>
                    <a:pt x="126411" y="42953"/>
                    <a:pt x="124991" y="41533"/>
                    <a:pt x="124991" y="41533"/>
                  </a:cubicBezTo>
                  <a:lnTo>
                    <a:pt x="27032" y="362"/>
                  </a:lnTo>
                  <a:cubicBezTo>
                    <a:pt x="22773" y="-1058"/>
                    <a:pt x="17094" y="1781"/>
                    <a:pt x="14255" y="7460"/>
                  </a:cubicBezTo>
                  <a:lnTo>
                    <a:pt x="1477" y="40113"/>
                  </a:lnTo>
                  <a:cubicBezTo>
                    <a:pt x="-1362" y="45792"/>
                    <a:pt x="58" y="52891"/>
                    <a:pt x="4317" y="54311"/>
                  </a:cubicBezTo>
                  <a:close/>
                </a:path>
              </a:pathLst>
            </a:custGeom>
            <a:solidFill>
              <a:srgbClr val="63402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298DD9DF-7364-4A24-B5A0-CD75B33C304A}"/>
                </a:ext>
              </a:extLst>
            </p:cNvPr>
            <p:cNvSpPr/>
            <p:nvPr userDrawn="1"/>
          </p:nvSpPr>
          <p:spPr>
            <a:xfrm>
              <a:off x="7127200" y="3699083"/>
              <a:ext cx="10266" cy="30798"/>
            </a:xfrm>
            <a:custGeom>
              <a:avLst/>
              <a:gdLst>
                <a:gd name="connsiteX0" fmla="*/ 21296 w 14197"/>
                <a:gd name="connsiteY0" fmla="*/ 0 h 42591"/>
                <a:gd name="connsiteX1" fmla="*/ 2839 w 14197"/>
                <a:gd name="connsiteY1" fmla="*/ 46850 h 42591"/>
                <a:gd name="connsiteX2" fmla="*/ 0 w 14197"/>
                <a:gd name="connsiteY2" fmla="*/ 45431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1296" y="0"/>
                  </a:moveTo>
                  <a:lnTo>
                    <a:pt x="2839" y="46850"/>
                  </a:lnTo>
                  <a:lnTo>
                    <a:pt x="0" y="45431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CF675AAD-8211-4B29-A620-E39005D58F1A}"/>
                </a:ext>
              </a:extLst>
            </p:cNvPr>
            <p:cNvSpPr/>
            <p:nvPr userDrawn="1"/>
          </p:nvSpPr>
          <p:spPr>
            <a:xfrm>
              <a:off x="7099482" y="3687790"/>
              <a:ext cx="10266" cy="30798"/>
            </a:xfrm>
            <a:custGeom>
              <a:avLst/>
              <a:gdLst>
                <a:gd name="connsiteX0" fmla="*/ 0 w 14197"/>
                <a:gd name="connsiteY0" fmla="*/ 45431 h 42591"/>
                <a:gd name="connsiteX1" fmla="*/ 2839 w 14197"/>
                <a:gd name="connsiteY1" fmla="*/ 45431 h 42591"/>
                <a:gd name="connsiteX2" fmla="*/ 21296 w 14197"/>
                <a:gd name="connsiteY2" fmla="*/ 142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5431"/>
                  </a:moveTo>
                  <a:lnTo>
                    <a:pt x="2839" y="45431"/>
                  </a:lnTo>
                  <a:lnTo>
                    <a:pt x="21296" y="142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28A66D56-484D-4262-8BD4-67423DD716E2}"/>
                </a:ext>
              </a:extLst>
            </p:cNvPr>
            <p:cNvSpPr/>
            <p:nvPr userDrawn="1"/>
          </p:nvSpPr>
          <p:spPr>
            <a:xfrm>
              <a:off x="7066630" y="3675472"/>
              <a:ext cx="10266" cy="30798"/>
            </a:xfrm>
            <a:custGeom>
              <a:avLst/>
              <a:gdLst>
                <a:gd name="connsiteX0" fmla="*/ 0 w 14197"/>
                <a:gd name="connsiteY0" fmla="*/ 42591 h 42591"/>
                <a:gd name="connsiteX1" fmla="*/ 2839 w 14197"/>
                <a:gd name="connsiteY1" fmla="*/ 44011 h 42591"/>
                <a:gd name="connsiteX2" fmla="*/ 19876 w 14197"/>
                <a:gd name="connsiteY2" fmla="*/ 1420 h 42591"/>
                <a:gd name="connsiteX3" fmla="*/ 1703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2839" y="44011"/>
                  </a:lnTo>
                  <a:lnTo>
                    <a:pt x="19876" y="1420"/>
                  </a:lnTo>
                  <a:lnTo>
                    <a:pt x="1703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A425B245-E0B2-43BA-ADAB-3B18ACAC93EA}"/>
                </a:ext>
              </a:extLst>
            </p:cNvPr>
            <p:cNvSpPr/>
            <p:nvPr userDrawn="1"/>
          </p:nvSpPr>
          <p:spPr>
            <a:xfrm>
              <a:off x="7027620" y="3660072"/>
              <a:ext cx="10266" cy="30798"/>
            </a:xfrm>
            <a:custGeom>
              <a:avLst/>
              <a:gdLst>
                <a:gd name="connsiteX0" fmla="*/ 0 w 14197"/>
                <a:gd name="connsiteY0" fmla="*/ 42591 h 42591"/>
                <a:gd name="connsiteX1" fmla="*/ 1420 w 14197"/>
                <a:gd name="connsiteY1" fmla="*/ 42591 h 42591"/>
                <a:gd name="connsiteX2" fmla="*/ 2839 w 14197"/>
                <a:gd name="connsiteY2" fmla="*/ 42591 h 42591"/>
                <a:gd name="connsiteX3" fmla="*/ 4259 w 14197"/>
                <a:gd name="connsiteY3" fmla="*/ 42591 h 42591"/>
                <a:gd name="connsiteX4" fmla="*/ 21296 w 14197"/>
                <a:gd name="connsiteY4" fmla="*/ 1420 h 42591"/>
                <a:gd name="connsiteX5" fmla="*/ 19876 w 14197"/>
                <a:gd name="connsiteY5" fmla="*/ 1420 h 42591"/>
                <a:gd name="connsiteX6" fmla="*/ 18456 w 14197"/>
                <a:gd name="connsiteY6" fmla="*/ 1420 h 42591"/>
                <a:gd name="connsiteX7" fmla="*/ 17036 w 14197"/>
                <a:gd name="connsiteY7" fmla="*/ 0 h 42591"/>
                <a:gd name="connsiteX8" fmla="*/ 0 w 14197"/>
                <a:gd name="connsiteY8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1420" y="42591"/>
                  </a:lnTo>
                  <a:cubicBezTo>
                    <a:pt x="1420" y="42591"/>
                    <a:pt x="1420" y="42591"/>
                    <a:pt x="2839" y="42591"/>
                  </a:cubicBezTo>
                  <a:cubicBezTo>
                    <a:pt x="2839" y="42591"/>
                    <a:pt x="2839" y="42591"/>
                    <a:pt x="4259" y="42591"/>
                  </a:cubicBezTo>
                  <a:lnTo>
                    <a:pt x="21296" y="1420"/>
                  </a:lnTo>
                  <a:cubicBezTo>
                    <a:pt x="21296" y="1420"/>
                    <a:pt x="21296" y="1420"/>
                    <a:pt x="19876" y="1420"/>
                  </a:cubicBezTo>
                  <a:cubicBezTo>
                    <a:pt x="19876" y="1420"/>
                    <a:pt x="19876" y="1420"/>
                    <a:pt x="18456" y="1420"/>
                  </a:cubicBezTo>
                  <a:lnTo>
                    <a:pt x="17036" y="0"/>
                  </a:lnTo>
                  <a:lnTo>
                    <a:pt x="0" y="42591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BC6D5F3B-B6A6-4CC4-AAA7-6515E24C20B4}"/>
                </a:ext>
              </a:extLst>
            </p:cNvPr>
            <p:cNvSpPr/>
            <p:nvPr userDrawn="1"/>
          </p:nvSpPr>
          <p:spPr>
            <a:xfrm>
              <a:off x="7152864" y="3708322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8270 h 42591"/>
                <a:gd name="connsiteX2" fmla="*/ 0 w 14197"/>
                <a:gd name="connsiteY2" fmla="*/ 4685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8270"/>
                  </a:lnTo>
                  <a:lnTo>
                    <a:pt x="0" y="4685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F4BF2EE8-703F-4075-A4A2-CC49B9E567A0}"/>
                </a:ext>
              </a:extLst>
            </p:cNvPr>
            <p:cNvSpPr/>
            <p:nvPr userDrawn="1"/>
          </p:nvSpPr>
          <p:spPr>
            <a:xfrm>
              <a:off x="7178529" y="3717561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9690 h 42591"/>
                <a:gd name="connsiteX2" fmla="*/ 0 w 14197"/>
                <a:gd name="connsiteY2" fmla="*/ 4827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9690"/>
                  </a:lnTo>
                  <a:lnTo>
                    <a:pt x="0" y="4827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B5A1FDA6-50C6-47D4-8FDE-E74A3F691261}"/>
                </a:ext>
              </a:extLst>
            </p:cNvPr>
            <p:cNvSpPr/>
            <p:nvPr userDrawn="1"/>
          </p:nvSpPr>
          <p:spPr>
            <a:xfrm>
              <a:off x="7204194" y="3727827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4CBD3A44-69B8-4F51-990F-33975B953DF4}"/>
                </a:ext>
              </a:extLst>
            </p:cNvPr>
            <p:cNvSpPr/>
            <p:nvPr userDrawn="1"/>
          </p:nvSpPr>
          <p:spPr>
            <a:xfrm>
              <a:off x="7230886" y="3738093"/>
              <a:ext cx="10266" cy="30798"/>
            </a:xfrm>
            <a:custGeom>
              <a:avLst/>
              <a:gdLst>
                <a:gd name="connsiteX0" fmla="*/ 22715 w 14197"/>
                <a:gd name="connsiteY0" fmla="*/ 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D55FB064-028B-482C-A686-0FA993B3E97C}"/>
                </a:ext>
              </a:extLst>
            </p:cNvPr>
            <p:cNvSpPr/>
            <p:nvPr userDrawn="1"/>
          </p:nvSpPr>
          <p:spPr>
            <a:xfrm>
              <a:off x="7257577" y="3747333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2455D774-A2AC-46E5-A831-5F089C5C6F8E}"/>
                </a:ext>
              </a:extLst>
            </p:cNvPr>
            <p:cNvSpPr/>
            <p:nvPr userDrawn="1"/>
          </p:nvSpPr>
          <p:spPr>
            <a:xfrm>
              <a:off x="7287348" y="3759652"/>
              <a:ext cx="10266" cy="30798"/>
            </a:xfrm>
            <a:custGeom>
              <a:avLst/>
              <a:gdLst>
                <a:gd name="connsiteX0" fmla="*/ 24135 w 14197"/>
                <a:gd name="connsiteY0" fmla="*/ 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2129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4135" y="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2129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867B8A04-E079-422E-AE6A-1ABDC6F567A2}"/>
                </a:ext>
              </a:extLst>
            </p:cNvPr>
            <p:cNvSpPr/>
            <p:nvPr userDrawn="1"/>
          </p:nvSpPr>
          <p:spPr>
            <a:xfrm>
              <a:off x="7317120" y="3770945"/>
              <a:ext cx="10266" cy="30798"/>
            </a:xfrm>
            <a:custGeom>
              <a:avLst/>
              <a:gdLst>
                <a:gd name="connsiteX0" fmla="*/ 25555 w 14197"/>
                <a:gd name="connsiteY0" fmla="*/ 0 h 42591"/>
                <a:gd name="connsiteX1" fmla="*/ 2839 w 14197"/>
                <a:gd name="connsiteY1" fmla="*/ 55368 h 42591"/>
                <a:gd name="connsiteX2" fmla="*/ 0 w 14197"/>
                <a:gd name="connsiteY2" fmla="*/ 55368 h 42591"/>
                <a:gd name="connsiteX3" fmla="*/ 22715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5555" y="0"/>
                  </a:moveTo>
                  <a:lnTo>
                    <a:pt x="2839" y="5536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41F483DA-E6E3-42D6-B680-38F3D6D1E77F}"/>
                </a:ext>
              </a:extLst>
            </p:cNvPr>
            <p:cNvSpPr/>
            <p:nvPr userDrawn="1"/>
          </p:nvSpPr>
          <p:spPr>
            <a:xfrm>
              <a:off x="7339704" y="3779157"/>
              <a:ext cx="10266" cy="41064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6788 h 56788"/>
                <a:gd name="connsiteX2" fmla="*/ 0 w 14197"/>
                <a:gd name="connsiteY2" fmla="*/ 5536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678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AF1A2C65-8AFC-4027-801C-0189BC49A4C8}"/>
                </a:ext>
              </a:extLst>
            </p:cNvPr>
            <p:cNvSpPr/>
            <p:nvPr userDrawn="1"/>
          </p:nvSpPr>
          <p:spPr>
            <a:xfrm>
              <a:off x="7362290" y="3787370"/>
              <a:ext cx="10266" cy="41064"/>
            </a:xfrm>
            <a:custGeom>
              <a:avLst/>
              <a:gdLst>
                <a:gd name="connsiteX0" fmla="*/ 22715 w 14197"/>
                <a:gd name="connsiteY0" fmla="*/ 0 h 56788"/>
                <a:gd name="connsiteX1" fmla="*/ 25555 w 14197"/>
                <a:gd name="connsiteY1" fmla="*/ 1420 h 56788"/>
                <a:gd name="connsiteX2" fmla="*/ 2839 w 14197"/>
                <a:gd name="connsiteY2" fmla="*/ 58208 h 56788"/>
                <a:gd name="connsiteX3" fmla="*/ 0 w 14197"/>
                <a:gd name="connsiteY3" fmla="*/ 5678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2715" y="0"/>
                  </a:moveTo>
                  <a:lnTo>
                    <a:pt x="25555" y="1420"/>
                  </a:lnTo>
                  <a:lnTo>
                    <a:pt x="2839" y="58208"/>
                  </a:lnTo>
                  <a:lnTo>
                    <a:pt x="0" y="56788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B3D6F2B8-590B-44C7-8667-553FC25768D0}"/>
                </a:ext>
              </a:extLst>
            </p:cNvPr>
            <p:cNvSpPr/>
            <p:nvPr userDrawn="1"/>
          </p:nvSpPr>
          <p:spPr>
            <a:xfrm>
              <a:off x="7378715" y="3793529"/>
              <a:ext cx="10266" cy="41064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9627 h 56788"/>
                <a:gd name="connsiteX2" fmla="*/ 0 w 14197"/>
                <a:gd name="connsiteY2" fmla="*/ 5820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9627"/>
                  </a:lnTo>
                  <a:lnTo>
                    <a:pt x="0" y="5820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467D7AA6-BEA7-47F8-B3A9-F33A5BAD7299}"/>
                </a:ext>
              </a:extLst>
            </p:cNvPr>
            <p:cNvSpPr/>
            <p:nvPr userDrawn="1"/>
          </p:nvSpPr>
          <p:spPr>
            <a:xfrm>
              <a:off x="7394114" y="3799689"/>
              <a:ext cx="10266" cy="41064"/>
            </a:xfrm>
            <a:custGeom>
              <a:avLst/>
              <a:gdLst>
                <a:gd name="connsiteX0" fmla="*/ 26974 w 14197"/>
                <a:gd name="connsiteY0" fmla="*/ 1420 h 56788"/>
                <a:gd name="connsiteX1" fmla="*/ 2839 w 14197"/>
                <a:gd name="connsiteY1" fmla="*/ 61047 h 56788"/>
                <a:gd name="connsiteX2" fmla="*/ 0 w 14197"/>
                <a:gd name="connsiteY2" fmla="*/ 59627 h 56788"/>
                <a:gd name="connsiteX3" fmla="*/ 2413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6974" y="1420"/>
                  </a:moveTo>
                  <a:lnTo>
                    <a:pt x="2839" y="61047"/>
                  </a:lnTo>
                  <a:lnTo>
                    <a:pt x="0" y="59627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2CB2C04E-3FE5-44D9-9E8D-499D09C7604F}"/>
                </a:ext>
              </a:extLst>
            </p:cNvPr>
            <p:cNvSpPr/>
            <p:nvPr userDrawn="1"/>
          </p:nvSpPr>
          <p:spPr>
            <a:xfrm>
              <a:off x="7410540" y="3805849"/>
              <a:ext cx="20532" cy="41064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1047 h 56788"/>
                <a:gd name="connsiteX2" fmla="*/ 0 w 28394"/>
                <a:gd name="connsiteY2" fmla="*/ 59628 h 56788"/>
                <a:gd name="connsiteX3" fmla="*/ 2413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1047"/>
                  </a:lnTo>
                  <a:lnTo>
                    <a:pt x="0" y="59628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33207A1C-DB54-4C01-9051-98007015E777}"/>
                </a:ext>
              </a:extLst>
            </p:cNvPr>
            <p:cNvSpPr/>
            <p:nvPr userDrawn="1"/>
          </p:nvSpPr>
          <p:spPr>
            <a:xfrm>
              <a:off x="7426794" y="3811989"/>
              <a:ext cx="10266" cy="41064"/>
            </a:xfrm>
            <a:custGeom>
              <a:avLst/>
              <a:gdLst>
                <a:gd name="connsiteX0" fmla="*/ 0 w 14197"/>
                <a:gd name="connsiteY0" fmla="*/ 60552 h 56788"/>
                <a:gd name="connsiteX1" fmla="*/ 24464 w 14197"/>
                <a:gd name="connsiteY1" fmla="*/ 0 h 56788"/>
                <a:gd name="connsiteX2" fmla="*/ 27096 w 14197"/>
                <a:gd name="connsiteY2" fmla="*/ 1064 h 56788"/>
                <a:gd name="connsiteX3" fmla="*/ 2633 w 14197"/>
                <a:gd name="connsiteY3" fmla="*/ 61616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0" y="60552"/>
                  </a:moveTo>
                  <a:lnTo>
                    <a:pt x="24464" y="0"/>
                  </a:lnTo>
                  <a:lnTo>
                    <a:pt x="27096" y="1064"/>
                  </a:lnTo>
                  <a:lnTo>
                    <a:pt x="2633" y="61616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E323791F-E47B-4147-94A1-69BD98F75948}"/>
                </a:ext>
              </a:extLst>
            </p:cNvPr>
            <p:cNvSpPr/>
            <p:nvPr userDrawn="1"/>
          </p:nvSpPr>
          <p:spPr>
            <a:xfrm>
              <a:off x="7441337" y="3818168"/>
              <a:ext cx="20532" cy="41064"/>
            </a:xfrm>
            <a:custGeom>
              <a:avLst/>
              <a:gdLst>
                <a:gd name="connsiteX0" fmla="*/ 25555 w 28394"/>
                <a:gd name="connsiteY0" fmla="*/ 0 h 56788"/>
                <a:gd name="connsiteX1" fmla="*/ 28394 w 28394"/>
                <a:gd name="connsiteY1" fmla="*/ 0 h 56788"/>
                <a:gd name="connsiteX2" fmla="*/ 2839 w 28394"/>
                <a:gd name="connsiteY2" fmla="*/ 62467 h 56788"/>
                <a:gd name="connsiteX3" fmla="*/ 0 w 28394"/>
                <a:gd name="connsiteY3" fmla="*/ 61047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5555" y="0"/>
                  </a:moveTo>
                  <a:lnTo>
                    <a:pt x="28394" y="0"/>
                  </a:lnTo>
                  <a:lnTo>
                    <a:pt x="2839" y="62467"/>
                  </a:lnTo>
                  <a:lnTo>
                    <a:pt x="0" y="61047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EB90517A-A3FF-4CD2-858D-4FEF1D58B918}"/>
                </a:ext>
              </a:extLst>
            </p:cNvPr>
            <p:cNvSpPr/>
            <p:nvPr userDrawn="1"/>
          </p:nvSpPr>
          <p:spPr>
            <a:xfrm>
              <a:off x="7456736" y="3823301"/>
              <a:ext cx="20532" cy="41064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3887 h 56788"/>
                <a:gd name="connsiteX2" fmla="*/ 0 w 28394"/>
                <a:gd name="connsiteY2" fmla="*/ 62467 h 56788"/>
                <a:gd name="connsiteX3" fmla="*/ 2555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13FE9E53-6F6A-4809-845C-3AFBB038E1B8}"/>
                </a:ext>
              </a:extLst>
            </p:cNvPr>
            <p:cNvSpPr/>
            <p:nvPr userDrawn="1"/>
          </p:nvSpPr>
          <p:spPr>
            <a:xfrm>
              <a:off x="7473161" y="3829460"/>
              <a:ext cx="10266" cy="41064"/>
            </a:xfrm>
            <a:custGeom>
              <a:avLst/>
              <a:gdLst>
                <a:gd name="connsiteX0" fmla="*/ 25555 w 14197"/>
                <a:gd name="connsiteY0" fmla="*/ 0 h 56788"/>
                <a:gd name="connsiteX1" fmla="*/ 0 w 14197"/>
                <a:gd name="connsiteY1" fmla="*/ 63887 h 56788"/>
                <a:gd name="connsiteX2" fmla="*/ 0 w 14197"/>
                <a:gd name="connsiteY2" fmla="*/ 62467 h 56788"/>
                <a:gd name="connsiteX3" fmla="*/ 2555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0"/>
                  </a:moveTo>
                  <a:lnTo>
                    <a:pt x="0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CA566C09-0CE4-48E6-9951-02BC112799DA}"/>
                </a:ext>
              </a:extLst>
            </p:cNvPr>
            <p:cNvSpPr/>
            <p:nvPr userDrawn="1"/>
          </p:nvSpPr>
          <p:spPr>
            <a:xfrm>
              <a:off x="6972184" y="3641593"/>
              <a:ext cx="698083" cy="256649"/>
            </a:xfrm>
            <a:custGeom>
              <a:avLst/>
              <a:gdLst>
                <a:gd name="connsiteX0" fmla="*/ 56788 w 965397"/>
                <a:gd name="connsiteY0" fmla="*/ 28394 h 354925"/>
                <a:gd name="connsiteX1" fmla="*/ 0 w 965397"/>
                <a:gd name="connsiteY1" fmla="*/ 2839 h 354925"/>
                <a:gd name="connsiteX2" fmla="*/ 1420 w 965397"/>
                <a:gd name="connsiteY2" fmla="*/ 0 h 354925"/>
                <a:gd name="connsiteX3" fmla="*/ 56788 w 965397"/>
                <a:gd name="connsiteY3" fmla="*/ 25555 h 354925"/>
                <a:gd name="connsiteX4" fmla="*/ 93700 w 965397"/>
                <a:gd name="connsiteY4" fmla="*/ 29814 h 354925"/>
                <a:gd name="connsiteX5" fmla="*/ 965397 w 965397"/>
                <a:gd name="connsiteY5" fmla="*/ 363444 h 354925"/>
                <a:gd name="connsiteX6" fmla="*/ 963978 w 965397"/>
                <a:gd name="connsiteY6" fmla="*/ 366283 h 354925"/>
                <a:gd name="connsiteX7" fmla="*/ 93700 w 965397"/>
                <a:gd name="connsiteY7" fmla="*/ 31234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5397" h="354925">
                  <a:moveTo>
                    <a:pt x="56788" y="28394"/>
                  </a:moveTo>
                  <a:lnTo>
                    <a:pt x="0" y="2839"/>
                  </a:lnTo>
                  <a:lnTo>
                    <a:pt x="1420" y="0"/>
                  </a:lnTo>
                  <a:lnTo>
                    <a:pt x="56788" y="25555"/>
                  </a:lnTo>
                  <a:lnTo>
                    <a:pt x="93700" y="29814"/>
                  </a:lnTo>
                  <a:lnTo>
                    <a:pt x="965397" y="363444"/>
                  </a:lnTo>
                  <a:lnTo>
                    <a:pt x="963978" y="366283"/>
                  </a:lnTo>
                  <a:lnTo>
                    <a:pt x="93700" y="3123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D1EA5632-3FBA-475C-B9A4-52E8E5E1466E}"/>
                </a:ext>
              </a:extLst>
            </p:cNvPr>
            <p:cNvSpPr/>
            <p:nvPr userDrawn="1"/>
          </p:nvSpPr>
          <p:spPr>
            <a:xfrm>
              <a:off x="7013248" y="3660072"/>
              <a:ext cx="646754" cy="246382"/>
            </a:xfrm>
            <a:custGeom>
              <a:avLst/>
              <a:gdLst>
                <a:gd name="connsiteX0" fmla="*/ 0 w 894412"/>
                <a:gd name="connsiteY0" fmla="*/ 2839 h 340728"/>
                <a:gd name="connsiteX1" fmla="*/ 1420 w 894412"/>
                <a:gd name="connsiteY1" fmla="*/ 0 h 340728"/>
                <a:gd name="connsiteX2" fmla="*/ 34073 w 894412"/>
                <a:gd name="connsiteY2" fmla="*/ 12777 h 340728"/>
                <a:gd name="connsiteX3" fmla="*/ 902930 w 894412"/>
                <a:gd name="connsiteY3" fmla="*/ 350666 h 340728"/>
                <a:gd name="connsiteX4" fmla="*/ 902930 w 894412"/>
                <a:gd name="connsiteY4" fmla="*/ 353506 h 340728"/>
                <a:gd name="connsiteX5" fmla="*/ 32653 w 894412"/>
                <a:gd name="connsiteY5" fmla="*/ 15617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4412" h="340728">
                  <a:moveTo>
                    <a:pt x="0" y="2839"/>
                  </a:moveTo>
                  <a:lnTo>
                    <a:pt x="1420" y="0"/>
                  </a:lnTo>
                  <a:lnTo>
                    <a:pt x="34073" y="12777"/>
                  </a:lnTo>
                  <a:lnTo>
                    <a:pt x="902930" y="350666"/>
                  </a:lnTo>
                  <a:lnTo>
                    <a:pt x="902930" y="353506"/>
                  </a:lnTo>
                  <a:lnTo>
                    <a:pt x="32653" y="15617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28F90DE0-37F7-497A-BBDF-02219FBB6A62}"/>
                </a:ext>
              </a:extLst>
            </p:cNvPr>
            <p:cNvSpPr/>
            <p:nvPr userDrawn="1"/>
          </p:nvSpPr>
          <p:spPr>
            <a:xfrm>
              <a:off x="6972184" y="3641593"/>
              <a:ext cx="687817" cy="277181"/>
            </a:xfrm>
            <a:custGeom>
              <a:avLst/>
              <a:gdLst>
                <a:gd name="connsiteX0" fmla="*/ 0 w 951200"/>
                <a:gd name="connsiteY0" fmla="*/ 2839 h 383319"/>
                <a:gd name="connsiteX1" fmla="*/ 1420 w 951200"/>
                <a:gd name="connsiteY1" fmla="*/ 0 h 383319"/>
                <a:gd name="connsiteX2" fmla="*/ 88021 w 951200"/>
                <a:gd name="connsiteY2" fmla="*/ 46850 h 383319"/>
                <a:gd name="connsiteX3" fmla="*/ 955459 w 951200"/>
                <a:gd name="connsiteY3" fmla="*/ 388998 h 383319"/>
                <a:gd name="connsiteX4" fmla="*/ 954040 w 951200"/>
                <a:gd name="connsiteY4" fmla="*/ 390418 h 383319"/>
                <a:gd name="connsiteX5" fmla="*/ 86602 w 951200"/>
                <a:gd name="connsiteY5" fmla="*/ 4969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1200" h="383319">
                  <a:moveTo>
                    <a:pt x="0" y="2839"/>
                  </a:moveTo>
                  <a:lnTo>
                    <a:pt x="1420" y="0"/>
                  </a:lnTo>
                  <a:lnTo>
                    <a:pt x="88021" y="46850"/>
                  </a:lnTo>
                  <a:lnTo>
                    <a:pt x="955459" y="388998"/>
                  </a:lnTo>
                  <a:lnTo>
                    <a:pt x="954040" y="390418"/>
                  </a:lnTo>
                  <a:lnTo>
                    <a:pt x="86602" y="49690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DEBAE817-7F73-470B-B495-771112F43222}"/>
                </a:ext>
              </a:extLst>
            </p:cNvPr>
            <p:cNvSpPr/>
            <p:nvPr userDrawn="1"/>
          </p:nvSpPr>
          <p:spPr>
            <a:xfrm>
              <a:off x="6978344" y="3662125"/>
              <a:ext cx="677551" cy="266915"/>
            </a:xfrm>
            <a:custGeom>
              <a:avLst/>
              <a:gdLst>
                <a:gd name="connsiteX0" fmla="*/ 0 w 937003"/>
                <a:gd name="connsiteY0" fmla="*/ 1420 h 369122"/>
                <a:gd name="connsiteX1" fmla="*/ 1420 w 937003"/>
                <a:gd name="connsiteY1" fmla="*/ 0 h 369122"/>
                <a:gd name="connsiteX2" fmla="*/ 75244 w 937003"/>
                <a:gd name="connsiteY2" fmla="*/ 26974 h 369122"/>
                <a:gd name="connsiteX3" fmla="*/ 941263 w 937003"/>
                <a:gd name="connsiteY3" fmla="*/ 373382 h 369122"/>
                <a:gd name="connsiteX4" fmla="*/ 941263 w 937003"/>
                <a:gd name="connsiteY4" fmla="*/ 374801 h 369122"/>
                <a:gd name="connsiteX5" fmla="*/ 73825 w 937003"/>
                <a:gd name="connsiteY5" fmla="*/ 2981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003" h="369122">
                  <a:moveTo>
                    <a:pt x="0" y="1420"/>
                  </a:moveTo>
                  <a:lnTo>
                    <a:pt x="1420" y="0"/>
                  </a:lnTo>
                  <a:lnTo>
                    <a:pt x="75244" y="26974"/>
                  </a:lnTo>
                  <a:lnTo>
                    <a:pt x="941263" y="373382"/>
                  </a:lnTo>
                  <a:lnTo>
                    <a:pt x="941263" y="374801"/>
                  </a:lnTo>
                  <a:lnTo>
                    <a:pt x="73825" y="2981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E1A27988-CEE2-45AD-AC08-CC121D1E9B54}"/>
                </a:ext>
              </a:extLst>
            </p:cNvPr>
            <p:cNvSpPr/>
            <p:nvPr userDrawn="1"/>
          </p:nvSpPr>
          <p:spPr>
            <a:xfrm>
              <a:off x="6998875" y="3670338"/>
              <a:ext cx="657020" cy="266915"/>
            </a:xfrm>
            <a:custGeom>
              <a:avLst/>
              <a:gdLst>
                <a:gd name="connsiteX0" fmla="*/ 0 w 908609"/>
                <a:gd name="connsiteY0" fmla="*/ 2839 h 369122"/>
                <a:gd name="connsiteX1" fmla="*/ 1420 w 908609"/>
                <a:gd name="connsiteY1" fmla="*/ 0 h 369122"/>
                <a:gd name="connsiteX2" fmla="*/ 44011 w 908609"/>
                <a:gd name="connsiteY2" fmla="*/ 25555 h 369122"/>
                <a:gd name="connsiteX3" fmla="*/ 908609 w 908609"/>
                <a:gd name="connsiteY3" fmla="*/ 373382 h 369122"/>
                <a:gd name="connsiteX4" fmla="*/ 907190 w 908609"/>
                <a:gd name="connsiteY4" fmla="*/ 376221 h 369122"/>
                <a:gd name="connsiteX5" fmla="*/ 42591 w 908609"/>
                <a:gd name="connsiteY5" fmla="*/ 2697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609" h="369122">
                  <a:moveTo>
                    <a:pt x="0" y="2839"/>
                  </a:moveTo>
                  <a:lnTo>
                    <a:pt x="1420" y="0"/>
                  </a:lnTo>
                  <a:lnTo>
                    <a:pt x="44011" y="25555"/>
                  </a:lnTo>
                  <a:lnTo>
                    <a:pt x="908609" y="373382"/>
                  </a:lnTo>
                  <a:lnTo>
                    <a:pt x="907190" y="376221"/>
                  </a:lnTo>
                  <a:lnTo>
                    <a:pt x="42591" y="2697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C839F7F2-72B1-46A4-9468-7CC26B126DCC}"/>
                </a:ext>
              </a:extLst>
            </p:cNvPr>
            <p:cNvSpPr/>
            <p:nvPr userDrawn="1"/>
          </p:nvSpPr>
          <p:spPr>
            <a:xfrm>
              <a:off x="6993463" y="3669935"/>
              <a:ext cx="10266" cy="10266"/>
            </a:xfrm>
            <a:custGeom>
              <a:avLst/>
              <a:gdLst>
                <a:gd name="connsiteX0" fmla="*/ 387 w 0"/>
                <a:gd name="connsiteY0" fmla="*/ 3396 h 0"/>
                <a:gd name="connsiteX1" fmla="*/ 8905 w 0"/>
                <a:gd name="connsiteY1" fmla="*/ 557 h 0"/>
                <a:gd name="connsiteX2" fmla="*/ 8905 w 0"/>
                <a:gd name="connsiteY2" fmla="*/ 557 h 0"/>
                <a:gd name="connsiteX3" fmla="*/ 10325 w 0"/>
                <a:gd name="connsiteY3" fmla="*/ 1977 h 0"/>
                <a:gd name="connsiteX4" fmla="*/ 11745 w 0"/>
                <a:gd name="connsiteY4" fmla="*/ 3396 h 0"/>
                <a:gd name="connsiteX5" fmla="*/ 11745 w 0"/>
                <a:gd name="connsiteY5" fmla="*/ 3396 h 0"/>
                <a:gd name="connsiteX6" fmla="*/ 11745 w 0"/>
                <a:gd name="connsiteY6" fmla="*/ 4816 h 0"/>
                <a:gd name="connsiteX7" fmla="*/ 11745 w 0"/>
                <a:gd name="connsiteY7" fmla="*/ 7655 h 0"/>
                <a:gd name="connsiteX8" fmla="*/ 11745 w 0"/>
                <a:gd name="connsiteY8" fmla="*/ 7655 h 0"/>
                <a:gd name="connsiteX9" fmla="*/ 11745 w 0"/>
                <a:gd name="connsiteY9" fmla="*/ 9075 h 0"/>
                <a:gd name="connsiteX10" fmla="*/ 3226 w 0"/>
                <a:gd name="connsiteY10" fmla="*/ 11914 h 0"/>
                <a:gd name="connsiteX11" fmla="*/ 3226 w 0"/>
                <a:gd name="connsiteY11" fmla="*/ 11914 h 0"/>
                <a:gd name="connsiteX12" fmla="*/ 387 w 0"/>
                <a:gd name="connsiteY12" fmla="*/ 339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387" y="3396"/>
                  </a:moveTo>
                  <a:cubicBezTo>
                    <a:pt x="1807" y="557"/>
                    <a:pt x="6066" y="-863"/>
                    <a:pt x="8905" y="557"/>
                  </a:cubicBezTo>
                  <a:lnTo>
                    <a:pt x="8905" y="557"/>
                  </a:lnTo>
                  <a:cubicBezTo>
                    <a:pt x="8905" y="557"/>
                    <a:pt x="10325" y="557"/>
                    <a:pt x="10325" y="1977"/>
                  </a:cubicBezTo>
                  <a:cubicBezTo>
                    <a:pt x="10325" y="1977"/>
                    <a:pt x="10325" y="1977"/>
                    <a:pt x="11745" y="3396"/>
                  </a:cubicBezTo>
                  <a:cubicBezTo>
                    <a:pt x="11745" y="3396"/>
                    <a:pt x="11745" y="3396"/>
                    <a:pt x="11745" y="3396"/>
                  </a:cubicBezTo>
                  <a:cubicBezTo>
                    <a:pt x="11745" y="3396"/>
                    <a:pt x="11745" y="3396"/>
                    <a:pt x="11745" y="4816"/>
                  </a:cubicBezTo>
                  <a:cubicBezTo>
                    <a:pt x="11745" y="6236"/>
                    <a:pt x="11745" y="6236"/>
                    <a:pt x="11745" y="7655"/>
                  </a:cubicBezTo>
                  <a:cubicBezTo>
                    <a:pt x="11745" y="7655"/>
                    <a:pt x="11745" y="7655"/>
                    <a:pt x="11745" y="7655"/>
                  </a:cubicBezTo>
                  <a:cubicBezTo>
                    <a:pt x="11745" y="7655"/>
                    <a:pt x="11745" y="9075"/>
                    <a:pt x="11745" y="9075"/>
                  </a:cubicBezTo>
                  <a:cubicBezTo>
                    <a:pt x="10325" y="11914"/>
                    <a:pt x="6066" y="13334"/>
                    <a:pt x="3226" y="11914"/>
                  </a:cubicBezTo>
                  <a:lnTo>
                    <a:pt x="3226" y="11914"/>
                  </a:lnTo>
                  <a:cubicBezTo>
                    <a:pt x="1807" y="9075"/>
                    <a:pt x="-1033" y="6236"/>
                    <a:pt x="387" y="3396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5EEB1AA2-4416-44E8-8B75-16F3E92AEF9D}"/>
                </a:ext>
              </a:extLst>
            </p:cNvPr>
            <p:cNvSpPr/>
            <p:nvPr userDrawn="1"/>
          </p:nvSpPr>
          <p:spPr>
            <a:xfrm>
              <a:off x="6989251" y="3643244"/>
              <a:ext cx="10266" cy="10266"/>
            </a:xfrm>
            <a:custGeom>
              <a:avLst/>
              <a:gdLst>
                <a:gd name="connsiteX0" fmla="*/ 4792 w 0"/>
                <a:gd name="connsiteY0" fmla="*/ 11915 h 0"/>
                <a:gd name="connsiteX1" fmla="*/ 4792 w 0"/>
                <a:gd name="connsiteY1" fmla="*/ 11915 h 0"/>
                <a:gd name="connsiteX2" fmla="*/ 4792 w 0"/>
                <a:gd name="connsiteY2" fmla="*/ 11915 h 0"/>
                <a:gd name="connsiteX3" fmla="*/ 532 w 0"/>
                <a:gd name="connsiteY3" fmla="*/ 3396 h 0"/>
                <a:gd name="connsiteX4" fmla="*/ 9051 w 0"/>
                <a:gd name="connsiteY4" fmla="*/ 557 h 0"/>
                <a:gd name="connsiteX5" fmla="*/ 9051 w 0"/>
                <a:gd name="connsiteY5" fmla="*/ 557 h 0"/>
                <a:gd name="connsiteX6" fmla="*/ 9051 w 0"/>
                <a:gd name="connsiteY6" fmla="*/ 557 h 0"/>
                <a:gd name="connsiteX7" fmla="*/ 9051 w 0"/>
                <a:gd name="connsiteY7" fmla="*/ 557 h 0"/>
                <a:gd name="connsiteX8" fmla="*/ 10470 w 0"/>
                <a:gd name="connsiteY8" fmla="*/ 557 h 0"/>
                <a:gd name="connsiteX9" fmla="*/ 13310 w 0"/>
                <a:gd name="connsiteY9" fmla="*/ 6236 h 0"/>
                <a:gd name="connsiteX10" fmla="*/ 13310 w 0"/>
                <a:gd name="connsiteY10" fmla="*/ 6236 h 0"/>
                <a:gd name="connsiteX11" fmla="*/ 13310 w 0"/>
                <a:gd name="connsiteY11" fmla="*/ 7656 h 0"/>
                <a:gd name="connsiteX12" fmla="*/ 13310 w 0"/>
                <a:gd name="connsiteY12" fmla="*/ 7656 h 0"/>
                <a:gd name="connsiteX13" fmla="*/ 13310 w 0"/>
                <a:gd name="connsiteY13" fmla="*/ 7656 h 0"/>
                <a:gd name="connsiteX14" fmla="*/ 13310 w 0"/>
                <a:gd name="connsiteY14" fmla="*/ 9075 h 0"/>
                <a:gd name="connsiteX15" fmla="*/ 13310 w 0"/>
                <a:gd name="connsiteY15" fmla="*/ 10495 h 0"/>
                <a:gd name="connsiteX16" fmla="*/ 11890 w 0"/>
                <a:gd name="connsiteY16" fmla="*/ 11915 h 0"/>
                <a:gd name="connsiteX17" fmla="*/ 4792 w 0"/>
                <a:gd name="connsiteY17" fmla="*/ 11915 h 0"/>
                <a:gd name="connsiteX18" fmla="*/ 4792 w 0"/>
                <a:gd name="connsiteY18" fmla="*/ 119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>
                  <a:moveTo>
                    <a:pt x="4792" y="11915"/>
                  </a:moveTo>
                  <a:lnTo>
                    <a:pt x="4792" y="11915"/>
                  </a:lnTo>
                  <a:lnTo>
                    <a:pt x="4792" y="11915"/>
                  </a:lnTo>
                  <a:cubicBezTo>
                    <a:pt x="532" y="10495"/>
                    <a:pt x="-887" y="6236"/>
                    <a:pt x="532" y="3396"/>
                  </a:cubicBezTo>
                  <a:cubicBezTo>
                    <a:pt x="1952" y="557"/>
                    <a:pt x="6211" y="-863"/>
                    <a:pt x="9051" y="557"/>
                  </a:cubicBezTo>
                  <a:lnTo>
                    <a:pt x="9051" y="557"/>
                  </a:lnTo>
                  <a:lnTo>
                    <a:pt x="9051" y="557"/>
                  </a:lnTo>
                  <a:lnTo>
                    <a:pt x="9051" y="557"/>
                  </a:lnTo>
                  <a:cubicBezTo>
                    <a:pt x="9051" y="557"/>
                    <a:pt x="9051" y="557"/>
                    <a:pt x="10470" y="557"/>
                  </a:cubicBezTo>
                  <a:cubicBezTo>
                    <a:pt x="13310" y="1977"/>
                    <a:pt x="14729" y="4816"/>
                    <a:pt x="13310" y="6236"/>
                  </a:cubicBezTo>
                  <a:cubicBezTo>
                    <a:pt x="13310" y="6236"/>
                    <a:pt x="13310" y="6236"/>
                    <a:pt x="13310" y="6236"/>
                  </a:cubicBezTo>
                  <a:cubicBezTo>
                    <a:pt x="13310" y="6236"/>
                    <a:pt x="13310" y="623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9075"/>
                  </a:cubicBezTo>
                  <a:cubicBezTo>
                    <a:pt x="13310" y="9075"/>
                    <a:pt x="13310" y="9075"/>
                    <a:pt x="13310" y="10495"/>
                  </a:cubicBezTo>
                  <a:cubicBezTo>
                    <a:pt x="13310" y="10495"/>
                    <a:pt x="13310" y="10495"/>
                    <a:pt x="11890" y="11915"/>
                  </a:cubicBezTo>
                  <a:cubicBezTo>
                    <a:pt x="10470" y="11915"/>
                    <a:pt x="7631" y="13334"/>
                    <a:pt x="4792" y="11915"/>
                  </a:cubicBezTo>
                  <a:cubicBezTo>
                    <a:pt x="4792" y="11915"/>
                    <a:pt x="4792" y="11915"/>
                    <a:pt x="4792" y="11915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48444687-F48C-4926-91E9-BAFEB430FD35}"/>
                </a:ext>
              </a:extLst>
            </p:cNvPr>
            <p:cNvSpPr/>
            <p:nvPr userDrawn="1"/>
          </p:nvSpPr>
          <p:spPr>
            <a:xfrm>
              <a:off x="7009895" y="3652483"/>
              <a:ext cx="10266" cy="10266"/>
            </a:xfrm>
            <a:custGeom>
              <a:avLst/>
              <a:gdLst>
                <a:gd name="connsiteX0" fmla="*/ 8896 w 0"/>
                <a:gd name="connsiteY0" fmla="*/ 557 h 0"/>
                <a:gd name="connsiteX1" fmla="*/ 8896 w 0"/>
                <a:gd name="connsiteY1" fmla="*/ 557 h 0"/>
                <a:gd name="connsiteX2" fmla="*/ 13155 w 0"/>
                <a:gd name="connsiteY2" fmla="*/ 9075 h 0"/>
                <a:gd name="connsiteX3" fmla="*/ 4637 w 0"/>
                <a:gd name="connsiteY3" fmla="*/ 11915 h 0"/>
                <a:gd name="connsiteX4" fmla="*/ 4637 w 0"/>
                <a:gd name="connsiteY4" fmla="*/ 11915 h 0"/>
                <a:gd name="connsiteX5" fmla="*/ 378 w 0"/>
                <a:gd name="connsiteY5" fmla="*/ 3396 h 0"/>
                <a:gd name="connsiteX6" fmla="*/ 8896 w 0"/>
                <a:gd name="connsiteY6" fmla="*/ 5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8896" y="557"/>
                  </a:moveTo>
                  <a:lnTo>
                    <a:pt x="8896" y="557"/>
                  </a:lnTo>
                  <a:cubicBezTo>
                    <a:pt x="11735" y="1977"/>
                    <a:pt x="14575" y="6236"/>
                    <a:pt x="13155" y="9075"/>
                  </a:cubicBezTo>
                  <a:cubicBezTo>
                    <a:pt x="11735" y="11915"/>
                    <a:pt x="7476" y="13334"/>
                    <a:pt x="4637" y="11915"/>
                  </a:cubicBezTo>
                  <a:lnTo>
                    <a:pt x="4637" y="11915"/>
                  </a:lnTo>
                  <a:cubicBezTo>
                    <a:pt x="1797" y="10495"/>
                    <a:pt x="-1042" y="6236"/>
                    <a:pt x="378" y="3396"/>
                  </a:cubicBezTo>
                  <a:cubicBezTo>
                    <a:pt x="1797" y="557"/>
                    <a:pt x="6056" y="-863"/>
                    <a:pt x="8896" y="557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0B762926-40E7-4A1C-A92A-66761277A84E}"/>
                </a:ext>
              </a:extLst>
            </p:cNvPr>
            <p:cNvSpPr/>
            <p:nvPr userDrawn="1"/>
          </p:nvSpPr>
          <p:spPr>
            <a:xfrm>
              <a:off x="7666785" y="3903375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4A5EE541-3A9A-4B0B-AA74-55F02DBD7E34}"/>
                </a:ext>
              </a:extLst>
            </p:cNvPr>
            <p:cNvSpPr/>
            <p:nvPr userDrawn="1"/>
          </p:nvSpPr>
          <p:spPr>
            <a:xfrm>
              <a:off x="7662678" y="3911588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1420"/>
                    <a:pt x="1049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D131F2F9-02B9-4385-9F54-98065CBB752E}"/>
                </a:ext>
              </a:extLst>
            </p:cNvPr>
            <p:cNvSpPr/>
            <p:nvPr userDrawn="1"/>
          </p:nvSpPr>
          <p:spPr>
            <a:xfrm>
              <a:off x="7659599" y="3920827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8B91208D-4A5A-4B96-B3ED-19C8F5C2415C}"/>
                </a:ext>
              </a:extLst>
            </p:cNvPr>
            <p:cNvSpPr/>
            <p:nvPr userDrawn="1"/>
          </p:nvSpPr>
          <p:spPr>
            <a:xfrm>
              <a:off x="7655492" y="3930067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0"/>
                    <a:pt x="1049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E80BA257-B4F7-4560-A06B-B97872CA6DE6}"/>
                </a:ext>
              </a:extLst>
            </p:cNvPr>
            <p:cNvSpPr/>
            <p:nvPr userDrawn="1"/>
          </p:nvSpPr>
          <p:spPr>
            <a:xfrm>
              <a:off x="7652412" y="3938279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1420"/>
                    <a:pt x="907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46E1557F-B7B9-4BAC-9320-96FC4CA4F54B}"/>
                </a:ext>
              </a:extLst>
            </p:cNvPr>
            <p:cNvSpPr/>
            <p:nvPr userDrawn="1"/>
          </p:nvSpPr>
          <p:spPr>
            <a:xfrm>
              <a:off x="7513989" y="3852504"/>
              <a:ext cx="112925" cy="61596"/>
            </a:xfrm>
            <a:custGeom>
              <a:avLst/>
              <a:gdLst>
                <a:gd name="connsiteX0" fmla="*/ 130940 w 156167"/>
                <a:gd name="connsiteY0" fmla="*/ 19241 h 85182"/>
                <a:gd name="connsiteX1" fmla="*/ 106805 w 156167"/>
                <a:gd name="connsiteY1" fmla="*/ 16402 h 85182"/>
                <a:gd name="connsiteX2" fmla="*/ 71313 w 156167"/>
                <a:gd name="connsiteY2" fmla="*/ 785 h 85182"/>
                <a:gd name="connsiteX3" fmla="*/ 34400 w 156167"/>
                <a:gd name="connsiteY3" fmla="*/ 12143 h 85182"/>
                <a:gd name="connsiteX4" fmla="*/ 38659 w 156167"/>
                <a:gd name="connsiteY4" fmla="*/ 22080 h 85182"/>
                <a:gd name="connsiteX5" fmla="*/ 327 w 156167"/>
                <a:gd name="connsiteY5" fmla="*/ 46215 h 85182"/>
                <a:gd name="connsiteX6" fmla="*/ 15944 w 156167"/>
                <a:gd name="connsiteY6" fmla="*/ 84547 h 85182"/>
                <a:gd name="connsiteX7" fmla="*/ 86929 w 156167"/>
                <a:gd name="connsiteY7" fmla="*/ 81708 h 85182"/>
                <a:gd name="connsiteX8" fmla="*/ 163593 w 156167"/>
                <a:gd name="connsiteY8" fmla="*/ 54734 h 85182"/>
                <a:gd name="connsiteX9" fmla="*/ 130940 w 156167"/>
                <a:gd name="connsiteY9" fmla="*/ 1924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167" h="85182">
                  <a:moveTo>
                    <a:pt x="130940" y="19241"/>
                  </a:moveTo>
                  <a:cubicBezTo>
                    <a:pt x="130940" y="19241"/>
                    <a:pt x="116743" y="22080"/>
                    <a:pt x="106805" y="16402"/>
                  </a:cubicBezTo>
                  <a:cubicBezTo>
                    <a:pt x="95448" y="10723"/>
                    <a:pt x="78411" y="-3474"/>
                    <a:pt x="71313" y="785"/>
                  </a:cubicBezTo>
                  <a:cubicBezTo>
                    <a:pt x="62794" y="6464"/>
                    <a:pt x="40079" y="12143"/>
                    <a:pt x="34400" y="12143"/>
                  </a:cubicBezTo>
                  <a:cubicBezTo>
                    <a:pt x="28721" y="12143"/>
                    <a:pt x="32981" y="16402"/>
                    <a:pt x="38659" y="22080"/>
                  </a:cubicBezTo>
                  <a:cubicBezTo>
                    <a:pt x="45758" y="26340"/>
                    <a:pt x="1747" y="33438"/>
                    <a:pt x="327" y="46215"/>
                  </a:cubicBezTo>
                  <a:cubicBezTo>
                    <a:pt x="-1092" y="58993"/>
                    <a:pt x="1747" y="73190"/>
                    <a:pt x="15944" y="84547"/>
                  </a:cubicBezTo>
                  <a:cubicBezTo>
                    <a:pt x="30141" y="94485"/>
                    <a:pt x="75572" y="85967"/>
                    <a:pt x="86929" y="81708"/>
                  </a:cubicBezTo>
                  <a:cubicBezTo>
                    <a:pt x="96867" y="76029"/>
                    <a:pt x="143717" y="53314"/>
                    <a:pt x="163593" y="54734"/>
                  </a:cubicBezTo>
                  <a:cubicBezTo>
                    <a:pt x="182049" y="53314"/>
                    <a:pt x="130940" y="19241"/>
                    <a:pt x="130940" y="19241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A2998DC1-F847-47B3-9521-7D88B2E6932D}"/>
                </a:ext>
              </a:extLst>
            </p:cNvPr>
            <p:cNvSpPr/>
            <p:nvPr userDrawn="1"/>
          </p:nvSpPr>
          <p:spPr>
            <a:xfrm>
              <a:off x="7587113" y="3737067"/>
              <a:ext cx="215584" cy="164255"/>
            </a:xfrm>
            <a:custGeom>
              <a:avLst/>
              <a:gdLst>
                <a:gd name="connsiteX0" fmla="*/ 0 w 298137"/>
                <a:gd name="connsiteY0" fmla="*/ 166105 h 227152"/>
                <a:gd name="connsiteX1" fmla="*/ 183141 w 298137"/>
                <a:gd name="connsiteY1" fmla="*/ 95120 h 227152"/>
                <a:gd name="connsiteX2" fmla="*/ 110737 w 298137"/>
                <a:gd name="connsiteY2" fmla="*/ 0 h 227152"/>
                <a:gd name="connsiteX3" fmla="*/ 242769 w 298137"/>
                <a:gd name="connsiteY3" fmla="*/ 14197 h 227152"/>
                <a:gd name="connsiteX4" fmla="*/ 308075 w 298137"/>
                <a:gd name="connsiteY4" fmla="*/ 134872 h 227152"/>
                <a:gd name="connsiteX5" fmla="*/ 29814 w 298137"/>
                <a:gd name="connsiteY5" fmla="*/ 229992 h 227152"/>
                <a:gd name="connsiteX6" fmla="*/ 0 w 298137"/>
                <a:gd name="connsiteY6" fmla="*/ 166105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137" h="227152">
                  <a:moveTo>
                    <a:pt x="0" y="166105"/>
                  </a:moveTo>
                  <a:cubicBezTo>
                    <a:pt x="0" y="166105"/>
                    <a:pt x="181722" y="109317"/>
                    <a:pt x="183141" y="95120"/>
                  </a:cubicBezTo>
                  <a:cubicBezTo>
                    <a:pt x="184561" y="80923"/>
                    <a:pt x="110737" y="0"/>
                    <a:pt x="110737" y="0"/>
                  </a:cubicBezTo>
                  <a:lnTo>
                    <a:pt x="242769" y="14197"/>
                  </a:lnTo>
                  <a:cubicBezTo>
                    <a:pt x="242769" y="14197"/>
                    <a:pt x="308075" y="106478"/>
                    <a:pt x="308075" y="134872"/>
                  </a:cubicBezTo>
                  <a:cubicBezTo>
                    <a:pt x="308075" y="166105"/>
                    <a:pt x="29814" y="229992"/>
                    <a:pt x="29814" y="229992"/>
                  </a:cubicBezTo>
                  <a:lnTo>
                    <a:pt x="0" y="166105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FBFF82C4-B70F-4465-B5F9-C0366D0DD290}"/>
                </a:ext>
              </a:extLst>
            </p:cNvPr>
            <p:cNvSpPr/>
            <p:nvPr userDrawn="1"/>
          </p:nvSpPr>
          <p:spPr>
            <a:xfrm>
              <a:off x="7488561" y="3572812"/>
              <a:ext cx="51330" cy="20532"/>
            </a:xfrm>
            <a:custGeom>
              <a:avLst/>
              <a:gdLst>
                <a:gd name="connsiteX0" fmla="*/ 15617 w 70985"/>
                <a:gd name="connsiteY0" fmla="*/ 41171 h 28394"/>
                <a:gd name="connsiteX1" fmla="*/ 26974 w 70985"/>
                <a:gd name="connsiteY1" fmla="*/ 39752 h 28394"/>
                <a:gd name="connsiteX2" fmla="*/ 70985 w 70985"/>
                <a:gd name="connsiteY2" fmla="*/ 1420 h 28394"/>
                <a:gd name="connsiteX3" fmla="*/ 68146 w 70985"/>
                <a:gd name="connsiteY3" fmla="*/ 0 h 28394"/>
                <a:gd name="connsiteX4" fmla="*/ 25555 w 70985"/>
                <a:gd name="connsiteY4" fmla="*/ 36912 h 28394"/>
                <a:gd name="connsiteX5" fmla="*/ 1420 w 70985"/>
                <a:gd name="connsiteY5" fmla="*/ 35493 h 28394"/>
                <a:gd name="connsiteX6" fmla="*/ 0 w 70985"/>
                <a:gd name="connsiteY6" fmla="*/ 38332 h 28394"/>
                <a:gd name="connsiteX7" fmla="*/ 15617 w 70985"/>
                <a:gd name="connsiteY7" fmla="*/ 41171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85" h="28394">
                  <a:moveTo>
                    <a:pt x="15617" y="41171"/>
                  </a:moveTo>
                  <a:cubicBezTo>
                    <a:pt x="18456" y="41171"/>
                    <a:pt x="22715" y="41171"/>
                    <a:pt x="26974" y="39752"/>
                  </a:cubicBezTo>
                  <a:cubicBezTo>
                    <a:pt x="39752" y="36912"/>
                    <a:pt x="58208" y="28394"/>
                    <a:pt x="70985" y="1420"/>
                  </a:cubicBezTo>
                  <a:lnTo>
                    <a:pt x="68146" y="0"/>
                  </a:lnTo>
                  <a:cubicBezTo>
                    <a:pt x="58208" y="21296"/>
                    <a:pt x="44011" y="34073"/>
                    <a:pt x="25555" y="36912"/>
                  </a:cubicBezTo>
                  <a:cubicBezTo>
                    <a:pt x="12777" y="39752"/>
                    <a:pt x="1420" y="35493"/>
                    <a:pt x="1420" y="35493"/>
                  </a:cubicBezTo>
                  <a:lnTo>
                    <a:pt x="0" y="38332"/>
                  </a:lnTo>
                  <a:cubicBezTo>
                    <a:pt x="1420" y="39752"/>
                    <a:pt x="7099" y="41171"/>
                    <a:pt x="15617" y="41171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077D79E0-7949-4E1B-BBDA-08E65C56C45B}"/>
                </a:ext>
              </a:extLst>
            </p:cNvPr>
            <p:cNvSpPr/>
            <p:nvPr userDrawn="1"/>
          </p:nvSpPr>
          <p:spPr>
            <a:xfrm>
              <a:off x="7144411" y="3726624"/>
              <a:ext cx="225850" cy="102659"/>
            </a:xfrm>
            <a:custGeom>
              <a:avLst/>
              <a:gdLst>
                <a:gd name="connsiteX0" fmla="*/ 325445 w 312334"/>
                <a:gd name="connsiteY0" fmla="*/ 152153 h 141970"/>
                <a:gd name="connsiteX1" fmla="*/ 177796 w 312334"/>
                <a:gd name="connsiteY1" fmla="*/ 113821 h 141970"/>
                <a:gd name="connsiteX2" fmla="*/ 30147 w 312334"/>
                <a:gd name="connsiteY2" fmla="*/ 65551 h 141970"/>
                <a:gd name="connsiteX3" fmla="*/ 3172 w 312334"/>
                <a:gd name="connsiteY3" fmla="*/ 1664 h 141970"/>
                <a:gd name="connsiteX4" fmla="*/ 84095 w 312334"/>
                <a:gd name="connsiteY4" fmla="*/ 25799 h 141970"/>
                <a:gd name="connsiteX5" fmla="*/ 106811 w 312334"/>
                <a:gd name="connsiteY5" fmla="*/ 59872 h 141970"/>
                <a:gd name="connsiteX6" fmla="*/ 325445 w 312334"/>
                <a:gd name="connsiteY6" fmla="*/ 152153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34" h="141970">
                  <a:moveTo>
                    <a:pt x="325445" y="152153"/>
                  </a:moveTo>
                  <a:cubicBezTo>
                    <a:pt x="325445" y="152153"/>
                    <a:pt x="245942" y="139375"/>
                    <a:pt x="177796" y="113821"/>
                  </a:cubicBezTo>
                  <a:cubicBezTo>
                    <a:pt x="109650" y="88266"/>
                    <a:pt x="57121" y="84007"/>
                    <a:pt x="30147" y="65551"/>
                  </a:cubicBezTo>
                  <a:cubicBezTo>
                    <a:pt x="3172" y="47095"/>
                    <a:pt x="-5346" y="8763"/>
                    <a:pt x="3172" y="1664"/>
                  </a:cubicBezTo>
                  <a:cubicBezTo>
                    <a:pt x="13110" y="-5434"/>
                    <a:pt x="72738" y="11602"/>
                    <a:pt x="84095" y="25799"/>
                  </a:cubicBezTo>
                  <a:cubicBezTo>
                    <a:pt x="96873" y="39996"/>
                    <a:pt x="84095" y="49934"/>
                    <a:pt x="106811" y="59872"/>
                  </a:cubicBezTo>
                  <a:cubicBezTo>
                    <a:pt x="128106" y="68390"/>
                    <a:pt x="325445" y="152153"/>
                    <a:pt x="325445" y="15215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7B67EF9E-6F0D-46E9-A8B1-467E5EDDBC6C}"/>
                </a:ext>
              </a:extLst>
            </p:cNvPr>
            <p:cNvSpPr/>
            <p:nvPr userDrawn="1"/>
          </p:nvSpPr>
          <p:spPr>
            <a:xfrm>
              <a:off x="7221646" y="3771971"/>
              <a:ext cx="153989" cy="61596"/>
            </a:xfrm>
            <a:custGeom>
              <a:avLst/>
              <a:gdLst>
                <a:gd name="connsiteX0" fmla="*/ 8518 w 212955"/>
                <a:gd name="connsiteY0" fmla="*/ 0 h 85182"/>
                <a:gd name="connsiteX1" fmla="*/ 0 w 212955"/>
                <a:gd name="connsiteY1" fmla="*/ 46850 h 85182"/>
                <a:gd name="connsiteX2" fmla="*/ 218634 w 212955"/>
                <a:gd name="connsiteY2" fmla="*/ 89441 h 85182"/>
                <a:gd name="connsiteX3" fmla="*/ 8518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8518" y="0"/>
                  </a:moveTo>
                  <a:cubicBezTo>
                    <a:pt x="8518" y="0"/>
                    <a:pt x="7099" y="31233"/>
                    <a:pt x="0" y="46850"/>
                  </a:cubicBezTo>
                  <a:cubicBezTo>
                    <a:pt x="0" y="46850"/>
                    <a:pt x="198758" y="89441"/>
                    <a:pt x="218634" y="89441"/>
                  </a:cubicBezTo>
                  <a:lnTo>
                    <a:pt x="8518" y="0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35B26521-EFCA-42C7-89DA-606E9E0EFA4D}"/>
                </a:ext>
              </a:extLst>
            </p:cNvPr>
            <p:cNvSpPr/>
            <p:nvPr userDrawn="1"/>
          </p:nvSpPr>
          <p:spPr>
            <a:xfrm>
              <a:off x="7371529" y="4045045"/>
              <a:ext cx="153989" cy="61596"/>
            </a:xfrm>
            <a:custGeom>
              <a:avLst/>
              <a:gdLst>
                <a:gd name="connsiteX0" fmla="*/ 0 w 212955"/>
                <a:gd name="connsiteY0" fmla="*/ 0 h 85182"/>
                <a:gd name="connsiteX1" fmla="*/ 150488 w 212955"/>
                <a:gd name="connsiteY1" fmla="*/ 93700 h 85182"/>
                <a:gd name="connsiteX2" fmla="*/ 215795 w 212955"/>
                <a:gd name="connsiteY2" fmla="*/ 93700 h 85182"/>
                <a:gd name="connsiteX3" fmla="*/ 0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0" y="0"/>
                  </a:moveTo>
                  <a:cubicBezTo>
                    <a:pt x="2839" y="2839"/>
                    <a:pt x="102219" y="78084"/>
                    <a:pt x="150488" y="93700"/>
                  </a:cubicBezTo>
                  <a:cubicBezTo>
                    <a:pt x="174623" y="93700"/>
                    <a:pt x="195919" y="93700"/>
                    <a:pt x="215795" y="93700"/>
                  </a:cubicBezTo>
                  <a:cubicBezTo>
                    <a:pt x="211536" y="93700"/>
                    <a:pt x="154747" y="80923"/>
                    <a:pt x="0" y="0"/>
                  </a:cubicBezTo>
                  <a:close/>
                </a:path>
              </a:pathLst>
            </a:custGeom>
            <a:solidFill>
              <a:srgbClr val="4D39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C5357D8-BFCA-4139-92F8-76B8DFF0F9A1}"/>
              </a:ext>
            </a:extLst>
          </p:cNvPr>
          <p:cNvGrpSpPr/>
          <p:nvPr userDrawn="1"/>
        </p:nvGrpSpPr>
        <p:grpSpPr>
          <a:xfrm flipH="1">
            <a:off x="-1" y="-11250"/>
            <a:ext cx="6899647" cy="4859021"/>
            <a:chOff x="4285646" y="-11250"/>
            <a:chExt cx="7906355" cy="5567987"/>
          </a:xfrm>
        </p:grpSpPr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7A32D6B-A439-4E17-95DB-072EAF9BBB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06848" y="174489"/>
              <a:ext cx="5899150" cy="4169030"/>
            </a:xfrm>
            <a:custGeom>
              <a:avLst/>
              <a:gdLst>
                <a:gd name="connsiteX0" fmla="*/ 4950105 w 5899150"/>
                <a:gd name="connsiteY0" fmla="*/ 2048130 h 4169030"/>
                <a:gd name="connsiteX1" fmla="*/ 4950105 w 5899150"/>
                <a:gd name="connsiteY1" fmla="*/ 3740405 h 4169030"/>
                <a:gd name="connsiteX2" fmla="*/ 4950105 w 5899150"/>
                <a:gd name="connsiteY2" fmla="*/ 2048130 h 4169030"/>
                <a:gd name="connsiteX3" fmla="*/ 2024528 w 5899150"/>
                <a:gd name="connsiteY3" fmla="*/ 1949705 h 4169030"/>
                <a:gd name="connsiteX4" fmla="*/ 2024528 w 5899150"/>
                <a:gd name="connsiteY4" fmla="*/ 3000581 h 4169030"/>
                <a:gd name="connsiteX5" fmla="*/ 2000342 w 5899150"/>
                <a:gd name="connsiteY5" fmla="*/ 3592768 h 4169030"/>
                <a:gd name="connsiteX6" fmla="*/ 1979612 w 5899150"/>
                <a:gd name="connsiteY6" fmla="*/ 3123811 h 4169030"/>
                <a:gd name="connsiteX7" fmla="*/ 2000342 w 5899150"/>
                <a:gd name="connsiteY7" fmla="*/ 2528200 h 4169030"/>
                <a:gd name="connsiteX8" fmla="*/ 2024528 w 5899150"/>
                <a:gd name="connsiteY8" fmla="*/ 1949705 h 4169030"/>
                <a:gd name="connsiteX9" fmla="*/ 157535 w 5899150"/>
                <a:gd name="connsiteY9" fmla="*/ 1541717 h 4169030"/>
                <a:gd name="connsiteX10" fmla="*/ 184429 w 5899150"/>
                <a:gd name="connsiteY10" fmla="*/ 1716447 h 4169030"/>
                <a:gd name="connsiteX11" fmla="*/ 154174 w 5899150"/>
                <a:gd name="connsiteY11" fmla="*/ 2884742 h 4169030"/>
                <a:gd name="connsiteX12" fmla="*/ 154174 w 5899150"/>
                <a:gd name="connsiteY12" fmla="*/ 2353699 h 4169030"/>
                <a:gd name="connsiteX13" fmla="*/ 154174 w 5899150"/>
                <a:gd name="connsiteY13" fmla="*/ 1884325 h 4169030"/>
                <a:gd name="connsiteX14" fmla="*/ 157535 w 5899150"/>
                <a:gd name="connsiteY14" fmla="*/ 1541717 h 4169030"/>
                <a:gd name="connsiteX15" fmla="*/ 99236 w 5899150"/>
                <a:gd name="connsiteY15" fmla="*/ 1144845 h 4169030"/>
                <a:gd name="connsiteX16" fmla="*/ 112924 w 5899150"/>
                <a:gd name="connsiteY16" fmla="*/ 1805849 h 4169030"/>
                <a:gd name="connsiteX17" fmla="*/ 106080 w 5899150"/>
                <a:gd name="connsiteY17" fmla="*/ 3405277 h 4169030"/>
                <a:gd name="connsiteX18" fmla="*/ 153987 w 5899150"/>
                <a:gd name="connsiteY18" fmla="*/ 2984014 h 4169030"/>
                <a:gd name="connsiteX19" fmla="*/ 153987 w 5899150"/>
                <a:gd name="connsiteY19" fmla="*/ 4169030 h 4169030"/>
                <a:gd name="connsiteX20" fmla="*/ 0 w 5899150"/>
                <a:gd name="connsiteY20" fmla="*/ 4169030 h 4169030"/>
                <a:gd name="connsiteX21" fmla="*/ 0 w 5899150"/>
                <a:gd name="connsiteY21" fmla="*/ 1312665 h 4169030"/>
                <a:gd name="connsiteX22" fmla="*/ 5899150 w 5899150"/>
                <a:gd name="connsiteY22" fmla="*/ 914655 h 4169030"/>
                <a:gd name="connsiteX23" fmla="*/ 5899150 w 5899150"/>
                <a:gd name="connsiteY23" fmla="*/ 1041655 h 4169030"/>
                <a:gd name="connsiteX24" fmla="*/ 5899150 w 5899150"/>
                <a:gd name="connsiteY24" fmla="*/ 3846767 h 4169030"/>
                <a:gd name="connsiteX25" fmla="*/ 5867400 w 5899150"/>
                <a:gd name="connsiteY25" fmla="*/ 3846767 h 4169030"/>
                <a:gd name="connsiteX26" fmla="*/ 5867400 w 5899150"/>
                <a:gd name="connsiteY26" fmla="*/ 1048005 h 4169030"/>
                <a:gd name="connsiteX27" fmla="*/ 5651500 w 5899150"/>
                <a:gd name="connsiteY27" fmla="*/ 636843 h 4169030"/>
                <a:gd name="connsiteX28" fmla="*/ 5778189 w 5899150"/>
                <a:gd name="connsiteY28" fmla="*/ 914329 h 4169030"/>
                <a:gd name="connsiteX29" fmla="*/ 5805581 w 5899150"/>
                <a:gd name="connsiteY29" fmla="*/ 1479577 h 4169030"/>
                <a:gd name="connsiteX30" fmla="*/ 5778189 w 5899150"/>
                <a:gd name="connsiteY30" fmla="*/ 1948904 h 4169030"/>
                <a:gd name="connsiteX31" fmla="*/ 5812429 w 5899150"/>
                <a:gd name="connsiteY31" fmla="*/ 2548410 h 4169030"/>
                <a:gd name="connsiteX32" fmla="*/ 5812429 w 5899150"/>
                <a:gd name="connsiteY32" fmla="*/ 3846768 h 4169030"/>
                <a:gd name="connsiteX33" fmla="*/ 5651500 w 5899150"/>
                <a:gd name="connsiteY33" fmla="*/ 3846768 h 4169030"/>
                <a:gd name="connsiteX34" fmla="*/ 5651500 w 5899150"/>
                <a:gd name="connsiteY34" fmla="*/ 636843 h 4169030"/>
                <a:gd name="connsiteX35" fmla="*/ 3798887 w 5899150"/>
                <a:gd name="connsiteY35" fmla="*/ 0 h 4169030"/>
                <a:gd name="connsiteX36" fmla="*/ 3887787 w 5899150"/>
                <a:gd name="connsiteY36" fmla="*/ 0 h 4169030"/>
                <a:gd name="connsiteX37" fmla="*/ 3887787 w 5899150"/>
                <a:gd name="connsiteY37" fmla="*/ 1541995 h 4169030"/>
                <a:gd name="connsiteX38" fmla="*/ 3892017 w 5899150"/>
                <a:gd name="connsiteY38" fmla="*/ 1539449 h 4169030"/>
                <a:gd name="connsiteX39" fmla="*/ 3911699 w 5899150"/>
                <a:gd name="connsiteY39" fmla="*/ 1534298 h 4169030"/>
                <a:gd name="connsiteX40" fmla="*/ 4010860 w 5899150"/>
                <a:gd name="connsiteY40" fmla="*/ 1603357 h 4169030"/>
                <a:gd name="connsiteX41" fmla="*/ 4017962 w 5899150"/>
                <a:gd name="connsiteY41" fmla="*/ 1605637 h 4169030"/>
                <a:gd name="connsiteX42" fmla="*/ 4017962 w 5899150"/>
                <a:gd name="connsiteY42" fmla="*/ 0 h 4169030"/>
                <a:gd name="connsiteX43" fmla="*/ 4179887 w 5899150"/>
                <a:gd name="connsiteY43" fmla="*/ 0 h 4169030"/>
                <a:gd name="connsiteX44" fmla="*/ 4179887 w 5899150"/>
                <a:gd name="connsiteY44" fmla="*/ 1881563 h 4169030"/>
                <a:gd name="connsiteX45" fmla="*/ 4188820 w 5899150"/>
                <a:gd name="connsiteY45" fmla="*/ 1882372 h 4169030"/>
                <a:gd name="connsiteX46" fmla="*/ 4268788 w 5899150"/>
                <a:gd name="connsiteY46" fmla="*/ 1870396 h 4169030"/>
                <a:gd name="connsiteX47" fmla="*/ 4298950 w 5899150"/>
                <a:gd name="connsiteY47" fmla="*/ 1847301 h 4169030"/>
                <a:gd name="connsiteX48" fmla="*/ 4298950 w 5899150"/>
                <a:gd name="connsiteY48" fmla="*/ 0 h 4169030"/>
                <a:gd name="connsiteX49" fmla="*/ 4384675 w 5899150"/>
                <a:gd name="connsiteY49" fmla="*/ 0 h 4169030"/>
                <a:gd name="connsiteX50" fmla="*/ 4384675 w 5899150"/>
                <a:gd name="connsiteY50" fmla="*/ 2129601 h 4169030"/>
                <a:gd name="connsiteX51" fmla="*/ 4386873 w 5899150"/>
                <a:gd name="connsiteY51" fmla="*/ 2131428 h 4169030"/>
                <a:gd name="connsiteX52" fmla="*/ 4437734 w 5899150"/>
                <a:gd name="connsiteY52" fmla="*/ 2184922 h 4169030"/>
                <a:gd name="connsiteX53" fmla="*/ 4487862 w 5899150"/>
                <a:gd name="connsiteY53" fmla="*/ 2256236 h 4169030"/>
                <a:gd name="connsiteX54" fmla="*/ 4487862 w 5899150"/>
                <a:gd name="connsiteY54" fmla="*/ 0 h 4169030"/>
                <a:gd name="connsiteX55" fmla="*/ 4627562 w 5899150"/>
                <a:gd name="connsiteY55" fmla="*/ 0 h 4169030"/>
                <a:gd name="connsiteX56" fmla="*/ 4627562 w 5899150"/>
                <a:gd name="connsiteY56" fmla="*/ 2367529 h 4169030"/>
                <a:gd name="connsiteX57" fmla="*/ 4660412 w 5899150"/>
                <a:gd name="connsiteY57" fmla="*/ 2382977 h 4169030"/>
                <a:gd name="connsiteX58" fmla="*/ 4709990 w 5899150"/>
                <a:gd name="connsiteY58" fmla="*/ 2415299 h 4169030"/>
                <a:gd name="connsiteX59" fmla="*/ 4750700 w 5899150"/>
                <a:gd name="connsiteY59" fmla="*/ 2462736 h 4169030"/>
                <a:gd name="connsiteX60" fmla="*/ 4775200 w 5899150"/>
                <a:gd name="connsiteY60" fmla="*/ 2499388 h 4169030"/>
                <a:gd name="connsiteX61" fmla="*/ 4775200 w 5899150"/>
                <a:gd name="connsiteY61" fmla="*/ 0 h 4169030"/>
                <a:gd name="connsiteX62" fmla="*/ 4902200 w 5899150"/>
                <a:gd name="connsiteY62" fmla="*/ 0 h 4169030"/>
                <a:gd name="connsiteX63" fmla="*/ 4902200 w 5899150"/>
                <a:gd name="connsiteY63" fmla="*/ 3994405 h 4169030"/>
                <a:gd name="connsiteX64" fmla="*/ 4775200 w 5899150"/>
                <a:gd name="connsiteY64" fmla="*/ 3994405 h 4169030"/>
                <a:gd name="connsiteX65" fmla="*/ 4775200 w 5899150"/>
                <a:gd name="connsiteY65" fmla="*/ 2685763 h 4169030"/>
                <a:gd name="connsiteX66" fmla="*/ 4774956 w 5899150"/>
                <a:gd name="connsiteY66" fmla="*/ 2686305 h 4169030"/>
                <a:gd name="connsiteX67" fmla="*/ 4658462 w 5899150"/>
                <a:gd name="connsiteY67" fmla="*/ 2441061 h 4169030"/>
                <a:gd name="connsiteX68" fmla="*/ 4627562 w 5899150"/>
                <a:gd name="connsiteY68" fmla="*/ 2418260 h 4169030"/>
                <a:gd name="connsiteX69" fmla="*/ 4627562 w 5899150"/>
                <a:gd name="connsiteY69" fmla="*/ 4107118 h 4169030"/>
                <a:gd name="connsiteX70" fmla="*/ 4487862 w 5899150"/>
                <a:gd name="connsiteY70" fmla="*/ 4107118 h 4169030"/>
                <a:gd name="connsiteX71" fmla="*/ 4487862 w 5899150"/>
                <a:gd name="connsiteY71" fmla="*/ 2285838 h 4169030"/>
                <a:gd name="connsiteX72" fmla="*/ 4452266 w 5899150"/>
                <a:gd name="connsiteY72" fmla="*/ 2240774 h 4169030"/>
                <a:gd name="connsiteX73" fmla="*/ 4389705 w 5899150"/>
                <a:gd name="connsiteY73" fmla="*/ 2156138 h 4169030"/>
                <a:gd name="connsiteX74" fmla="*/ 4384675 w 5899150"/>
                <a:gd name="connsiteY74" fmla="*/ 2150695 h 4169030"/>
                <a:gd name="connsiteX75" fmla="*/ 4384675 w 5899150"/>
                <a:gd name="connsiteY75" fmla="*/ 3846768 h 4169030"/>
                <a:gd name="connsiteX76" fmla="*/ 4298950 w 5899150"/>
                <a:gd name="connsiteY76" fmla="*/ 3846768 h 4169030"/>
                <a:gd name="connsiteX77" fmla="*/ 4298950 w 5899150"/>
                <a:gd name="connsiteY77" fmla="*/ 1858615 h 4169030"/>
                <a:gd name="connsiteX78" fmla="*/ 4280403 w 5899150"/>
                <a:gd name="connsiteY78" fmla="*/ 1873164 h 4169030"/>
                <a:gd name="connsiteX79" fmla="*/ 4265362 w 5899150"/>
                <a:gd name="connsiteY79" fmla="*/ 1887429 h 4169030"/>
                <a:gd name="connsiteX80" fmla="*/ 4195992 w 5899150"/>
                <a:gd name="connsiteY80" fmla="*/ 1895094 h 4169030"/>
                <a:gd name="connsiteX81" fmla="*/ 4179887 w 5899150"/>
                <a:gd name="connsiteY81" fmla="*/ 1901618 h 4169030"/>
                <a:gd name="connsiteX82" fmla="*/ 4179887 w 5899150"/>
                <a:gd name="connsiteY82" fmla="*/ 4024568 h 4169030"/>
                <a:gd name="connsiteX83" fmla="*/ 4017962 w 5899150"/>
                <a:gd name="connsiteY83" fmla="*/ 4024568 h 4169030"/>
                <a:gd name="connsiteX84" fmla="*/ 4017962 w 5899150"/>
                <a:gd name="connsiteY84" fmla="*/ 1619253 h 4169030"/>
                <a:gd name="connsiteX85" fmla="*/ 4009630 w 5899150"/>
                <a:gd name="connsiteY85" fmla="*/ 1614733 h 4169030"/>
                <a:gd name="connsiteX86" fmla="*/ 3894584 w 5899150"/>
                <a:gd name="connsiteY86" fmla="*/ 1551469 h 4169030"/>
                <a:gd name="connsiteX87" fmla="*/ 3887787 w 5899150"/>
                <a:gd name="connsiteY87" fmla="*/ 1554608 h 4169030"/>
                <a:gd name="connsiteX88" fmla="*/ 3887787 w 5899150"/>
                <a:gd name="connsiteY88" fmla="*/ 4069018 h 4169030"/>
                <a:gd name="connsiteX89" fmla="*/ 3798887 w 5899150"/>
                <a:gd name="connsiteY89" fmla="*/ 4069018 h 4169030"/>
                <a:gd name="connsiteX90" fmla="*/ 3798887 w 5899150"/>
                <a:gd name="connsiteY90" fmla="*/ 2296407 h 4169030"/>
                <a:gd name="connsiteX91" fmla="*/ 3771415 w 5899150"/>
                <a:gd name="connsiteY91" fmla="*/ 2277758 h 4169030"/>
                <a:gd name="connsiteX92" fmla="*/ 3730624 w 5899150"/>
                <a:gd name="connsiteY92" fmla="*/ 2267659 h 4169030"/>
                <a:gd name="connsiteX93" fmla="*/ 3575843 w 5899150"/>
                <a:gd name="connsiteY93" fmla="*/ 2189418 h 4169030"/>
                <a:gd name="connsiteX94" fmla="*/ 3503612 w 5899150"/>
                <a:gd name="connsiteY94" fmla="*/ 2223436 h 4169030"/>
                <a:gd name="connsiteX95" fmla="*/ 3593041 w 5899150"/>
                <a:gd name="connsiteY95" fmla="*/ 2172409 h 4169030"/>
                <a:gd name="connsiteX96" fmla="*/ 3723745 w 5899150"/>
                <a:gd name="connsiteY96" fmla="*/ 2250650 h 4169030"/>
                <a:gd name="connsiteX97" fmla="*/ 3790387 w 5899150"/>
                <a:gd name="connsiteY97" fmla="*/ 2267659 h 4169030"/>
                <a:gd name="connsiteX98" fmla="*/ 3798887 w 5899150"/>
                <a:gd name="connsiteY98" fmla="*/ 2270909 h 4169030"/>
                <a:gd name="connsiteX99" fmla="*/ 2706687 w 5899150"/>
                <a:gd name="connsiteY99" fmla="*/ 0 h 4169030"/>
                <a:gd name="connsiteX100" fmla="*/ 2849562 w 5899150"/>
                <a:gd name="connsiteY100" fmla="*/ 0 h 4169030"/>
                <a:gd name="connsiteX101" fmla="*/ 2849562 w 5899150"/>
                <a:gd name="connsiteY101" fmla="*/ 2624099 h 4169030"/>
                <a:gd name="connsiteX102" fmla="*/ 2865098 w 5899150"/>
                <a:gd name="connsiteY102" fmla="*/ 2623913 h 4169030"/>
                <a:gd name="connsiteX103" fmla="*/ 2946590 w 5899150"/>
                <a:gd name="connsiteY103" fmla="*/ 2610370 h 4169030"/>
                <a:gd name="connsiteX104" fmla="*/ 3008312 w 5899150"/>
                <a:gd name="connsiteY104" fmla="*/ 2565655 h 4169030"/>
                <a:gd name="connsiteX105" fmla="*/ 3008312 w 5899150"/>
                <a:gd name="connsiteY105" fmla="*/ 2572534 h 4169030"/>
                <a:gd name="connsiteX106" fmla="*/ 2943161 w 5899150"/>
                <a:gd name="connsiteY106" fmla="*/ 2627568 h 4169030"/>
                <a:gd name="connsiteX107" fmla="*/ 2870831 w 5899150"/>
                <a:gd name="connsiteY107" fmla="*/ 2636758 h 4169030"/>
                <a:gd name="connsiteX108" fmla="*/ 2849562 w 5899150"/>
                <a:gd name="connsiteY108" fmla="*/ 2643950 h 4169030"/>
                <a:gd name="connsiteX109" fmla="*/ 2849562 w 5899150"/>
                <a:gd name="connsiteY109" fmla="*/ 4024568 h 4169030"/>
                <a:gd name="connsiteX110" fmla="*/ 2706687 w 5899150"/>
                <a:gd name="connsiteY110" fmla="*/ 4024568 h 4169030"/>
                <a:gd name="connsiteX111" fmla="*/ 2363787 w 5899150"/>
                <a:gd name="connsiteY111" fmla="*/ 0 h 4169030"/>
                <a:gd name="connsiteX112" fmla="*/ 2597149 w 5899150"/>
                <a:gd name="connsiteY112" fmla="*/ 0 h 4169030"/>
                <a:gd name="connsiteX113" fmla="*/ 2597149 w 5899150"/>
                <a:gd name="connsiteY113" fmla="*/ 4024568 h 4169030"/>
                <a:gd name="connsiteX114" fmla="*/ 2363787 w 5899150"/>
                <a:gd name="connsiteY114" fmla="*/ 4024568 h 4169030"/>
                <a:gd name="connsiteX115" fmla="*/ 1065212 w 5899150"/>
                <a:gd name="connsiteY115" fmla="*/ 0 h 4169030"/>
                <a:gd name="connsiteX116" fmla="*/ 1103312 w 5899150"/>
                <a:gd name="connsiteY116" fmla="*/ 0 h 4169030"/>
                <a:gd name="connsiteX117" fmla="*/ 1103312 w 5899150"/>
                <a:gd name="connsiteY117" fmla="*/ 2351515 h 4169030"/>
                <a:gd name="connsiteX118" fmla="*/ 1129517 w 5899150"/>
                <a:gd name="connsiteY118" fmla="*/ 2333902 h 4169030"/>
                <a:gd name="connsiteX119" fmla="*/ 1188596 w 5899150"/>
                <a:gd name="connsiteY119" fmla="*/ 2309000 h 4169030"/>
                <a:gd name="connsiteX120" fmla="*/ 1332441 w 5899150"/>
                <a:gd name="connsiteY120" fmla="*/ 2398304 h 4169030"/>
                <a:gd name="connsiteX121" fmla="*/ 1366155 w 5899150"/>
                <a:gd name="connsiteY121" fmla="*/ 2402759 h 4169030"/>
                <a:gd name="connsiteX122" fmla="*/ 1373187 w 5899150"/>
                <a:gd name="connsiteY122" fmla="*/ 2405026 h 4169030"/>
                <a:gd name="connsiteX123" fmla="*/ 1373187 w 5899150"/>
                <a:gd name="connsiteY123" fmla="*/ 1625601 h 4169030"/>
                <a:gd name="connsiteX124" fmla="*/ 1340907 w 5899150"/>
                <a:gd name="connsiteY124" fmla="*/ 1641100 h 4169030"/>
                <a:gd name="connsiteX125" fmla="*/ 1270000 w 5899150"/>
                <a:gd name="connsiteY125" fmla="*/ 1675677 h 4169030"/>
                <a:gd name="connsiteX126" fmla="*/ 1338602 w 5899150"/>
                <a:gd name="connsiteY126" fmla="*/ 1627441 h 4169030"/>
                <a:gd name="connsiteX127" fmla="*/ 1373187 w 5899150"/>
                <a:gd name="connsiteY127" fmla="*/ 1607193 h 4169030"/>
                <a:gd name="connsiteX128" fmla="*/ 1373187 w 5899150"/>
                <a:gd name="connsiteY128" fmla="*/ 0 h 4169030"/>
                <a:gd name="connsiteX129" fmla="*/ 1514474 w 5899150"/>
                <a:gd name="connsiteY129" fmla="*/ 0 h 4169030"/>
                <a:gd name="connsiteX130" fmla="*/ 1514474 w 5899150"/>
                <a:gd name="connsiteY130" fmla="*/ 1648865 h 4169030"/>
                <a:gd name="connsiteX131" fmla="*/ 1531976 w 5899150"/>
                <a:gd name="connsiteY131" fmla="*/ 1662017 h 4169030"/>
                <a:gd name="connsiteX132" fmla="*/ 1654174 w 5899150"/>
                <a:gd name="connsiteY132" fmla="*/ 1726902 h 4169030"/>
                <a:gd name="connsiteX133" fmla="*/ 1770799 w 5899150"/>
                <a:gd name="connsiteY133" fmla="*/ 1754648 h 4169030"/>
                <a:gd name="connsiteX134" fmla="*/ 1801812 w 5899150"/>
                <a:gd name="connsiteY134" fmla="*/ 1766756 h 4169030"/>
                <a:gd name="connsiteX135" fmla="*/ 1801812 w 5899150"/>
                <a:gd name="connsiteY135" fmla="*/ 582868 h 4169030"/>
                <a:gd name="connsiteX136" fmla="*/ 1952350 w 5899150"/>
                <a:gd name="connsiteY136" fmla="*/ 1535089 h 4169030"/>
                <a:gd name="connsiteX137" fmla="*/ 1952350 w 5899150"/>
                <a:gd name="connsiteY137" fmla="*/ 2894914 h 4169030"/>
                <a:gd name="connsiteX138" fmla="*/ 1952350 w 5899150"/>
                <a:gd name="connsiteY138" fmla="*/ 3391576 h 4169030"/>
                <a:gd name="connsiteX139" fmla="*/ 2000249 w 5899150"/>
                <a:gd name="connsiteY139" fmla="*/ 4124580 h 4169030"/>
                <a:gd name="connsiteX140" fmla="*/ 1801812 w 5899150"/>
                <a:gd name="connsiteY140" fmla="*/ 4124580 h 4169030"/>
                <a:gd name="connsiteX141" fmla="*/ 1801812 w 5899150"/>
                <a:gd name="connsiteY141" fmla="*/ 1819703 h 4169030"/>
                <a:gd name="connsiteX142" fmla="*/ 1794810 w 5899150"/>
                <a:gd name="connsiteY142" fmla="*/ 1812275 h 4169030"/>
                <a:gd name="connsiteX143" fmla="*/ 1671326 w 5899150"/>
                <a:gd name="connsiteY143" fmla="*/ 1754221 h 4169030"/>
                <a:gd name="connsiteX144" fmla="*/ 1527689 w 5899150"/>
                <a:gd name="connsiteY144" fmla="*/ 1670127 h 4169030"/>
                <a:gd name="connsiteX145" fmla="*/ 1514474 w 5899150"/>
                <a:gd name="connsiteY145" fmla="*/ 1659196 h 4169030"/>
                <a:gd name="connsiteX146" fmla="*/ 1514474 w 5899150"/>
                <a:gd name="connsiteY146" fmla="*/ 4124580 h 4169030"/>
                <a:gd name="connsiteX147" fmla="*/ 1373187 w 5899150"/>
                <a:gd name="connsiteY147" fmla="*/ 4124580 h 4169030"/>
                <a:gd name="connsiteX148" fmla="*/ 1373187 w 5899150"/>
                <a:gd name="connsiteY148" fmla="*/ 2423717 h 4169030"/>
                <a:gd name="connsiteX149" fmla="*/ 1342716 w 5899150"/>
                <a:gd name="connsiteY149" fmla="*/ 2415478 h 4169030"/>
                <a:gd name="connsiteX150" fmla="*/ 1168047 w 5899150"/>
                <a:gd name="connsiteY150" fmla="*/ 2326174 h 4169030"/>
                <a:gd name="connsiteX151" fmla="*/ 1106399 w 5899150"/>
                <a:gd name="connsiteY151" fmla="*/ 2354081 h 4169030"/>
                <a:gd name="connsiteX152" fmla="*/ 1103312 w 5899150"/>
                <a:gd name="connsiteY152" fmla="*/ 2355565 h 4169030"/>
                <a:gd name="connsiteX153" fmla="*/ 1103312 w 5899150"/>
                <a:gd name="connsiteY153" fmla="*/ 4165855 h 4169030"/>
                <a:gd name="connsiteX154" fmla="*/ 1065212 w 5899150"/>
                <a:gd name="connsiteY154" fmla="*/ 4165855 h 4169030"/>
                <a:gd name="connsiteX155" fmla="*/ 887412 w 5899150"/>
                <a:gd name="connsiteY155" fmla="*/ 0 h 4169030"/>
                <a:gd name="connsiteX156" fmla="*/ 969962 w 5899150"/>
                <a:gd name="connsiteY156" fmla="*/ 0 h 4169030"/>
                <a:gd name="connsiteX157" fmla="*/ 969962 w 5899150"/>
                <a:gd name="connsiteY157" fmla="*/ 4165855 h 4169030"/>
                <a:gd name="connsiteX158" fmla="*/ 887412 w 5899150"/>
                <a:gd name="connsiteY158" fmla="*/ 4165855 h 4169030"/>
                <a:gd name="connsiteX159" fmla="*/ 630237 w 5899150"/>
                <a:gd name="connsiteY159" fmla="*/ 0 h 4169030"/>
                <a:gd name="connsiteX160" fmla="*/ 774699 w 5899150"/>
                <a:gd name="connsiteY160" fmla="*/ 0 h 4169030"/>
                <a:gd name="connsiteX161" fmla="*/ 774699 w 5899150"/>
                <a:gd name="connsiteY161" fmla="*/ 4124580 h 4169030"/>
                <a:gd name="connsiteX162" fmla="*/ 630237 w 5899150"/>
                <a:gd name="connsiteY162" fmla="*/ 4124580 h 416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5899150" h="4169030">
                  <a:moveTo>
                    <a:pt x="4950105" y="2048130"/>
                  </a:moveTo>
                  <a:cubicBezTo>
                    <a:pt x="5005387" y="2329034"/>
                    <a:pt x="4950105" y="3740405"/>
                    <a:pt x="4950105" y="3740405"/>
                  </a:cubicBezTo>
                  <a:cubicBezTo>
                    <a:pt x="4946650" y="3689020"/>
                    <a:pt x="4950105" y="2048130"/>
                    <a:pt x="4950105" y="2048130"/>
                  </a:cubicBezTo>
                  <a:close/>
                  <a:moveTo>
                    <a:pt x="2024528" y="1949705"/>
                  </a:moveTo>
                  <a:cubicBezTo>
                    <a:pt x="2024528" y="1949705"/>
                    <a:pt x="2038349" y="2938966"/>
                    <a:pt x="2024528" y="3000581"/>
                  </a:cubicBezTo>
                  <a:cubicBezTo>
                    <a:pt x="2014163" y="3062196"/>
                    <a:pt x="2000342" y="3592768"/>
                    <a:pt x="2000342" y="3592768"/>
                  </a:cubicBezTo>
                  <a:cubicBezTo>
                    <a:pt x="2000342" y="3592768"/>
                    <a:pt x="1979612" y="3205964"/>
                    <a:pt x="1979612" y="3123811"/>
                  </a:cubicBezTo>
                  <a:cubicBezTo>
                    <a:pt x="1979612" y="3041657"/>
                    <a:pt x="1996887" y="2627469"/>
                    <a:pt x="2000342" y="2528200"/>
                  </a:cubicBezTo>
                  <a:cubicBezTo>
                    <a:pt x="2007253" y="2428932"/>
                    <a:pt x="2024528" y="1949705"/>
                    <a:pt x="2024528" y="1949705"/>
                  </a:cubicBezTo>
                  <a:close/>
                  <a:moveTo>
                    <a:pt x="157535" y="1541717"/>
                  </a:moveTo>
                  <a:cubicBezTo>
                    <a:pt x="157535" y="1541717"/>
                    <a:pt x="207962" y="1630795"/>
                    <a:pt x="184429" y="1716447"/>
                  </a:cubicBezTo>
                  <a:cubicBezTo>
                    <a:pt x="157535" y="1802099"/>
                    <a:pt x="184429" y="2521577"/>
                    <a:pt x="154174" y="2884742"/>
                  </a:cubicBezTo>
                  <a:cubicBezTo>
                    <a:pt x="154174" y="2884742"/>
                    <a:pt x="157535" y="2425647"/>
                    <a:pt x="154174" y="2353699"/>
                  </a:cubicBezTo>
                  <a:cubicBezTo>
                    <a:pt x="150812" y="2281751"/>
                    <a:pt x="150812" y="1966552"/>
                    <a:pt x="154174" y="1884325"/>
                  </a:cubicBezTo>
                  <a:cubicBezTo>
                    <a:pt x="157535" y="1802099"/>
                    <a:pt x="157535" y="1541717"/>
                    <a:pt x="157535" y="1541717"/>
                  </a:cubicBezTo>
                  <a:close/>
                  <a:moveTo>
                    <a:pt x="99236" y="1144845"/>
                  </a:moveTo>
                  <a:cubicBezTo>
                    <a:pt x="99236" y="1144845"/>
                    <a:pt x="133455" y="1706528"/>
                    <a:pt x="112924" y="1805849"/>
                  </a:cubicBezTo>
                  <a:cubicBezTo>
                    <a:pt x="92392" y="1905170"/>
                    <a:pt x="106080" y="3364178"/>
                    <a:pt x="106080" y="3405277"/>
                  </a:cubicBezTo>
                  <a:cubicBezTo>
                    <a:pt x="106080" y="3446376"/>
                    <a:pt x="153987" y="2984014"/>
                    <a:pt x="153987" y="2984014"/>
                  </a:cubicBezTo>
                  <a:cubicBezTo>
                    <a:pt x="153987" y="2984014"/>
                    <a:pt x="153987" y="2984014"/>
                    <a:pt x="153987" y="4169030"/>
                  </a:cubicBezTo>
                  <a:cubicBezTo>
                    <a:pt x="153987" y="4169030"/>
                    <a:pt x="153987" y="4169030"/>
                    <a:pt x="0" y="4169030"/>
                  </a:cubicBezTo>
                  <a:cubicBezTo>
                    <a:pt x="0" y="4169030"/>
                    <a:pt x="0" y="4169030"/>
                    <a:pt x="0" y="1312665"/>
                  </a:cubicBezTo>
                  <a:close/>
                  <a:moveTo>
                    <a:pt x="5899150" y="914655"/>
                  </a:moveTo>
                  <a:lnTo>
                    <a:pt x="5899150" y="1041655"/>
                  </a:lnTo>
                  <a:lnTo>
                    <a:pt x="5899150" y="3846767"/>
                  </a:lnTo>
                  <a:lnTo>
                    <a:pt x="5867400" y="3846767"/>
                  </a:lnTo>
                  <a:lnTo>
                    <a:pt x="5867400" y="1048005"/>
                  </a:lnTo>
                  <a:close/>
                  <a:moveTo>
                    <a:pt x="5651500" y="636843"/>
                  </a:moveTo>
                  <a:cubicBezTo>
                    <a:pt x="5651500" y="636843"/>
                    <a:pt x="5781613" y="736190"/>
                    <a:pt x="5778189" y="914329"/>
                  </a:cubicBezTo>
                  <a:cubicBezTo>
                    <a:pt x="5774765" y="1092468"/>
                    <a:pt x="5788461" y="1373379"/>
                    <a:pt x="5805581" y="1479577"/>
                  </a:cubicBezTo>
                  <a:cubicBezTo>
                    <a:pt x="5826125" y="1582349"/>
                    <a:pt x="5785037" y="1777617"/>
                    <a:pt x="5778189" y="1948904"/>
                  </a:cubicBezTo>
                  <a:cubicBezTo>
                    <a:pt x="5771341" y="2116765"/>
                    <a:pt x="5798733" y="2370271"/>
                    <a:pt x="5812429" y="2548410"/>
                  </a:cubicBezTo>
                  <a:cubicBezTo>
                    <a:pt x="5826125" y="2726549"/>
                    <a:pt x="5812429" y="3846768"/>
                    <a:pt x="5812429" y="3846768"/>
                  </a:cubicBezTo>
                  <a:lnTo>
                    <a:pt x="5651500" y="3846768"/>
                  </a:lnTo>
                  <a:cubicBezTo>
                    <a:pt x="5651500" y="636843"/>
                    <a:pt x="5651500" y="636843"/>
                    <a:pt x="5651500" y="636843"/>
                  </a:cubicBezTo>
                  <a:close/>
                  <a:moveTo>
                    <a:pt x="3798887" y="0"/>
                  </a:moveTo>
                  <a:lnTo>
                    <a:pt x="3887787" y="0"/>
                  </a:lnTo>
                  <a:lnTo>
                    <a:pt x="3887787" y="1541995"/>
                  </a:lnTo>
                  <a:lnTo>
                    <a:pt x="3892017" y="1539449"/>
                  </a:lnTo>
                  <a:cubicBezTo>
                    <a:pt x="3901002" y="1534942"/>
                    <a:pt x="3908276" y="1532581"/>
                    <a:pt x="3911699" y="1534298"/>
                  </a:cubicBezTo>
                  <a:cubicBezTo>
                    <a:pt x="3924535" y="1539449"/>
                    <a:pt x="3973955" y="1583235"/>
                    <a:pt x="4010860" y="1603357"/>
                  </a:cubicBezTo>
                  <a:lnTo>
                    <a:pt x="4017962" y="1605637"/>
                  </a:lnTo>
                  <a:lnTo>
                    <a:pt x="4017962" y="0"/>
                  </a:lnTo>
                  <a:lnTo>
                    <a:pt x="4179887" y="0"/>
                  </a:lnTo>
                  <a:lnTo>
                    <a:pt x="4179887" y="1881563"/>
                  </a:lnTo>
                  <a:lnTo>
                    <a:pt x="4188820" y="1882372"/>
                  </a:lnTo>
                  <a:cubicBezTo>
                    <a:pt x="4213549" y="1885087"/>
                    <a:pt x="4250803" y="1888281"/>
                    <a:pt x="4268788" y="1870396"/>
                  </a:cubicBezTo>
                  <a:lnTo>
                    <a:pt x="4298950" y="1847301"/>
                  </a:lnTo>
                  <a:lnTo>
                    <a:pt x="4298950" y="0"/>
                  </a:lnTo>
                  <a:lnTo>
                    <a:pt x="4384675" y="0"/>
                  </a:lnTo>
                  <a:lnTo>
                    <a:pt x="4384675" y="2129601"/>
                  </a:lnTo>
                  <a:lnTo>
                    <a:pt x="4386873" y="2131428"/>
                  </a:lnTo>
                  <a:cubicBezTo>
                    <a:pt x="4402260" y="2145579"/>
                    <a:pt x="4419783" y="2163374"/>
                    <a:pt x="4437734" y="2184922"/>
                  </a:cubicBezTo>
                  <a:lnTo>
                    <a:pt x="4487862" y="2256236"/>
                  </a:lnTo>
                  <a:lnTo>
                    <a:pt x="4487862" y="0"/>
                  </a:lnTo>
                  <a:lnTo>
                    <a:pt x="4627562" y="0"/>
                  </a:lnTo>
                  <a:lnTo>
                    <a:pt x="4627562" y="2367529"/>
                  </a:lnTo>
                  <a:lnTo>
                    <a:pt x="4660412" y="2382977"/>
                  </a:lnTo>
                  <a:cubicBezTo>
                    <a:pt x="4679217" y="2392358"/>
                    <a:pt x="4696313" y="2402435"/>
                    <a:pt x="4709990" y="2415299"/>
                  </a:cubicBezTo>
                  <a:cubicBezTo>
                    <a:pt x="4723667" y="2428163"/>
                    <a:pt x="4737558" y="2444887"/>
                    <a:pt x="4750700" y="2462736"/>
                  </a:cubicBezTo>
                  <a:lnTo>
                    <a:pt x="4775200" y="2499388"/>
                  </a:lnTo>
                  <a:lnTo>
                    <a:pt x="4775200" y="0"/>
                  </a:lnTo>
                  <a:lnTo>
                    <a:pt x="4902200" y="0"/>
                  </a:lnTo>
                  <a:lnTo>
                    <a:pt x="4902200" y="3994405"/>
                  </a:lnTo>
                  <a:lnTo>
                    <a:pt x="4775200" y="3994405"/>
                  </a:lnTo>
                  <a:lnTo>
                    <a:pt x="4775200" y="2685763"/>
                  </a:lnTo>
                  <a:lnTo>
                    <a:pt x="4774956" y="2686305"/>
                  </a:lnTo>
                  <a:cubicBezTo>
                    <a:pt x="4774956" y="2686305"/>
                    <a:pt x="4751395" y="2528718"/>
                    <a:pt x="4658462" y="2441061"/>
                  </a:cubicBezTo>
                  <a:lnTo>
                    <a:pt x="4627562" y="2418260"/>
                  </a:lnTo>
                  <a:lnTo>
                    <a:pt x="4627562" y="4107118"/>
                  </a:lnTo>
                  <a:lnTo>
                    <a:pt x="4487862" y="4107118"/>
                  </a:lnTo>
                  <a:lnTo>
                    <a:pt x="4487862" y="2285838"/>
                  </a:lnTo>
                  <a:lnTo>
                    <a:pt x="4452266" y="2240774"/>
                  </a:lnTo>
                  <a:cubicBezTo>
                    <a:pt x="4429827" y="2209686"/>
                    <a:pt x="4409205" y="2179991"/>
                    <a:pt x="4389705" y="2156138"/>
                  </a:cubicBezTo>
                  <a:lnTo>
                    <a:pt x="4384675" y="2150695"/>
                  </a:lnTo>
                  <a:lnTo>
                    <a:pt x="4384675" y="3846768"/>
                  </a:lnTo>
                  <a:lnTo>
                    <a:pt x="4298950" y="3846768"/>
                  </a:lnTo>
                  <a:lnTo>
                    <a:pt x="4298950" y="1858615"/>
                  </a:lnTo>
                  <a:lnTo>
                    <a:pt x="4280403" y="1873164"/>
                  </a:lnTo>
                  <a:cubicBezTo>
                    <a:pt x="4273498" y="1878913"/>
                    <a:pt x="4267931" y="1884022"/>
                    <a:pt x="4265362" y="1887429"/>
                  </a:cubicBezTo>
                  <a:cubicBezTo>
                    <a:pt x="4257654" y="1897648"/>
                    <a:pt x="4222970" y="1890623"/>
                    <a:pt x="4195992" y="1895094"/>
                  </a:cubicBezTo>
                  <a:lnTo>
                    <a:pt x="4179887" y="1901618"/>
                  </a:lnTo>
                  <a:lnTo>
                    <a:pt x="4179887" y="4024568"/>
                  </a:lnTo>
                  <a:lnTo>
                    <a:pt x="4017962" y="4024568"/>
                  </a:lnTo>
                  <a:lnTo>
                    <a:pt x="4017962" y="1619253"/>
                  </a:lnTo>
                  <a:lnTo>
                    <a:pt x="4009630" y="1614733"/>
                  </a:lnTo>
                  <a:cubicBezTo>
                    <a:pt x="3968393" y="1586884"/>
                    <a:pt x="3930525" y="1533439"/>
                    <a:pt x="3894584" y="1551469"/>
                  </a:cubicBezTo>
                  <a:lnTo>
                    <a:pt x="3887787" y="1554608"/>
                  </a:lnTo>
                  <a:lnTo>
                    <a:pt x="3887787" y="4069018"/>
                  </a:lnTo>
                  <a:lnTo>
                    <a:pt x="3798887" y="4069018"/>
                  </a:lnTo>
                  <a:lnTo>
                    <a:pt x="3798887" y="2296407"/>
                  </a:lnTo>
                  <a:lnTo>
                    <a:pt x="3771415" y="2277758"/>
                  </a:lnTo>
                  <a:cubicBezTo>
                    <a:pt x="3759001" y="2271699"/>
                    <a:pt x="3745242" y="2267659"/>
                    <a:pt x="3730624" y="2267659"/>
                  </a:cubicBezTo>
                  <a:cubicBezTo>
                    <a:pt x="3675591" y="2267659"/>
                    <a:pt x="3623997" y="2165605"/>
                    <a:pt x="3575843" y="2189418"/>
                  </a:cubicBezTo>
                  <a:cubicBezTo>
                    <a:pt x="3527689" y="2209828"/>
                    <a:pt x="3503612" y="2223436"/>
                    <a:pt x="3503612" y="2223436"/>
                  </a:cubicBezTo>
                  <a:cubicBezTo>
                    <a:pt x="3503612" y="2223436"/>
                    <a:pt x="3575843" y="2165605"/>
                    <a:pt x="3593041" y="2172409"/>
                  </a:cubicBezTo>
                  <a:cubicBezTo>
                    <a:pt x="3610239" y="2179212"/>
                    <a:pt x="3692789" y="2254052"/>
                    <a:pt x="3723745" y="2250650"/>
                  </a:cubicBezTo>
                  <a:cubicBezTo>
                    <a:pt x="3739223" y="2250650"/>
                    <a:pt x="3766740" y="2259155"/>
                    <a:pt x="3790387" y="2267659"/>
                  </a:cubicBezTo>
                  <a:lnTo>
                    <a:pt x="3798887" y="2270909"/>
                  </a:lnTo>
                  <a:close/>
                  <a:moveTo>
                    <a:pt x="2706687" y="0"/>
                  </a:moveTo>
                  <a:lnTo>
                    <a:pt x="2849562" y="0"/>
                  </a:lnTo>
                  <a:lnTo>
                    <a:pt x="2849562" y="2624099"/>
                  </a:lnTo>
                  <a:lnTo>
                    <a:pt x="2865098" y="2623913"/>
                  </a:lnTo>
                  <a:cubicBezTo>
                    <a:pt x="2889369" y="2625203"/>
                    <a:pt x="2928588" y="2628428"/>
                    <a:pt x="2946590" y="2610370"/>
                  </a:cubicBezTo>
                  <a:cubicBezTo>
                    <a:pt x="2970593" y="2589732"/>
                    <a:pt x="3008312" y="2565655"/>
                    <a:pt x="3008312" y="2565655"/>
                  </a:cubicBezTo>
                  <a:cubicBezTo>
                    <a:pt x="3008312" y="2572534"/>
                    <a:pt x="3008312" y="2572534"/>
                    <a:pt x="3008312" y="2572534"/>
                  </a:cubicBezTo>
                  <a:cubicBezTo>
                    <a:pt x="3008312" y="2572534"/>
                    <a:pt x="2953448" y="2613809"/>
                    <a:pt x="2943161" y="2627568"/>
                  </a:cubicBezTo>
                  <a:cubicBezTo>
                    <a:pt x="2935446" y="2637886"/>
                    <a:pt x="2898798" y="2632727"/>
                    <a:pt x="2870831" y="2636758"/>
                  </a:cubicBezTo>
                  <a:lnTo>
                    <a:pt x="2849562" y="2643950"/>
                  </a:lnTo>
                  <a:lnTo>
                    <a:pt x="2849562" y="4024568"/>
                  </a:lnTo>
                  <a:lnTo>
                    <a:pt x="2706687" y="4024568"/>
                  </a:lnTo>
                  <a:close/>
                  <a:moveTo>
                    <a:pt x="2363787" y="0"/>
                  </a:moveTo>
                  <a:lnTo>
                    <a:pt x="2597149" y="0"/>
                  </a:lnTo>
                  <a:lnTo>
                    <a:pt x="2597149" y="4024568"/>
                  </a:lnTo>
                  <a:lnTo>
                    <a:pt x="2363787" y="4024568"/>
                  </a:lnTo>
                  <a:close/>
                  <a:moveTo>
                    <a:pt x="1065212" y="0"/>
                  </a:moveTo>
                  <a:lnTo>
                    <a:pt x="1103312" y="0"/>
                  </a:lnTo>
                  <a:lnTo>
                    <a:pt x="1103312" y="2351515"/>
                  </a:lnTo>
                  <a:lnTo>
                    <a:pt x="1129517" y="2333902"/>
                  </a:lnTo>
                  <a:cubicBezTo>
                    <a:pt x="1152635" y="2319304"/>
                    <a:pt x="1178322" y="2305565"/>
                    <a:pt x="1188596" y="2309000"/>
                  </a:cubicBezTo>
                  <a:cubicBezTo>
                    <a:pt x="1205721" y="2315869"/>
                    <a:pt x="1298192" y="2401739"/>
                    <a:pt x="1332441" y="2398304"/>
                  </a:cubicBezTo>
                  <a:cubicBezTo>
                    <a:pt x="1341003" y="2397445"/>
                    <a:pt x="1352990" y="2399377"/>
                    <a:pt x="1366155" y="2402759"/>
                  </a:cubicBezTo>
                  <a:lnTo>
                    <a:pt x="1373187" y="2405026"/>
                  </a:lnTo>
                  <a:lnTo>
                    <a:pt x="1373187" y="1625601"/>
                  </a:lnTo>
                  <a:lnTo>
                    <a:pt x="1340907" y="1641100"/>
                  </a:lnTo>
                  <a:cubicBezTo>
                    <a:pt x="1293153" y="1664152"/>
                    <a:pt x="1270000" y="1675677"/>
                    <a:pt x="1270000" y="1675677"/>
                  </a:cubicBezTo>
                  <a:cubicBezTo>
                    <a:pt x="1270000" y="1675677"/>
                    <a:pt x="1302586" y="1650918"/>
                    <a:pt x="1338602" y="1627441"/>
                  </a:cubicBezTo>
                  <a:lnTo>
                    <a:pt x="1373187" y="1607193"/>
                  </a:lnTo>
                  <a:lnTo>
                    <a:pt x="1373187" y="0"/>
                  </a:lnTo>
                  <a:lnTo>
                    <a:pt x="1514474" y="0"/>
                  </a:lnTo>
                  <a:lnTo>
                    <a:pt x="1514474" y="1648865"/>
                  </a:lnTo>
                  <a:lnTo>
                    <a:pt x="1531976" y="1662017"/>
                  </a:lnTo>
                  <a:cubicBezTo>
                    <a:pt x="1578711" y="1696167"/>
                    <a:pt x="1628448" y="1728609"/>
                    <a:pt x="1654174" y="1726902"/>
                  </a:cubicBezTo>
                  <a:cubicBezTo>
                    <a:pt x="1681616" y="1725194"/>
                    <a:pt x="1729637" y="1739708"/>
                    <a:pt x="1770799" y="1754648"/>
                  </a:cubicBezTo>
                  <a:lnTo>
                    <a:pt x="1801812" y="1766756"/>
                  </a:lnTo>
                  <a:lnTo>
                    <a:pt x="1801812" y="582868"/>
                  </a:lnTo>
                  <a:cubicBezTo>
                    <a:pt x="1801812" y="582868"/>
                    <a:pt x="1938665" y="969922"/>
                    <a:pt x="1952350" y="1535089"/>
                  </a:cubicBezTo>
                  <a:cubicBezTo>
                    <a:pt x="1966035" y="2100255"/>
                    <a:pt x="1969457" y="2614043"/>
                    <a:pt x="1952350" y="2894914"/>
                  </a:cubicBezTo>
                  <a:cubicBezTo>
                    <a:pt x="1935244" y="3175785"/>
                    <a:pt x="1952350" y="3391576"/>
                    <a:pt x="1952350" y="3391576"/>
                  </a:cubicBezTo>
                  <a:cubicBezTo>
                    <a:pt x="2000249" y="4124580"/>
                    <a:pt x="2000249" y="4124580"/>
                    <a:pt x="2000249" y="4124580"/>
                  </a:cubicBezTo>
                  <a:cubicBezTo>
                    <a:pt x="1801812" y="4124580"/>
                    <a:pt x="1801812" y="4124580"/>
                    <a:pt x="1801812" y="4124580"/>
                  </a:cubicBezTo>
                  <a:lnTo>
                    <a:pt x="1801812" y="1819703"/>
                  </a:lnTo>
                  <a:lnTo>
                    <a:pt x="1794810" y="1812275"/>
                  </a:lnTo>
                  <a:cubicBezTo>
                    <a:pt x="1763081" y="1783249"/>
                    <a:pt x="1719347" y="1754221"/>
                    <a:pt x="1671326" y="1754221"/>
                  </a:cubicBezTo>
                  <a:cubicBezTo>
                    <a:pt x="1621588" y="1754221"/>
                    <a:pt x="1573566" y="1709827"/>
                    <a:pt x="1527689" y="1670127"/>
                  </a:cubicBezTo>
                  <a:lnTo>
                    <a:pt x="1514474" y="1659196"/>
                  </a:lnTo>
                  <a:lnTo>
                    <a:pt x="1514474" y="4124580"/>
                  </a:lnTo>
                  <a:lnTo>
                    <a:pt x="1373187" y="4124580"/>
                  </a:lnTo>
                  <a:lnTo>
                    <a:pt x="1373187" y="2423717"/>
                  </a:lnTo>
                  <a:lnTo>
                    <a:pt x="1342716" y="2415478"/>
                  </a:lnTo>
                  <a:cubicBezTo>
                    <a:pt x="1277643" y="2415478"/>
                    <a:pt x="1219420" y="2302130"/>
                    <a:pt x="1168047" y="2326174"/>
                  </a:cubicBezTo>
                  <a:cubicBezTo>
                    <a:pt x="1140648" y="2338195"/>
                    <a:pt x="1120099" y="2347641"/>
                    <a:pt x="1106399" y="2354081"/>
                  </a:cubicBezTo>
                  <a:lnTo>
                    <a:pt x="1103312" y="2355565"/>
                  </a:lnTo>
                  <a:lnTo>
                    <a:pt x="1103312" y="4165855"/>
                  </a:lnTo>
                  <a:lnTo>
                    <a:pt x="1065212" y="4165855"/>
                  </a:lnTo>
                  <a:close/>
                  <a:moveTo>
                    <a:pt x="887412" y="0"/>
                  </a:moveTo>
                  <a:lnTo>
                    <a:pt x="969962" y="0"/>
                  </a:lnTo>
                  <a:lnTo>
                    <a:pt x="969962" y="4165855"/>
                  </a:lnTo>
                  <a:lnTo>
                    <a:pt x="887412" y="4165855"/>
                  </a:lnTo>
                  <a:close/>
                  <a:moveTo>
                    <a:pt x="630237" y="0"/>
                  </a:moveTo>
                  <a:lnTo>
                    <a:pt x="774699" y="0"/>
                  </a:lnTo>
                  <a:lnTo>
                    <a:pt x="774699" y="4124580"/>
                  </a:lnTo>
                  <a:lnTo>
                    <a:pt x="630237" y="41245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A991C64-AE99-4298-A7C5-09C828B2B4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0585" y="174489"/>
              <a:ext cx="6558590" cy="4169030"/>
            </a:xfrm>
            <a:custGeom>
              <a:avLst/>
              <a:gdLst>
                <a:gd name="connsiteX0" fmla="*/ 6227763 w 6558590"/>
                <a:gd name="connsiteY0" fmla="*/ 1049761 h 4169030"/>
                <a:gd name="connsiteX1" fmla="*/ 6223594 w 6558590"/>
                <a:gd name="connsiteY1" fmla="*/ 1055033 h 4169030"/>
                <a:gd name="connsiteX2" fmla="*/ 5950451 w 6558590"/>
                <a:gd name="connsiteY2" fmla="*/ 1356784 h 4169030"/>
                <a:gd name="connsiteX3" fmla="*/ 5805396 w 6558590"/>
                <a:gd name="connsiteY3" fmla="*/ 1693902 h 4169030"/>
                <a:gd name="connsiteX4" fmla="*/ 5800725 w 6558590"/>
                <a:gd name="connsiteY4" fmla="*/ 1707222 h 4169030"/>
                <a:gd name="connsiteX5" fmla="*/ 5800725 w 6558590"/>
                <a:gd name="connsiteY5" fmla="*/ 2192694 h 4169030"/>
                <a:gd name="connsiteX6" fmla="*/ 5823025 w 6558590"/>
                <a:gd name="connsiteY6" fmla="*/ 2154828 h 4169030"/>
                <a:gd name="connsiteX7" fmla="*/ 5923598 w 6558590"/>
                <a:gd name="connsiteY7" fmla="*/ 2062303 h 4169030"/>
                <a:gd name="connsiteX8" fmla="*/ 6217885 w 6558590"/>
                <a:gd name="connsiteY8" fmla="*/ 1777873 h 4169030"/>
                <a:gd name="connsiteX9" fmla="*/ 6227763 w 6558590"/>
                <a:gd name="connsiteY9" fmla="*/ 1765285 h 4169030"/>
                <a:gd name="connsiteX10" fmla="*/ 5351463 w 6558590"/>
                <a:gd name="connsiteY10" fmla="*/ 0 h 4169030"/>
                <a:gd name="connsiteX11" fmla="*/ 5800725 w 6558590"/>
                <a:gd name="connsiteY11" fmla="*/ 0 h 4169030"/>
                <a:gd name="connsiteX12" fmla="*/ 5800725 w 6558590"/>
                <a:gd name="connsiteY12" fmla="*/ 1401330 h 4169030"/>
                <a:gd name="connsiteX13" fmla="*/ 5801342 w 6558590"/>
                <a:gd name="connsiteY13" fmla="*/ 1400286 h 4169030"/>
                <a:gd name="connsiteX14" fmla="*/ 5926472 w 6558590"/>
                <a:gd name="connsiteY14" fmla="*/ 1264234 h 4169030"/>
                <a:gd name="connsiteX15" fmla="*/ 6213584 w 6558590"/>
                <a:gd name="connsiteY15" fmla="*/ 936455 h 4169030"/>
                <a:gd name="connsiteX16" fmla="*/ 6227763 w 6558590"/>
                <a:gd name="connsiteY16" fmla="*/ 915195 h 4169030"/>
                <a:gd name="connsiteX17" fmla="*/ 6227763 w 6558590"/>
                <a:gd name="connsiteY17" fmla="*/ 0 h 4169030"/>
                <a:gd name="connsiteX18" fmla="*/ 6558590 w 6558590"/>
                <a:gd name="connsiteY18" fmla="*/ 0 h 4169030"/>
                <a:gd name="connsiteX19" fmla="*/ 6558590 w 6558590"/>
                <a:gd name="connsiteY19" fmla="*/ 3846768 h 4169030"/>
                <a:gd name="connsiteX20" fmla="*/ 6227763 w 6558590"/>
                <a:gd name="connsiteY20" fmla="*/ 3846768 h 4169030"/>
                <a:gd name="connsiteX21" fmla="*/ 6227763 w 6558590"/>
                <a:gd name="connsiteY21" fmla="*/ 1792988 h 4169030"/>
                <a:gd name="connsiteX22" fmla="*/ 6214911 w 6558590"/>
                <a:gd name="connsiteY22" fmla="*/ 1806734 h 4169030"/>
                <a:gd name="connsiteX23" fmla="*/ 5961239 w 6558590"/>
                <a:gd name="connsiteY23" fmla="*/ 2089718 h 4169030"/>
                <a:gd name="connsiteX24" fmla="*/ 5813240 w 6558590"/>
                <a:gd name="connsiteY24" fmla="*/ 2260633 h 4169030"/>
                <a:gd name="connsiteX25" fmla="*/ 5800725 w 6558590"/>
                <a:gd name="connsiteY25" fmla="*/ 2288129 h 4169030"/>
                <a:gd name="connsiteX26" fmla="*/ 5800725 w 6558590"/>
                <a:gd name="connsiteY26" fmla="*/ 3994405 h 4169030"/>
                <a:gd name="connsiteX27" fmla="*/ 5351463 w 6558590"/>
                <a:gd name="connsiteY27" fmla="*/ 3994405 h 4169030"/>
                <a:gd name="connsiteX28" fmla="*/ 2378075 w 6558590"/>
                <a:gd name="connsiteY28" fmla="*/ 0 h 4169030"/>
                <a:gd name="connsiteX29" fmla="*/ 2827337 w 6558590"/>
                <a:gd name="connsiteY29" fmla="*/ 0 h 4169030"/>
                <a:gd name="connsiteX30" fmla="*/ 2827337 w 6558590"/>
                <a:gd name="connsiteY30" fmla="*/ 1552865 h 4169030"/>
                <a:gd name="connsiteX31" fmla="*/ 2859702 w 6558590"/>
                <a:gd name="connsiteY31" fmla="*/ 1538624 h 4169030"/>
                <a:gd name="connsiteX32" fmla="*/ 2977112 w 6558590"/>
                <a:gd name="connsiteY32" fmla="*/ 1503868 h 4169030"/>
                <a:gd name="connsiteX33" fmla="*/ 3559542 w 6558590"/>
                <a:gd name="connsiteY33" fmla="*/ 911827 h 4169030"/>
                <a:gd name="connsiteX34" fmla="*/ 3912427 w 6558590"/>
                <a:gd name="connsiteY34" fmla="*/ 511429 h 4169030"/>
                <a:gd name="connsiteX35" fmla="*/ 3987800 w 6558590"/>
                <a:gd name="connsiteY35" fmla="*/ 531962 h 4169030"/>
                <a:gd name="connsiteX36" fmla="*/ 3682880 w 6558590"/>
                <a:gd name="connsiteY36" fmla="*/ 956315 h 4169030"/>
                <a:gd name="connsiteX37" fmla="*/ 3059337 w 6558590"/>
                <a:gd name="connsiteY37" fmla="*/ 1633911 h 4169030"/>
                <a:gd name="connsiteX38" fmla="*/ 2884394 w 6558590"/>
                <a:gd name="connsiteY38" fmla="*/ 1686956 h 4169030"/>
                <a:gd name="connsiteX39" fmla="*/ 2827337 w 6558590"/>
                <a:gd name="connsiteY39" fmla="*/ 1730610 h 4169030"/>
                <a:gd name="connsiteX40" fmla="*/ 2827337 w 6558590"/>
                <a:gd name="connsiteY40" fmla="*/ 2247465 h 4169030"/>
                <a:gd name="connsiteX41" fmla="*/ 2827893 w 6558590"/>
                <a:gd name="connsiteY41" fmla="*/ 2247099 h 4169030"/>
                <a:gd name="connsiteX42" fmla="*/ 2912764 w 6558590"/>
                <a:gd name="connsiteY42" fmla="*/ 2223122 h 4169030"/>
                <a:gd name="connsiteX43" fmla="*/ 3135377 w 6558590"/>
                <a:gd name="connsiteY43" fmla="*/ 1904574 h 4169030"/>
                <a:gd name="connsiteX44" fmla="*/ 3395662 w 6558590"/>
                <a:gd name="connsiteY44" fmla="*/ 1822368 h 4169030"/>
                <a:gd name="connsiteX45" fmla="*/ 3395662 w 6558590"/>
                <a:gd name="connsiteY45" fmla="*/ 1839495 h 4169030"/>
                <a:gd name="connsiteX46" fmla="*/ 3183324 w 6558590"/>
                <a:gd name="connsiteY46" fmla="*/ 1904574 h 4169030"/>
                <a:gd name="connsiteX47" fmla="*/ 2933313 w 6558590"/>
                <a:gd name="connsiteY47" fmla="*/ 2267650 h 4169030"/>
                <a:gd name="connsiteX48" fmla="*/ 2844803 w 6558590"/>
                <a:gd name="connsiteY48" fmla="*/ 2309824 h 4169030"/>
                <a:gd name="connsiteX49" fmla="*/ 2827337 w 6558590"/>
                <a:gd name="connsiteY49" fmla="*/ 2330942 h 4169030"/>
                <a:gd name="connsiteX50" fmla="*/ 2827337 w 6558590"/>
                <a:gd name="connsiteY50" fmla="*/ 4124580 h 4169030"/>
                <a:gd name="connsiteX51" fmla="*/ 2378075 w 6558590"/>
                <a:gd name="connsiteY51" fmla="*/ 4124580 h 4169030"/>
                <a:gd name="connsiteX52" fmla="*/ 576263 w 6558590"/>
                <a:gd name="connsiteY52" fmla="*/ 0 h 4169030"/>
                <a:gd name="connsiteX53" fmla="*/ 1025525 w 6558590"/>
                <a:gd name="connsiteY53" fmla="*/ 0 h 4169030"/>
                <a:gd name="connsiteX54" fmla="*/ 1025525 w 6558590"/>
                <a:gd name="connsiteY54" fmla="*/ 1963810 h 4169030"/>
                <a:gd name="connsiteX55" fmla="*/ 1033493 w 6558590"/>
                <a:gd name="connsiteY55" fmla="*/ 1956488 h 4169030"/>
                <a:gd name="connsiteX56" fmla="*/ 1080003 w 6558590"/>
                <a:gd name="connsiteY56" fmla="*/ 1925083 h 4169030"/>
                <a:gd name="connsiteX57" fmla="*/ 1292137 w 6558590"/>
                <a:gd name="connsiteY57" fmla="*/ 1904539 h 4169030"/>
                <a:gd name="connsiteX58" fmla="*/ 1425575 w 6558590"/>
                <a:gd name="connsiteY58" fmla="*/ 1805242 h 4169030"/>
                <a:gd name="connsiteX59" fmla="*/ 1425575 w 6558590"/>
                <a:gd name="connsiteY59" fmla="*/ 1822362 h 4169030"/>
                <a:gd name="connsiteX60" fmla="*/ 1285294 w 6558590"/>
                <a:gd name="connsiteY60" fmla="*/ 1938779 h 4169030"/>
                <a:gd name="connsiteX61" fmla="*/ 1083425 w 6558590"/>
                <a:gd name="connsiteY61" fmla="*/ 1973019 h 4169030"/>
                <a:gd name="connsiteX62" fmla="*/ 1033974 w 6558590"/>
                <a:gd name="connsiteY62" fmla="*/ 2018708 h 4169030"/>
                <a:gd name="connsiteX63" fmla="*/ 1025525 w 6558590"/>
                <a:gd name="connsiteY63" fmla="*/ 2027401 h 4169030"/>
                <a:gd name="connsiteX64" fmla="*/ 1025525 w 6558590"/>
                <a:gd name="connsiteY64" fmla="*/ 2721894 h 4169030"/>
                <a:gd name="connsiteX65" fmla="*/ 1025896 w 6558590"/>
                <a:gd name="connsiteY65" fmla="*/ 2721786 h 4169030"/>
                <a:gd name="connsiteX66" fmla="*/ 1230174 w 6558590"/>
                <a:gd name="connsiteY66" fmla="*/ 2699408 h 4169030"/>
                <a:gd name="connsiteX67" fmla="*/ 1514705 w 6558590"/>
                <a:gd name="connsiteY67" fmla="*/ 2630695 h 4169030"/>
                <a:gd name="connsiteX68" fmla="*/ 1662112 w 6558590"/>
                <a:gd name="connsiteY68" fmla="*/ 2695972 h 4169030"/>
                <a:gd name="connsiteX69" fmla="*/ 1504421 w 6558590"/>
                <a:gd name="connsiteY69" fmla="*/ 2647873 h 4169030"/>
                <a:gd name="connsiteX70" fmla="*/ 1192466 w 6558590"/>
                <a:gd name="connsiteY70" fmla="*/ 2733764 h 4169030"/>
                <a:gd name="connsiteX71" fmla="*/ 1058342 w 6558590"/>
                <a:gd name="connsiteY71" fmla="*/ 2753519 h 4169030"/>
                <a:gd name="connsiteX72" fmla="*/ 1025525 w 6558590"/>
                <a:gd name="connsiteY72" fmla="*/ 2775112 h 4169030"/>
                <a:gd name="connsiteX73" fmla="*/ 1025525 w 6558590"/>
                <a:gd name="connsiteY73" fmla="*/ 4169030 h 4169030"/>
                <a:gd name="connsiteX74" fmla="*/ 576263 w 6558590"/>
                <a:gd name="connsiteY74" fmla="*/ 4169030 h 4169030"/>
                <a:gd name="connsiteX75" fmla="*/ 576263 w 6558590"/>
                <a:gd name="connsiteY75" fmla="*/ 2360988 h 4169030"/>
                <a:gd name="connsiteX76" fmla="*/ 554788 w 6558590"/>
                <a:gd name="connsiteY76" fmla="*/ 2331548 h 4169030"/>
                <a:gd name="connsiteX77" fmla="*/ 435010 w 6558590"/>
                <a:gd name="connsiteY77" fmla="*/ 2257484 h 4169030"/>
                <a:gd name="connsiteX78" fmla="*/ 143861 w 6558590"/>
                <a:gd name="connsiteY78" fmla="*/ 2219783 h 4169030"/>
                <a:gd name="connsiteX79" fmla="*/ 0 w 6558590"/>
                <a:gd name="connsiteY79" fmla="*/ 1979867 h 4169030"/>
                <a:gd name="connsiteX80" fmla="*/ 232919 w 6558590"/>
                <a:gd name="connsiteY80" fmla="*/ 2212929 h 4169030"/>
                <a:gd name="connsiteX81" fmla="*/ 558535 w 6558590"/>
                <a:gd name="connsiteY81" fmla="*/ 2285225 h 4169030"/>
                <a:gd name="connsiteX82" fmla="*/ 576263 w 6558590"/>
                <a:gd name="connsiteY82" fmla="*/ 2298756 h 416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6558590" h="4169030">
                  <a:moveTo>
                    <a:pt x="6227763" y="1049761"/>
                  </a:moveTo>
                  <a:lnTo>
                    <a:pt x="6223594" y="1055033"/>
                  </a:lnTo>
                  <a:cubicBezTo>
                    <a:pt x="6139291" y="1155617"/>
                    <a:pt x="5996698" y="1297655"/>
                    <a:pt x="5950451" y="1356784"/>
                  </a:cubicBezTo>
                  <a:cubicBezTo>
                    <a:pt x="5911912" y="1406057"/>
                    <a:pt x="5847949" y="1574500"/>
                    <a:pt x="5805396" y="1693902"/>
                  </a:cubicBezTo>
                  <a:lnTo>
                    <a:pt x="5800725" y="1707222"/>
                  </a:lnTo>
                  <a:lnTo>
                    <a:pt x="5800725" y="2192694"/>
                  </a:lnTo>
                  <a:lnTo>
                    <a:pt x="5823025" y="2154828"/>
                  </a:lnTo>
                  <a:cubicBezTo>
                    <a:pt x="5852700" y="2109048"/>
                    <a:pt x="5887668" y="2070013"/>
                    <a:pt x="5923598" y="2062303"/>
                  </a:cubicBezTo>
                  <a:cubicBezTo>
                    <a:pt x="6019412" y="2041742"/>
                    <a:pt x="6142602" y="1880679"/>
                    <a:pt x="6217885" y="1777873"/>
                  </a:cubicBezTo>
                  <a:lnTo>
                    <a:pt x="6227763" y="1765285"/>
                  </a:lnTo>
                  <a:close/>
                  <a:moveTo>
                    <a:pt x="5351463" y="0"/>
                  </a:moveTo>
                  <a:lnTo>
                    <a:pt x="5800725" y="0"/>
                  </a:lnTo>
                  <a:lnTo>
                    <a:pt x="5800725" y="1401330"/>
                  </a:lnTo>
                  <a:lnTo>
                    <a:pt x="5801342" y="1400286"/>
                  </a:lnTo>
                  <a:cubicBezTo>
                    <a:pt x="5840884" y="1337824"/>
                    <a:pt x="5885364" y="1282229"/>
                    <a:pt x="5926472" y="1264234"/>
                  </a:cubicBezTo>
                  <a:cubicBezTo>
                    <a:pt x="6008688" y="1228242"/>
                    <a:pt x="6148711" y="1032217"/>
                    <a:pt x="6213584" y="936455"/>
                  </a:cubicBezTo>
                  <a:lnTo>
                    <a:pt x="6227763" y="915195"/>
                  </a:lnTo>
                  <a:lnTo>
                    <a:pt x="6227763" y="0"/>
                  </a:lnTo>
                  <a:lnTo>
                    <a:pt x="6558590" y="0"/>
                  </a:lnTo>
                  <a:lnTo>
                    <a:pt x="6558590" y="3846768"/>
                  </a:lnTo>
                  <a:lnTo>
                    <a:pt x="6227763" y="3846768"/>
                  </a:lnTo>
                  <a:lnTo>
                    <a:pt x="6227763" y="1792988"/>
                  </a:lnTo>
                  <a:lnTo>
                    <a:pt x="6214911" y="1806734"/>
                  </a:lnTo>
                  <a:cubicBezTo>
                    <a:pt x="6131802" y="1905524"/>
                    <a:pt x="6042510" y="2051166"/>
                    <a:pt x="5961239" y="2089718"/>
                  </a:cubicBezTo>
                  <a:cubicBezTo>
                    <a:pt x="5896222" y="2118846"/>
                    <a:pt x="5846604" y="2193381"/>
                    <a:pt x="5813240" y="2260633"/>
                  </a:cubicBezTo>
                  <a:lnTo>
                    <a:pt x="5800725" y="2288129"/>
                  </a:lnTo>
                  <a:lnTo>
                    <a:pt x="5800725" y="3994405"/>
                  </a:lnTo>
                  <a:lnTo>
                    <a:pt x="5351463" y="3994405"/>
                  </a:lnTo>
                  <a:close/>
                  <a:moveTo>
                    <a:pt x="2378075" y="0"/>
                  </a:moveTo>
                  <a:lnTo>
                    <a:pt x="2827337" y="0"/>
                  </a:lnTo>
                  <a:lnTo>
                    <a:pt x="2827337" y="1552865"/>
                  </a:lnTo>
                  <a:lnTo>
                    <a:pt x="2859702" y="1538624"/>
                  </a:lnTo>
                  <a:cubicBezTo>
                    <a:pt x="2894458" y="1525898"/>
                    <a:pt x="2933430" y="1514134"/>
                    <a:pt x="2977112" y="1503868"/>
                  </a:cubicBezTo>
                  <a:cubicBezTo>
                    <a:pt x="3326570" y="1425157"/>
                    <a:pt x="3357404" y="942627"/>
                    <a:pt x="3559542" y="911827"/>
                  </a:cubicBezTo>
                  <a:cubicBezTo>
                    <a:pt x="3761680" y="877605"/>
                    <a:pt x="3912427" y="511429"/>
                    <a:pt x="3912427" y="511429"/>
                  </a:cubicBezTo>
                  <a:cubicBezTo>
                    <a:pt x="3912427" y="511429"/>
                    <a:pt x="3912427" y="511429"/>
                    <a:pt x="3987800" y="531962"/>
                  </a:cubicBezTo>
                  <a:cubicBezTo>
                    <a:pt x="3987800" y="531962"/>
                    <a:pt x="3888444" y="850227"/>
                    <a:pt x="3682880" y="956315"/>
                  </a:cubicBezTo>
                  <a:cubicBezTo>
                    <a:pt x="3477317" y="1062404"/>
                    <a:pt x="3347126" y="1613378"/>
                    <a:pt x="3059337" y="1633911"/>
                  </a:cubicBezTo>
                  <a:cubicBezTo>
                    <a:pt x="2987390" y="1639045"/>
                    <a:pt x="2930003" y="1659364"/>
                    <a:pt x="2884394" y="1686956"/>
                  </a:cubicBezTo>
                  <a:lnTo>
                    <a:pt x="2827337" y="1730610"/>
                  </a:lnTo>
                  <a:lnTo>
                    <a:pt x="2827337" y="2247465"/>
                  </a:lnTo>
                  <a:lnTo>
                    <a:pt x="2827893" y="2247099"/>
                  </a:lnTo>
                  <a:cubicBezTo>
                    <a:pt x="2851974" y="2235539"/>
                    <a:pt x="2880229" y="2226547"/>
                    <a:pt x="2912764" y="2223122"/>
                  </a:cubicBezTo>
                  <a:cubicBezTo>
                    <a:pt x="3042907" y="2209421"/>
                    <a:pt x="3036057" y="2007332"/>
                    <a:pt x="3135377" y="1904574"/>
                  </a:cubicBezTo>
                  <a:cubicBezTo>
                    <a:pt x="3231271" y="1805242"/>
                    <a:pt x="3395662" y="1822368"/>
                    <a:pt x="3395662" y="1822368"/>
                  </a:cubicBezTo>
                  <a:cubicBezTo>
                    <a:pt x="3395662" y="1822368"/>
                    <a:pt x="3395662" y="1822368"/>
                    <a:pt x="3395662" y="1839495"/>
                  </a:cubicBezTo>
                  <a:cubicBezTo>
                    <a:pt x="3395662" y="1839495"/>
                    <a:pt x="3275794" y="1849770"/>
                    <a:pt x="3183324" y="1904574"/>
                  </a:cubicBezTo>
                  <a:cubicBezTo>
                    <a:pt x="3090854" y="1962803"/>
                    <a:pt x="3080580" y="2257375"/>
                    <a:pt x="2933313" y="2267650"/>
                  </a:cubicBezTo>
                  <a:cubicBezTo>
                    <a:pt x="2897353" y="2271076"/>
                    <a:pt x="2868242" y="2287346"/>
                    <a:pt x="2844803" y="2309824"/>
                  </a:cubicBezTo>
                  <a:lnTo>
                    <a:pt x="2827337" y="2330942"/>
                  </a:lnTo>
                  <a:lnTo>
                    <a:pt x="2827337" y="4124580"/>
                  </a:lnTo>
                  <a:lnTo>
                    <a:pt x="2378075" y="4124580"/>
                  </a:lnTo>
                  <a:close/>
                  <a:moveTo>
                    <a:pt x="576263" y="0"/>
                  </a:moveTo>
                  <a:lnTo>
                    <a:pt x="1025525" y="0"/>
                  </a:lnTo>
                  <a:lnTo>
                    <a:pt x="1025525" y="1963810"/>
                  </a:lnTo>
                  <a:lnTo>
                    <a:pt x="1033493" y="1956488"/>
                  </a:lnTo>
                  <a:cubicBezTo>
                    <a:pt x="1054342" y="1938351"/>
                    <a:pt x="1071450" y="1925939"/>
                    <a:pt x="1080003" y="1925083"/>
                  </a:cubicBezTo>
                  <a:cubicBezTo>
                    <a:pt x="1114218" y="1925083"/>
                    <a:pt x="1240814" y="1952475"/>
                    <a:pt x="1292137" y="1904539"/>
                  </a:cubicBezTo>
                  <a:cubicBezTo>
                    <a:pt x="1343459" y="1853178"/>
                    <a:pt x="1425575" y="1805242"/>
                    <a:pt x="1425575" y="1805242"/>
                  </a:cubicBezTo>
                  <a:cubicBezTo>
                    <a:pt x="1425575" y="1822362"/>
                    <a:pt x="1425575" y="1822362"/>
                    <a:pt x="1425575" y="1822362"/>
                  </a:cubicBezTo>
                  <a:cubicBezTo>
                    <a:pt x="1425575" y="1822362"/>
                    <a:pt x="1305823" y="1907963"/>
                    <a:pt x="1285294" y="1938779"/>
                  </a:cubicBezTo>
                  <a:cubicBezTo>
                    <a:pt x="1261343" y="1966171"/>
                    <a:pt x="1134747" y="1935355"/>
                    <a:pt x="1083425" y="1973019"/>
                  </a:cubicBezTo>
                  <a:cubicBezTo>
                    <a:pt x="1070594" y="1983291"/>
                    <a:pt x="1053059" y="1999769"/>
                    <a:pt x="1033974" y="2018708"/>
                  </a:cubicBezTo>
                  <a:lnTo>
                    <a:pt x="1025525" y="2027401"/>
                  </a:lnTo>
                  <a:lnTo>
                    <a:pt x="1025525" y="2721894"/>
                  </a:lnTo>
                  <a:lnTo>
                    <a:pt x="1025896" y="2721786"/>
                  </a:lnTo>
                  <a:cubicBezTo>
                    <a:pt x="1095997" y="2702360"/>
                    <a:pt x="1195894" y="2680082"/>
                    <a:pt x="1230174" y="2699408"/>
                  </a:cubicBezTo>
                  <a:cubicBezTo>
                    <a:pt x="1285024" y="2726893"/>
                    <a:pt x="1483852" y="2589467"/>
                    <a:pt x="1514705" y="2630695"/>
                  </a:cubicBezTo>
                  <a:cubicBezTo>
                    <a:pt x="1528417" y="2647873"/>
                    <a:pt x="1662112" y="2695972"/>
                    <a:pt x="1662112" y="2695972"/>
                  </a:cubicBezTo>
                  <a:cubicBezTo>
                    <a:pt x="1662112" y="2695972"/>
                    <a:pt x="1535273" y="2689101"/>
                    <a:pt x="1504421" y="2647873"/>
                  </a:cubicBezTo>
                  <a:cubicBezTo>
                    <a:pt x="1476996" y="2606645"/>
                    <a:pt x="1247315" y="2795606"/>
                    <a:pt x="1192466" y="2733764"/>
                  </a:cubicBezTo>
                  <a:cubicBezTo>
                    <a:pt x="1166755" y="2702843"/>
                    <a:pt x="1109335" y="2724316"/>
                    <a:pt x="1058342" y="2753519"/>
                  </a:cubicBezTo>
                  <a:lnTo>
                    <a:pt x="1025525" y="2775112"/>
                  </a:lnTo>
                  <a:lnTo>
                    <a:pt x="1025525" y="4169030"/>
                  </a:lnTo>
                  <a:lnTo>
                    <a:pt x="576263" y="4169030"/>
                  </a:lnTo>
                  <a:lnTo>
                    <a:pt x="576263" y="2360988"/>
                  </a:lnTo>
                  <a:lnTo>
                    <a:pt x="554788" y="2331548"/>
                  </a:lnTo>
                  <a:cubicBezTo>
                    <a:pt x="521071" y="2293472"/>
                    <a:pt x="481252" y="2265196"/>
                    <a:pt x="435010" y="2257484"/>
                  </a:cubicBezTo>
                  <a:cubicBezTo>
                    <a:pt x="325401" y="2240348"/>
                    <a:pt x="178114" y="2243775"/>
                    <a:pt x="143861" y="2219783"/>
                  </a:cubicBezTo>
                  <a:cubicBezTo>
                    <a:pt x="113034" y="2195792"/>
                    <a:pt x="0" y="1979867"/>
                    <a:pt x="0" y="1979867"/>
                  </a:cubicBezTo>
                  <a:cubicBezTo>
                    <a:pt x="0" y="1979867"/>
                    <a:pt x="140436" y="2212929"/>
                    <a:pt x="232919" y="2212929"/>
                  </a:cubicBezTo>
                  <a:cubicBezTo>
                    <a:pt x="304850" y="2212929"/>
                    <a:pt x="465410" y="2230280"/>
                    <a:pt x="558535" y="2285225"/>
                  </a:cubicBezTo>
                  <a:lnTo>
                    <a:pt x="576263" y="2298756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FD7CF74-E85D-40A7-A8CA-8E1395FB8A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60208" y="-11250"/>
              <a:ext cx="6931793" cy="2743892"/>
            </a:xfrm>
            <a:custGeom>
              <a:avLst/>
              <a:gdLst>
                <a:gd name="connsiteX0" fmla="*/ 6266352 w 6931793"/>
                <a:gd name="connsiteY0" fmla="*/ 2627570 h 2743892"/>
                <a:gd name="connsiteX1" fmla="*/ 6389369 w 6931793"/>
                <a:gd name="connsiteY1" fmla="*/ 2682467 h 2743892"/>
                <a:gd name="connsiteX2" fmla="*/ 6467964 w 6931793"/>
                <a:gd name="connsiteY2" fmla="*/ 2696191 h 2743892"/>
                <a:gd name="connsiteX3" fmla="*/ 6266352 w 6931793"/>
                <a:gd name="connsiteY3" fmla="*/ 2627570 h 2743892"/>
                <a:gd name="connsiteX4" fmla="*/ 3477848 w 6931793"/>
                <a:gd name="connsiteY4" fmla="*/ 2538670 h 2743892"/>
                <a:gd name="connsiteX5" fmla="*/ 3378690 w 6931793"/>
                <a:gd name="connsiteY5" fmla="*/ 2727583 h 2743892"/>
                <a:gd name="connsiteX6" fmla="*/ 3450494 w 6931793"/>
                <a:gd name="connsiteY6" fmla="*/ 2614235 h 2743892"/>
                <a:gd name="connsiteX7" fmla="*/ 3477848 w 6931793"/>
                <a:gd name="connsiteY7" fmla="*/ 2538670 h 2743892"/>
                <a:gd name="connsiteX8" fmla="*/ 1541952 w 6931793"/>
                <a:gd name="connsiteY8" fmla="*/ 2460882 h 2743892"/>
                <a:gd name="connsiteX9" fmla="*/ 1661698 w 6931793"/>
                <a:gd name="connsiteY9" fmla="*/ 2515369 h 2743892"/>
                <a:gd name="connsiteX10" fmla="*/ 1740389 w 6931793"/>
                <a:gd name="connsiteY10" fmla="*/ 2528991 h 2743892"/>
                <a:gd name="connsiteX11" fmla="*/ 1541952 w 6931793"/>
                <a:gd name="connsiteY11" fmla="*/ 2460882 h 2743892"/>
                <a:gd name="connsiteX12" fmla="*/ 2606752 w 6931793"/>
                <a:gd name="connsiteY12" fmla="*/ 2326566 h 2743892"/>
                <a:gd name="connsiteX13" fmla="*/ 2673181 w 6931793"/>
                <a:gd name="connsiteY13" fmla="*/ 2464058 h 2743892"/>
                <a:gd name="connsiteX14" fmla="*/ 2635275 w 6931793"/>
                <a:gd name="connsiteY14" fmla="*/ 2374788 h 2743892"/>
                <a:gd name="connsiteX15" fmla="*/ 2600815 w 6931793"/>
                <a:gd name="connsiteY15" fmla="*/ 2326720 h 2743892"/>
                <a:gd name="connsiteX16" fmla="*/ 2606752 w 6931793"/>
                <a:gd name="connsiteY16" fmla="*/ 2326566 h 2743892"/>
                <a:gd name="connsiteX17" fmla="*/ 4824902 w 6931793"/>
                <a:gd name="connsiteY17" fmla="*/ 2014795 h 2743892"/>
                <a:gd name="connsiteX18" fmla="*/ 4618527 w 6931793"/>
                <a:gd name="connsiteY18" fmla="*/ 2176270 h 2743892"/>
                <a:gd name="connsiteX19" fmla="*/ 4756110 w 6931793"/>
                <a:gd name="connsiteY19" fmla="*/ 2086943 h 2743892"/>
                <a:gd name="connsiteX20" fmla="*/ 4824902 w 6931793"/>
                <a:gd name="connsiteY20" fmla="*/ 2014795 h 2743892"/>
                <a:gd name="connsiteX21" fmla="*/ 6304819 w 6931793"/>
                <a:gd name="connsiteY21" fmla="*/ 1908432 h 2743892"/>
                <a:gd name="connsiteX22" fmla="*/ 6233015 w 6931793"/>
                <a:gd name="connsiteY22" fmla="*/ 1960198 h 2743892"/>
                <a:gd name="connsiteX23" fmla="*/ 6280884 w 6931793"/>
                <a:gd name="connsiteY23" fmla="*/ 1932589 h 2743892"/>
                <a:gd name="connsiteX24" fmla="*/ 6304819 w 6931793"/>
                <a:gd name="connsiteY24" fmla="*/ 1908432 h 2743892"/>
                <a:gd name="connsiteX25" fmla="*/ 128197 w 6931793"/>
                <a:gd name="connsiteY25" fmla="*/ 0 h 2743892"/>
                <a:gd name="connsiteX26" fmla="*/ 6931793 w 6931793"/>
                <a:gd name="connsiteY26" fmla="*/ 0 h 2743892"/>
                <a:gd name="connsiteX27" fmla="*/ 6931793 w 6931793"/>
                <a:gd name="connsiteY27" fmla="*/ 1156072 h 2743892"/>
                <a:gd name="connsiteX28" fmla="*/ 6899328 w 6931793"/>
                <a:gd name="connsiteY28" fmla="*/ 1227596 h 2743892"/>
                <a:gd name="connsiteX29" fmla="*/ 6585258 w 6931793"/>
                <a:gd name="connsiteY29" fmla="*/ 1408721 h 2743892"/>
                <a:gd name="connsiteX30" fmla="*/ 6324924 w 6931793"/>
                <a:gd name="connsiteY30" fmla="*/ 1377891 h 2743892"/>
                <a:gd name="connsiteX31" fmla="*/ 6304372 w 6931793"/>
                <a:gd name="connsiteY31" fmla="*/ 1545743 h 2743892"/>
                <a:gd name="connsiteX32" fmla="*/ 5495968 w 6931793"/>
                <a:gd name="connsiteY32" fmla="*/ 1494360 h 2743892"/>
                <a:gd name="connsiteX33" fmla="*/ 4975300 w 6931793"/>
                <a:gd name="connsiteY33" fmla="*/ 1367615 h 2743892"/>
                <a:gd name="connsiteX34" fmla="*/ 4454634 w 6931793"/>
                <a:gd name="connsiteY34" fmla="*/ 1610828 h 2743892"/>
                <a:gd name="connsiteX35" fmla="*/ 4122366 w 6931793"/>
                <a:gd name="connsiteY35" fmla="*/ 1045613 h 2743892"/>
                <a:gd name="connsiteX36" fmla="*/ 3680484 w 6931793"/>
                <a:gd name="connsiteY36" fmla="*/ 1405296 h 2743892"/>
                <a:gd name="connsiteX37" fmla="*/ 2909760 w 6931793"/>
                <a:gd name="connsiteY37" fmla="*/ 1576573 h 2743892"/>
                <a:gd name="connsiteX38" fmla="*/ 2265777 w 6931793"/>
                <a:gd name="connsiteY38" fmla="*/ 1867745 h 2743892"/>
                <a:gd name="connsiteX39" fmla="*/ 1936935 w 6931793"/>
                <a:gd name="connsiteY39" fmla="*/ 1305955 h 2743892"/>
                <a:gd name="connsiteX40" fmla="*/ 1741685 w 6931793"/>
                <a:gd name="connsiteY40" fmla="*/ 1326508 h 2743892"/>
                <a:gd name="connsiteX41" fmla="*/ 1714281 w 6931793"/>
                <a:gd name="connsiteY41" fmla="*/ 1364189 h 2743892"/>
                <a:gd name="connsiteX42" fmla="*/ 1238144 w 6931793"/>
                <a:gd name="connsiteY42" fmla="*/ 1521764 h 2743892"/>
                <a:gd name="connsiteX43" fmla="*/ 946982 w 6931793"/>
                <a:gd name="connsiteY43" fmla="*/ 1552594 h 2743892"/>
                <a:gd name="connsiteX44" fmla="*/ 696925 w 6931793"/>
                <a:gd name="connsiteY44" fmla="*/ 1189486 h 2743892"/>
                <a:gd name="connsiteX45" fmla="*/ 142003 w 6931793"/>
                <a:gd name="connsiteY45" fmla="*/ 1103848 h 2743892"/>
                <a:gd name="connsiteX46" fmla="*/ 118025 w 6931793"/>
                <a:gd name="connsiteY46" fmla="*/ 737314 h 2743892"/>
                <a:gd name="connsiteX47" fmla="*/ 296148 w 6931793"/>
                <a:gd name="connsiteY47" fmla="*/ 360504 h 2743892"/>
                <a:gd name="connsiteX48" fmla="*/ 106237 w 6931793"/>
                <a:gd name="connsiteY48" fmla="*/ 20171 h 274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931793" h="2743892">
                  <a:moveTo>
                    <a:pt x="6266352" y="2627570"/>
                  </a:moveTo>
                  <a:cubicBezTo>
                    <a:pt x="6266352" y="2627570"/>
                    <a:pt x="6365449" y="2631001"/>
                    <a:pt x="6389369" y="2682467"/>
                  </a:cubicBezTo>
                  <a:cubicBezTo>
                    <a:pt x="6413290" y="2730502"/>
                    <a:pt x="6467964" y="2696191"/>
                    <a:pt x="6467964" y="2696191"/>
                  </a:cubicBezTo>
                  <a:cubicBezTo>
                    <a:pt x="6467964" y="2696191"/>
                    <a:pt x="6338112" y="2840295"/>
                    <a:pt x="6266352" y="2627570"/>
                  </a:cubicBezTo>
                  <a:close/>
                  <a:moveTo>
                    <a:pt x="3477848" y="2538670"/>
                  </a:moveTo>
                  <a:cubicBezTo>
                    <a:pt x="3477848" y="2538670"/>
                    <a:pt x="3600940" y="2689801"/>
                    <a:pt x="3378690" y="2727583"/>
                  </a:cubicBezTo>
                  <a:cubicBezTo>
                    <a:pt x="3378690" y="2727583"/>
                    <a:pt x="3399206" y="2631409"/>
                    <a:pt x="3450494" y="2614235"/>
                  </a:cubicBezTo>
                  <a:cubicBezTo>
                    <a:pt x="3501783" y="2597061"/>
                    <a:pt x="3477848" y="2538670"/>
                    <a:pt x="3477848" y="2538670"/>
                  </a:cubicBezTo>
                  <a:close/>
                  <a:moveTo>
                    <a:pt x="1541952" y="2460882"/>
                  </a:moveTo>
                  <a:cubicBezTo>
                    <a:pt x="1541952" y="2460882"/>
                    <a:pt x="1637749" y="2467693"/>
                    <a:pt x="1661698" y="2515369"/>
                  </a:cubicBezTo>
                  <a:cubicBezTo>
                    <a:pt x="1689069" y="2563046"/>
                    <a:pt x="1740389" y="2528991"/>
                    <a:pt x="1740389" y="2528991"/>
                  </a:cubicBezTo>
                  <a:cubicBezTo>
                    <a:pt x="1740389" y="2528991"/>
                    <a:pt x="1610378" y="2672020"/>
                    <a:pt x="1541952" y="2460882"/>
                  </a:cubicBezTo>
                  <a:close/>
                  <a:moveTo>
                    <a:pt x="2606752" y="2326566"/>
                  </a:moveTo>
                  <a:cubicBezTo>
                    <a:pt x="2632853" y="2326613"/>
                    <a:pt x="2733487" y="2334875"/>
                    <a:pt x="2673181" y="2464058"/>
                  </a:cubicBezTo>
                  <a:cubicBezTo>
                    <a:pt x="2673181" y="2464058"/>
                    <a:pt x="2624937" y="2412556"/>
                    <a:pt x="2635275" y="2374788"/>
                  </a:cubicBezTo>
                  <a:cubicBezTo>
                    <a:pt x="2645613" y="2337021"/>
                    <a:pt x="2600815" y="2326720"/>
                    <a:pt x="2600815" y="2326720"/>
                  </a:cubicBezTo>
                  <a:cubicBezTo>
                    <a:pt x="2600815" y="2326720"/>
                    <a:pt x="2603023" y="2326559"/>
                    <a:pt x="2606752" y="2326566"/>
                  </a:cubicBezTo>
                  <a:close/>
                  <a:moveTo>
                    <a:pt x="4824902" y="2014795"/>
                  </a:moveTo>
                  <a:cubicBezTo>
                    <a:pt x="4824902" y="2014795"/>
                    <a:pt x="4886814" y="2244983"/>
                    <a:pt x="4618527" y="2176270"/>
                  </a:cubicBezTo>
                  <a:cubicBezTo>
                    <a:pt x="4618527" y="2176270"/>
                    <a:pt x="4687319" y="2080072"/>
                    <a:pt x="4756110" y="2086943"/>
                  </a:cubicBezTo>
                  <a:cubicBezTo>
                    <a:pt x="4821462" y="2090379"/>
                    <a:pt x="4824902" y="2014795"/>
                    <a:pt x="4824902" y="2014795"/>
                  </a:cubicBezTo>
                  <a:close/>
                  <a:moveTo>
                    <a:pt x="6304819" y="1908432"/>
                  </a:moveTo>
                  <a:cubicBezTo>
                    <a:pt x="6304819" y="1908432"/>
                    <a:pt x="6321915" y="1987807"/>
                    <a:pt x="6233015" y="1960198"/>
                  </a:cubicBezTo>
                  <a:cubicBezTo>
                    <a:pt x="6233015" y="1960198"/>
                    <a:pt x="6260369" y="1929138"/>
                    <a:pt x="6280884" y="1932589"/>
                  </a:cubicBezTo>
                  <a:cubicBezTo>
                    <a:pt x="6304819" y="1936041"/>
                    <a:pt x="6304819" y="1908432"/>
                    <a:pt x="6304819" y="1908432"/>
                  </a:cubicBezTo>
                  <a:close/>
                  <a:moveTo>
                    <a:pt x="128197" y="0"/>
                  </a:moveTo>
                  <a:lnTo>
                    <a:pt x="6931793" y="0"/>
                  </a:lnTo>
                  <a:lnTo>
                    <a:pt x="6931793" y="1156072"/>
                  </a:lnTo>
                  <a:lnTo>
                    <a:pt x="6899328" y="1227596"/>
                  </a:lnTo>
                  <a:cubicBezTo>
                    <a:pt x="6860149" y="1324582"/>
                    <a:pt x="6811337" y="1421567"/>
                    <a:pt x="6585258" y="1408721"/>
                  </a:cubicBezTo>
                  <a:cubicBezTo>
                    <a:pt x="6506472" y="1405296"/>
                    <a:pt x="6413986" y="1395019"/>
                    <a:pt x="6324924" y="1377891"/>
                  </a:cubicBezTo>
                  <a:cubicBezTo>
                    <a:pt x="6352328" y="1425849"/>
                    <a:pt x="6355753" y="1480658"/>
                    <a:pt x="6304372" y="1545743"/>
                  </a:cubicBezTo>
                  <a:cubicBezTo>
                    <a:pt x="6109121" y="1792383"/>
                    <a:pt x="5585029" y="1744425"/>
                    <a:pt x="5495968" y="1494360"/>
                  </a:cubicBezTo>
                  <a:cubicBezTo>
                    <a:pt x="5430884" y="1305955"/>
                    <a:pt x="5208230" y="1395019"/>
                    <a:pt x="4975300" y="1367615"/>
                  </a:cubicBezTo>
                  <a:cubicBezTo>
                    <a:pt x="4797178" y="1487509"/>
                    <a:pt x="4999278" y="1675914"/>
                    <a:pt x="4454634" y="1610828"/>
                  </a:cubicBezTo>
                  <a:cubicBezTo>
                    <a:pt x="3820927" y="1532041"/>
                    <a:pt x="4478612" y="1066167"/>
                    <a:pt x="4122366" y="1045613"/>
                  </a:cubicBezTo>
                  <a:cubicBezTo>
                    <a:pt x="3800374" y="1028486"/>
                    <a:pt x="3968221" y="1353913"/>
                    <a:pt x="3680484" y="1405296"/>
                  </a:cubicBezTo>
                  <a:cubicBezTo>
                    <a:pt x="3587997" y="1645084"/>
                    <a:pt x="3272857" y="1477232"/>
                    <a:pt x="2909760" y="1576573"/>
                  </a:cubicBezTo>
                  <a:cubicBezTo>
                    <a:pt x="2526110" y="1679339"/>
                    <a:pt x="2899483" y="1946532"/>
                    <a:pt x="2265777" y="1867745"/>
                  </a:cubicBezTo>
                  <a:cubicBezTo>
                    <a:pt x="1635496" y="1792383"/>
                    <a:pt x="2293180" y="1326508"/>
                    <a:pt x="1936935" y="1305955"/>
                  </a:cubicBezTo>
                  <a:cubicBezTo>
                    <a:pt x="1865000" y="1302529"/>
                    <a:pt x="1799917" y="1309380"/>
                    <a:pt x="1741685" y="1326508"/>
                  </a:cubicBezTo>
                  <a:cubicBezTo>
                    <a:pt x="1734834" y="1340210"/>
                    <a:pt x="1724557" y="1350487"/>
                    <a:pt x="1714281" y="1364189"/>
                  </a:cubicBezTo>
                  <a:cubicBezTo>
                    <a:pt x="1611518" y="1497785"/>
                    <a:pt x="1412842" y="1542317"/>
                    <a:pt x="1238144" y="1521764"/>
                  </a:cubicBezTo>
                  <a:cubicBezTo>
                    <a:pt x="1152508" y="1542317"/>
                    <a:pt x="1056596" y="1556020"/>
                    <a:pt x="946982" y="1552594"/>
                  </a:cubicBezTo>
                  <a:cubicBezTo>
                    <a:pt x="563333" y="1528615"/>
                    <a:pt x="494824" y="1309380"/>
                    <a:pt x="696925" y="1189486"/>
                  </a:cubicBezTo>
                  <a:cubicBezTo>
                    <a:pt x="542780" y="1186061"/>
                    <a:pt x="326977" y="1227167"/>
                    <a:pt x="142003" y="1103848"/>
                  </a:cubicBezTo>
                  <a:cubicBezTo>
                    <a:pt x="-162861" y="898315"/>
                    <a:pt x="118025" y="737314"/>
                    <a:pt x="118025" y="737314"/>
                  </a:cubicBezTo>
                  <a:cubicBezTo>
                    <a:pt x="-128606" y="374207"/>
                    <a:pt x="296148" y="360504"/>
                    <a:pt x="296148" y="360504"/>
                  </a:cubicBezTo>
                  <a:cubicBezTo>
                    <a:pt x="90622" y="198647"/>
                    <a:pt x="61881" y="91225"/>
                    <a:pt x="106237" y="2017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4B18E03-FAB9-45AA-BCDE-57D5FF615FEF}"/>
                </a:ext>
              </a:extLst>
            </p:cNvPr>
            <p:cNvSpPr/>
            <p:nvPr userDrawn="1"/>
          </p:nvSpPr>
          <p:spPr>
            <a:xfrm>
              <a:off x="4285646" y="4185945"/>
              <a:ext cx="7906354" cy="1370792"/>
            </a:xfrm>
            <a:custGeom>
              <a:avLst/>
              <a:gdLst>
                <a:gd name="connsiteX0" fmla="*/ 5883467 w 7906354"/>
                <a:gd name="connsiteY0" fmla="*/ 2019 h 1370792"/>
                <a:gd name="connsiteX1" fmla="*/ 7627016 w 7906354"/>
                <a:gd name="connsiteY1" fmla="*/ 44628 h 1370792"/>
                <a:gd name="connsiteX2" fmla="*/ 7906354 w 7906354"/>
                <a:gd name="connsiteY2" fmla="*/ 62273 h 1370792"/>
                <a:gd name="connsiteX3" fmla="*/ 7906354 w 7906354"/>
                <a:gd name="connsiteY3" fmla="*/ 1189343 h 1370792"/>
                <a:gd name="connsiteX4" fmla="*/ 7844504 w 7906354"/>
                <a:gd name="connsiteY4" fmla="*/ 1208648 h 1370792"/>
                <a:gd name="connsiteX5" fmla="*/ 6160692 w 7906354"/>
                <a:gd name="connsiteY5" fmla="*/ 1200861 h 1370792"/>
                <a:gd name="connsiteX6" fmla="*/ 4310820 w 7906354"/>
                <a:gd name="connsiteY6" fmla="*/ 1104321 h 1370792"/>
                <a:gd name="connsiteX7" fmla="*/ 3025990 w 7906354"/>
                <a:gd name="connsiteY7" fmla="*/ 1256230 h 1370792"/>
                <a:gd name="connsiteX8" fmla="*/ 1336544 w 7906354"/>
                <a:gd name="connsiteY8" fmla="*/ 1104321 h 1370792"/>
                <a:gd name="connsiteX9" fmla="*/ 190845 w 7906354"/>
                <a:gd name="connsiteY9" fmla="*/ 712484 h 1370792"/>
                <a:gd name="connsiteX10" fmla="*/ 58812 w 7906354"/>
                <a:gd name="connsiteY10" fmla="*/ 295090 h 1370792"/>
                <a:gd name="connsiteX11" fmla="*/ 1377715 w 7906354"/>
                <a:gd name="connsiteY11" fmla="*/ 62259 h 1370792"/>
                <a:gd name="connsiteX12" fmla="*/ 5883467 w 7906354"/>
                <a:gd name="connsiteY12" fmla="*/ 2019 h 13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6354" h="1370792">
                  <a:moveTo>
                    <a:pt x="5883467" y="2019"/>
                  </a:moveTo>
                  <a:cubicBezTo>
                    <a:pt x="6515304" y="6574"/>
                    <a:pt x="7120725" y="19282"/>
                    <a:pt x="7627016" y="44628"/>
                  </a:cubicBezTo>
                  <a:lnTo>
                    <a:pt x="7906354" y="62273"/>
                  </a:lnTo>
                  <a:lnTo>
                    <a:pt x="7906354" y="1189343"/>
                  </a:lnTo>
                  <a:lnTo>
                    <a:pt x="7844504" y="1208648"/>
                  </a:lnTo>
                  <a:cubicBezTo>
                    <a:pt x="7458123" y="1303080"/>
                    <a:pt x="6500357" y="1274331"/>
                    <a:pt x="6160692" y="1200861"/>
                  </a:cubicBezTo>
                  <a:cubicBezTo>
                    <a:pt x="5707808" y="1102902"/>
                    <a:pt x="4884380" y="1277525"/>
                    <a:pt x="4310820" y="1104321"/>
                  </a:cubicBezTo>
                  <a:cubicBezTo>
                    <a:pt x="3737261" y="931118"/>
                    <a:pt x="3064322" y="1040435"/>
                    <a:pt x="3025990" y="1256230"/>
                  </a:cubicBezTo>
                  <a:cubicBezTo>
                    <a:pt x="2987658" y="1472024"/>
                    <a:pt x="839648" y="1361288"/>
                    <a:pt x="1336544" y="1104321"/>
                  </a:cubicBezTo>
                  <a:cubicBezTo>
                    <a:pt x="1833440" y="848775"/>
                    <a:pt x="643730" y="837417"/>
                    <a:pt x="190845" y="712484"/>
                  </a:cubicBezTo>
                  <a:cubicBezTo>
                    <a:pt x="-262040" y="587550"/>
                    <a:pt x="260410" y="525083"/>
                    <a:pt x="58812" y="295090"/>
                  </a:cubicBezTo>
                  <a:cubicBezTo>
                    <a:pt x="-142785" y="65099"/>
                    <a:pt x="1377715" y="62259"/>
                    <a:pt x="1377715" y="62259"/>
                  </a:cubicBezTo>
                  <a:cubicBezTo>
                    <a:pt x="1377715" y="62259"/>
                    <a:pt x="3777345" y="-13163"/>
                    <a:pt x="5883467" y="2019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3D105D8-9D33-4C4B-BB5B-94B44025ED05}"/>
                </a:ext>
              </a:extLst>
            </p:cNvPr>
            <p:cNvSpPr/>
            <p:nvPr userDrawn="1"/>
          </p:nvSpPr>
          <p:spPr>
            <a:xfrm>
              <a:off x="5149429" y="3378554"/>
              <a:ext cx="908609" cy="1519081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2ACD060-C4F0-4FCD-A885-6AAB0E7CBFEF}"/>
                </a:ext>
              </a:extLst>
            </p:cNvPr>
            <p:cNvSpPr/>
            <p:nvPr userDrawn="1"/>
          </p:nvSpPr>
          <p:spPr>
            <a:xfrm>
              <a:off x="10028314" y="3789710"/>
              <a:ext cx="1178353" cy="809230"/>
            </a:xfrm>
            <a:custGeom>
              <a:avLst/>
              <a:gdLst>
                <a:gd name="connsiteX0" fmla="*/ 114207 w 1178352"/>
                <a:gd name="connsiteY0" fmla="*/ 609610 h 809230"/>
                <a:gd name="connsiteX1" fmla="*/ 114207 w 1178352"/>
                <a:gd name="connsiteY1" fmla="*/ 287338 h 809230"/>
                <a:gd name="connsiteX2" fmla="*/ 398148 w 1178352"/>
                <a:gd name="connsiteY2" fmla="*/ 3397 h 809230"/>
                <a:gd name="connsiteX3" fmla="*/ 594066 w 1178352"/>
                <a:gd name="connsiteY3" fmla="*/ 239068 h 809230"/>
                <a:gd name="connsiteX4" fmla="*/ 808441 w 1178352"/>
                <a:gd name="connsiteY4" fmla="*/ 415111 h 809230"/>
                <a:gd name="connsiteX5" fmla="*/ 1002941 w 1178352"/>
                <a:gd name="connsiteY5" fmla="*/ 608190 h 809230"/>
                <a:gd name="connsiteX6" fmla="*/ 1152009 w 1178352"/>
                <a:gd name="connsiteY6" fmla="*/ 777135 h 809230"/>
                <a:gd name="connsiteX7" fmla="*/ 233462 w 1178352"/>
                <a:gd name="connsiteY7" fmla="*/ 801270 h 809230"/>
                <a:gd name="connsiteX8" fmla="*/ 114207 w 1178352"/>
                <a:gd name="connsiteY8" fmla="*/ 609610 h 8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8352" h="809230">
                  <a:moveTo>
                    <a:pt x="114207" y="609610"/>
                  </a:moveTo>
                  <a:cubicBezTo>
                    <a:pt x="114207" y="609610"/>
                    <a:pt x="-142759" y="373939"/>
                    <a:pt x="114207" y="287338"/>
                  </a:cubicBezTo>
                  <a:cubicBezTo>
                    <a:pt x="371173" y="200736"/>
                    <a:pt x="280313" y="-30676"/>
                    <a:pt x="398148" y="3397"/>
                  </a:cubicBezTo>
                  <a:cubicBezTo>
                    <a:pt x="515983" y="38890"/>
                    <a:pt x="446417" y="229130"/>
                    <a:pt x="594066" y="239068"/>
                  </a:cubicBezTo>
                  <a:cubicBezTo>
                    <a:pt x="741716" y="249006"/>
                    <a:pt x="805602" y="237648"/>
                    <a:pt x="808441" y="415111"/>
                  </a:cubicBezTo>
                  <a:cubicBezTo>
                    <a:pt x="811281" y="592574"/>
                    <a:pt x="849613" y="525848"/>
                    <a:pt x="1002941" y="608190"/>
                  </a:cubicBezTo>
                  <a:cubicBezTo>
                    <a:pt x="1156268" y="690533"/>
                    <a:pt x="1232932" y="721766"/>
                    <a:pt x="1152009" y="777135"/>
                  </a:cubicBezTo>
                  <a:cubicBezTo>
                    <a:pt x="1072506" y="831084"/>
                    <a:pt x="233462" y="801270"/>
                    <a:pt x="233462" y="801270"/>
                  </a:cubicBezTo>
                  <a:lnTo>
                    <a:pt x="114207" y="609610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64D2D76-1418-41B0-8393-E442B4A645B8}"/>
                </a:ext>
              </a:extLst>
            </p:cNvPr>
            <p:cNvSpPr/>
            <p:nvPr userDrawn="1"/>
          </p:nvSpPr>
          <p:spPr>
            <a:xfrm>
              <a:off x="5760542" y="4315090"/>
              <a:ext cx="1135762" cy="425911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B34171C-E22A-4E16-9C64-99C959585410}"/>
                </a:ext>
              </a:extLst>
            </p:cNvPr>
            <p:cNvSpPr/>
            <p:nvPr userDrawn="1"/>
          </p:nvSpPr>
          <p:spPr>
            <a:xfrm>
              <a:off x="7270464" y="3382813"/>
              <a:ext cx="1334520" cy="1476490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087A8AF-4967-43F8-BB37-FF9D3E91AF9B}"/>
                </a:ext>
              </a:extLst>
            </p:cNvPr>
            <p:cNvSpPr/>
            <p:nvPr userDrawn="1"/>
          </p:nvSpPr>
          <p:spPr>
            <a:xfrm>
              <a:off x="7614031" y="3382813"/>
              <a:ext cx="525290" cy="1476490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98C6D4AA-EB22-4FA8-AF8A-528E729367D8}"/>
                </a:ext>
              </a:extLst>
            </p:cNvPr>
            <p:cNvSpPr/>
            <p:nvPr userDrawn="1"/>
          </p:nvSpPr>
          <p:spPr>
            <a:xfrm>
              <a:off x="5390778" y="3378554"/>
              <a:ext cx="2541267" cy="1476490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215D36C-9016-43FD-946B-525783A0268B}"/>
                </a:ext>
              </a:extLst>
            </p:cNvPr>
            <p:cNvSpPr/>
            <p:nvPr userDrawn="1"/>
          </p:nvSpPr>
          <p:spPr>
            <a:xfrm>
              <a:off x="7070286" y="3378554"/>
              <a:ext cx="866018" cy="1519081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F48C931B-8B4B-4B99-90C7-2D276E2040B3}"/>
                </a:ext>
              </a:extLst>
            </p:cNvPr>
            <p:cNvSpPr/>
            <p:nvPr userDrawn="1"/>
          </p:nvSpPr>
          <p:spPr>
            <a:xfrm>
              <a:off x="7936304" y="3378554"/>
              <a:ext cx="993791" cy="1490687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EDEA0CC-7B65-4066-8953-C0A73BCC7DB6}"/>
                </a:ext>
              </a:extLst>
            </p:cNvPr>
            <p:cNvSpPr/>
            <p:nvPr userDrawn="1"/>
          </p:nvSpPr>
          <p:spPr>
            <a:xfrm>
              <a:off x="10409425" y="3294596"/>
              <a:ext cx="1782575" cy="1573226"/>
            </a:xfrm>
            <a:custGeom>
              <a:avLst/>
              <a:gdLst>
                <a:gd name="connsiteX0" fmla="*/ 412072 w 1782575"/>
                <a:gd name="connsiteY0" fmla="*/ 150 h 1573226"/>
                <a:gd name="connsiteX1" fmla="*/ 1720443 w 1782575"/>
                <a:gd name="connsiteY1" fmla="*/ 600871 h 1573226"/>
                <a:gd name="connsiteX2" fmla="*/ 1782575 w 1782575"/>
                <a:gd name="connsiteY2" fmla="*/ 682726 h 1573226"/>
                <a:gd name="connsiteX3" fmla="*/ 1782575 w 1782575"/>
                <a:gd name="connsiteY3" fmla="*/ 1573226 h 1573226"/>
                <a:gd name="connsiteX4" fmla="*/ 938423 w 1782575"/>
                <a:gd name="connsiteY4" fmla="*/ 1573226 h 1573226"/>
                <a:gd name="connsiteX5" fmla="*/ 0 w 1782575"/>
                <a:gd name="connsiteY5" fmla="*/ 38528 h 1573226"/>
                <a:gd name="connsiteX6" fmla="*/ 412072 w 1782575"/>
                <a:gd name="connsiteY6" fmla="*/ 150 h 157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2575" h="1573226">
                  <a:moveTo>
                    <a:pt x="412072" y="150"/>
                  </a:moveTo>
                  <a:cubicBezTo>
                    <a:pt x="778544" y="4556"/>
                    <a:pt x="1317269" y="108532"/>
                    <a:pt x="1720443" y="600871"/>
                  </a:cubicBezTo>
                  <a:lnTo>
                    <a:pt x="1782575" y="682726"/>
                  </a:lnTo>
                  <a:lnTo>
                    <a:pt x="1782575" y="1573226"/>
                  </a:lnTo>
                  <a:lnTo>
                    <a:pt x="938423" y="1573226"/>
                  </a:lnTo>
                  <a:lnTo>
                    <a:pt x="0" y="38528"/>
                  </a:lnTo>
                  <a:cubicBezTo>
                    <a:pt x="0" y="38528"/>
                    <a:pt x="167758" y="-2788"/>
                    <a:pt x="412072" y="150"/>
                  </a:cubicBezTo>
                  <a:close/>
                </a:path>
              </a:pathLst>
            </a:custGeom>
            <a:solidFill>
              <a:srgbClr val="F9DB5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D714F01-DF53-4330-BE26-EFEC12FF1028}"/>
                </a:ext>
              </a:extLst>
            </p:cNvPr>
            <p:cNvSpPr/>
            <p:nvPr userDrawn="1"/>
          </p:nvSpPr>
          <p:spPr>
            <a:xfrm>
              <a:off x="9239590" y="3333124"/>
              <a:ext cx="2101159" cy="1533278"/>
            </a:xfrm>
            <a:custGeom>
              <a:avLst/>
              <a:gdLst>
                <a:gd name="connsiteX0" fmla="*/ 1169834 w 2101158"/>
                <a:gd name="connsiteY0" fmla="*/ 0 h 1533278"/>
                <a:gd name="connsiteX1" fmla="*/ 0 w 2101158"/>
                <a:gd name="connsiteY1" fmla="*/ 1534698 h 1533278"/>
                <a:gd name="connsiteX2" fmla="*/ 1169834 w 2101158"/>
                <a:gd name="connsiteY2" fmla="*/ 1534698 h 1533278"/>
                <a:gd name="connsiteX3" fmla="*/ 2108258 w 2101158"/>
                <a:gd name="connsiteY3" fmla="*/ 1534698 h 1533278"/>
                <a:gd name="connsiteX4" fmla="*/ 1169834 w 2101158"/>
                <a:gd name="connsiteY4" fmla="*/ 0 h 153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158" h="1533278">
                  <a:moveTo>
                    <a:pt x="1169834" y="0"/>
                  </a:moveTo>
                  <a:cubicBezTo>
                    <a:pt x="315174" y="354926"/>
                    <a:pt x="0" y="1534698"/>
                    <a:pt x="0" y="1534698"/>
                  </a:cubicBezTo>
                  <a:lnTo>
                    <a:pt x="1169834" y="1534698"/>
                  </a:lnTo>
                  <a:lnTo>
                    <a:pt x="2108258" y="1534698"/>
                  </a:lnTo>
                  <a:cubicBezTo>
                    <a:pt x="2108258" y="1534698"/>
                    <a:pt x="1973386" y="577819"/>
                    <a:pt x="1169834" y="0"/>
                  </a:cubicBezTo>
                  <a:close/>
                </a:path>
              </a:pathLst>
            </a:custGeom>
            <a:solidFill>
              <a:srgbClr val="F5BB1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14FF372-080D-4DB7-B07C-E2135D26325D}"/>
                </a:ext>
              </a:extLst>
            </p:cNvPr>
            <p:cNvSpPr/>
            <p:nvPr userDrawn="1"/>
          </p:nvSpPr>
          <p:spPr>
            <a:xfrm>
              <a:off x="9560443" y="3829388"/>
              <a:ext cx="1320323" cy="1036383"/>
            </a:xfrm>
            <a:custGeom>
              <a:avLst/>
              <a:gdLst>
                <a:gd name="connsiteX0" fmla="*/ 0 w 1320322"/>
                <a:gd name="connsiteY0" fmla="*/ 1038433 h 1036382"/>
                <a:gd name="connsiteX1" fmla="*/ 1327421 w 1320322"/>
                <a:gd name="connsiteY1" fmla="*/ 1038433 h 1036382"/>
                <a:gd name="connsiteX2" fmla="*/ 787935 w 1320322"/>
                <a:gd name="connsiteY2" fmla="*/ 631 h 1036382"/>
                <a:gd name="connsiteX3" fmla="*/ 742504 w 1320322"/>
                <a:gd name="connsiteY3" fmla="*/ 631 h 1036382"/>
                <a:gd name="connsiteX4" fmla="*/ 0 w 1320322"/>
                <a:gd name="connsiteY4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22" h="1036382">
                  <a:moveTo>
                    <a:pt x="0" y="1038433"/>
                  </a:moveTo>
                  <a:lnTo>
                    <a:pt x="1327421" y="1038433"/>
                  </a:lnTo>
                  <a:cubicBezTo>
                    <a:pt x="1327421" y="1038433"/>
                    <a:pt x="1327421" y="223524"/>
                    <a:pt x="787935" y="631"/>
                  </a:cubicBezTo>
                  <a:cubicBezTo>
                    <a:pt x="787935" y="631"/>
                    <a:pt x="770898" y="-789"/>
                    <a:pt x="742504" y="631"/>
                  </a:cubicBezTo>
                  <a:cubicBezTo>
                    <a:pt x="596275" y="7730"/>
                    <a:pt x="137711" y="108528"/>
                    <a:pt x="0" y="1038433"/>
                  </a:cubicBezTo>
                  <a:close/>
                </a:path>
              </a:pathLst>
            </a:custGeom>
            <a:solidFill>
              <a:srgbClr val="CC5C3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09E94B99-4B3C-4002-A38B-42A7F591FFF8}"/>
                </a:ext>
              </a:extLst>
            </p:cNvPr>
            <p:cNvSpPr/>
            <p:nvPr userDrawn="1"/>
          </p:nvSpPr>
          <p:spPr>
            <a:xfrm>
              <a:off x="9087682" y="3238004"/>
              <a:ext cx="2370902" cy="1618460"/>
            </a:xfrm>
            <a:custGeom>
              <a:avLst/>
              <a:gdLst>
                <a:gd name="connsiteX0" fmla="*/ 5679 w 2370902"/>
                <a:gd name="connsiteY0" fmla="*/ 1629818 h 1618460"/>
                <a:gd name="connsiteX1" fmla="*/ 762380 w 2370902"/>
                <a:gd name="connsiteY1" fmla="*/ 346407 h 1618460"/>
                <a:gd name="connsiteX2" fmla="*/ 1320323 w 2370902"/>
                <a:gd name="connsiteY2" fmla="*/ 7099 h 1618460"/>
                <a:gd name="connsiteX3" fmla="*/ 2209056 w 2370902"/>
                <a:gd name="connsiteY3" fmla="*/ 1037802 h 1618460"/>
                <a:gd name="connsiteX4" fmla="*/ 2373742 w 2370902"/>
                <a:gd name="connsiteY4" fmla="*/ 1629818 h 1618460"/>
                <a:gd name="connsiteX5" fmla="*/ 2379420 w 2370902"/>
                <a:gd name="connsiteY5" fmla="*/ 1629818 h 1618460"/>
                <a:gd name="connsiteX6" fmla="*/ 2213315 w 2370902"/>
                <a:gd name="connsiteY6" fmla="*/ 1036383 h 1618460"/>
                <a:gd name="connsiteX7" fmla="*/ 1895302 w 2370902"/>
                <a:gd name="connsiteY7" fmla="*/ 503994 h 1618460"/>
                <a:gd name="connsiteX8" fmla="*/ 1323162 w 2370902"/>
                <a:gd name="connsiteY8" fmla="*/ 1420 h 1618460"/>
                <a:gd name="connsiteX9" fmla="*/ 1321742 w 2370902"/>
                <a:gd name="connsiteY9" fmla="*/ 0 h 1618460"/>
                <a:gd name="connsiteX10" fmla="*/ 1320323 w 2370902"/>
                <a:gd name="connsiteY10" fmla="*/ 0 h 1618460"/>
                <a:gd name="connsiteX11" fmla="*/ 758121 w 2370902"/>
                <a:gd name="connsiteY11" fmla="*/ 340729 h 1618460"/>
                <a:gd name="connsiteX12" fmla="*/ 316593 w 2370902"/>
                <a:gd name="connsiteY12" fmla="*/ 840464 h 1618460"/>
                <a:gd name="connsiteX13" fmla="*/ 0 w 2370902"/>
                <a:gd name="connsiteY13" fmla="*/ 1626979 h 1618460"/>
                <a:gd name="connsiteX14" fmla="*/ 5679 w 2370902"/>
                <a:gd name="connsiteY14" fmla="*/ 1629818 h 161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70902" h="1618460">
                  <a:moveTo>
                    <a:pt x="5679" y="1629818"/>
                  </a:moveTo>
                  <a:cubicBezTo>
                    <a:pt x="140550" y="979594"/>
                    <a:pt x="491217" y="572140"/>
                    <a:pt x="762380" y="346407"/>
                  </a:cubicBezTo>
                  <a:cubicBezTo>
                    <a:pt x="1044900" y="110737"/>
                    <a:pt x="1300447" y="15617"/>
                    <a:pt x="1320323" y="7099"/>
                  </a:cubicBezTo>
                  <a:cubicBezTo>
                    <a:pt x="1818638" y="309495"/>
                    <a:pt x="2078444" y="733986"/>
                    <a:pt x="2209056" y="1037802"/>
                  </a:cubicBezTo>
                  <a:cubicBezTo>
                    <a:pt x="2351026" y="1367173"/>
                    <a:pt x="2373742" y="1626979"/>
                    <a:pt x="2373742" y="1629818"/>
                  </a:cubicBezTo>
                  <a:lnTo>
                    <a:pt x="2379420" y="1629818"/>
                  </a:lnTo>
                  <a:cubicBezTo>
                    <a:pt x="2379420" y="1626979"/>
                    <a:pt x="2355286" y="1365753"/>
                    <a:pt x="2213315" y="1036383"/>
                  </a:cubicBezTo>
                  <a:cubicBezTo>
                    <a:pt x="2129553" y="843303"/>
                    <a:pt x="2023075" y="664421"/>
                    <a:pt x="1895302" y="503994"/>
                  </a:cubicBezTo>
                  <a:cubicBezTo>
                    <a:pt x="1737715" y="303816"/>
                    <a:pt x="1544636" y="134872"/>
                    <a:pt x="1323162" y="1420"/>
                  </a:cubicBezTo>
                  <a:lnTo>
                    <a:pt x="1321742" y="0"/>
                  </a:lnTo>
                  <a:lnTo>
                    <a:pt x="1320323" y="0"/>
                  </a:lnTo>
                  <a:cubicBezTo>
                    <a:pt x="1317483" y="1420"/>
                    <a:pt x="1051999" y="93700"/>
                    <a:pt x="758121" y="340729"/>
                  </a:cubicBezTo>
                  <a:cubicBezTo>
                    <a:pt x="584917" y="485538"/>
                    <a:pt x="437268" y="653063"/>
                    <a:pt x="316593" y="840464"/>
                  </a:cubicBezTo>
                  <a:cubicBezTo>
                    <a:pt x="166105" y="1074714"/>
                    <a:pt x="59627" y="1340199"/>
                    <a:pt x="0" y="1626979"/>
                  </a:cubicBezTo>
                  <a:lnTo>
                    <a:pt x="5679" y="1629818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D90F39F-00B1-402F-A96C-AB29C7B37CAB}"/>
                </a:ext>
              </a:extLst>
            </p:cNvPr>
            <p:cNvSpPr/>
            <p:nvPr userDrawn="1"/>
          </p:nvSpPr>
          <p:spPr>
            <a:xfrm>
              <a:off x="10406585" y="3216857"/>
              <a:ext cx="1785415" cy="573525"/>
            </a:xfrm>
            <a:custGeom>
              <a:avLst/>
              <a:gdLst>
                <a:gd name="connsiteX0" fmla="*/ 312512 w 1785415"/>
                <a:gd name="connsiteY0" fmla="*/ 29 h 573525"/>
                <a:gd name="connsiteX1" fmla="*/ 1013667 w 1785415"/>
                <a:gd name="connsiteY1" fmla="*/ 97811 h 573525"/>
                <a:gd name="connsiteX2" fmla="*/ 1624183 w 1785415"/>
                <a:gd name="connsiteY2" fmla="*/ 413451 h 573525"/>
                <a:gd name="connsiteX3" fmla="*/ 1785415 w 1785415"/>
                <a:gd name="connsiteY3" fmla="*/ 561757 h 573525"/>
                <a:gd name="connsiteX4" fmla="*/ 1785415 w 1785415"/>
                <a:gd name="connsiteY4" fmla="*/ 573525 h 573525"/>
                <a:gd name="connsiteX5" fmla="*/ 1765755 w 1785415"/>
                <a:gd name="connsiteY5" fmla="*/ 551938 h 573525"/>
                <a:gd name="connsiteX6" fmla="*/ 1012247 w 1785415"/>
                <a:gd name="connsiteY6" fmla="*/ 103490 h 573525"/>
                <a:gd name="connsiteX7" fmla="*/ 1420 w 1785415"/>
                <a:gd name="connsiteY7" fmla="*/ 28246 h 573525"/>
                <a:gd name="connsiteX8" fmla="*/ 0 w 1785415"/>
                <a:gd name="connsiteY8" fmla="*/ 22567 h 573525"/>
                <a:gd name="connsiteX9" fmla="*/ 312512 w 1785415"/>
                <a:gd name="connsiteY9" fmla="*/ 29 h 5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5415" h="573525">
                  <a:moveTo>
                    <a:pt x="312512" y="29"/>
                  </a:moveTo>
                  <a:cubicBezTo>
                    <a:pt x="499735" y="-859"/>
                    <a:pt x="751732" y="18308"/>
                    <a:pt x="1013667" y="97811"/>
                  </a:cubicBezTo>
                  <a:cubicBezTo>
                    <a:pt x="1244724" y="168086"/>
                    <a:pt x="1449427" y="273499"/>
                    <a:pt x="1624183" y="413451"/>
                  </a:cubicBezTo>
                  <a:lnTo>
                    <a:pt x="1785415" y="561757"/>
                  </a:lnTo>
                  <a:lnTo>
                    <a:pt x="1785415" y="573525"/>
                  </a:lnTo>
                  <a:lnTo>
                    <a:pt x="1765755" y="551938"/>
                  </a:lnTo>
                  <a:cubicBezTo>
                    <a:pt x="1527955" y="310057"/>
                    <a:pt x="1253597" y="176605"/>
                    <a:pt x="1012247" y="103490"/>
                  </a:cubicBezTo>
                  <a:cubicBezTo>
                    <a:pt x="489797" y="-55517"/>
                    <a:pt x="5679" y="26826"/>
                    <a:pt x="1420" y="28246"/>
                  </a:cubicBezTo>
                  <a:lnTo>
                    <a:pt x="0" y="22567"/>
                  </a:lnTo>
                  <a:cubicBezTo>
                    <a:pt x="2840" y="21857"/>
                    <a:pt x="125289" y="916"/>
                    <a:pt x="312512" y="29"/>
                  </a:cubicBez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6DD1B4C-B8D8-487D-BADA-BC4A27D03587}"/>
                </a:ext>
              </a:extLst>
            </p:cNvPr>
            <p:cNvSpPr/>
            <p:nvPr userDrawn="1"/>
          </p:nvSpPr>
          <p:spPr>
            <a:xfrm>
              <a:off x="7065222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1C9B1DA-D062-41C0-AB98-D92D9826CF6F}"/>
                </a:ext>
              </a:extLst>
            </p:cNvPr>
            <p:cNvSpPr/>
            <p:nvPr userDrawn="1"/>
          </p:nvSpPr>
          <p:spPr>
            <a:xfrm>
              <a:off x="8916162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4EB8B84-4A9A-4B06-B068-B6BFEB55CC93}"/>
                </a:ext>
              </a:extLst>
            </p:cNvPr>
            <p:cNvSpPr/>
            <p:nvPr userDrawn="1"/>
          </p:nvSpPr>
          <p:spPr>
            <a:xfrm>
              <a:off x="9077375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9A88AEB2-5BF3-4A4E-85EA-EDF4DBCBB12D}"/>
                </a:ext>
              </a:extLst>
            </p:cNvPr>
            <p:cNvSpPr/>
            <p:nvPr userDrawn="1"/>
          </p:nvSpPr>
          <p:spPr>
            <a:xfrm>
              <a:off x="5159100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878419" y="1510406"/>
            <a:ext cx="6428929" cy="2590838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878419" y="4785970"/>
            <a:ext cx="642892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78421" y="4489699"/>
            <a:ext cx="642892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github.com/yuequan1997/learn-rust-with-me" TargetMode="Externa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ust-lang.org/zh-CN/tools/install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.rust-lang.org/std/fmt/index.html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://hardocs.com/d/rustprimer/" TargetMode="Externa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hyperlink" Target="https://www.rust-lang.org/" TargetMode="Externa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41488" y="4423823"/>
            <a:ext cx="5454512" cy="558799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作者：月泉</a:t>
            </a:r>
            <a:endParaRPr lang="en-US" altLang="zh-CN" sz="20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41488" y="527422"/>
            <a:ext cx="5454512" cy="3255637"/>
          </a:xfrm>
        </p:spPr>
        <p:txBody>
          <a:bodyPr>
            <a:normAutofit/>
          </a:bodyPr>
          <a:lstStyle/>
          <a:p>
            <a:r>
              <a:rPr lang="zh-CN" altLang="en-US" sz="4800" dirty="0">
                <a:latin typeface="Arial Black" panose="020B0A04020102020204" pitchFamily="34" charset="0"/>
              </a:rPr>
              <a:t>跟我学</a:t>
            </a:r>
            <a:r>
              <a:rPr lang="en-US" altLang="zh-CN" sz="4800" dirty="0">
                <a:latin typeface="Arial Black" panose="020B0A04020102020204" pitchFamily="34" charset="0"/>
              </a:rPr>
              <a:t>Rust</a:t>
            </a:r>
            <a:br>
              <a:rPr lang="en-US" altLang="zh-CN" sz="4800" dirty="0">
                <a:latin typeface="Arial Black" panose="020B0A04020102020204" pitchFamily="34" charset="0"/>
              </a:rPr>
            </a:br>
            <a:br>
              <a:rPr lang="en-US" altLang="zh-CN" sz="4400" dirty="0"/>
            </a:br>
            <a:r>
              <a:rPr lang="zh-CN" altLang="en-US" sz="3600" b="0" dirty="0"/>
              <a:t>第一节</a:t>
            </a:r>
            <a:r>
              <a:rPr lang="en-US" altLang="zh-CN" sz="3600" b="0" dirty="0"/>
              <a:t>——Rust</a:t>
            </a:r>
            <a:r>
              <a:rPr lang="zh-CN" altLang="en-US" sz="3600" b="0" dirty="0"/>
              <a:t>概述</a:t>
            </a:r>
            <a:endParaRPr lang="zh-CN" altLang="en-US" sz="4400" b="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200" spc="300" dirty="0"/>
              <a:t>分享知识，提升自己。</a:t>
            </a:r>
            <a:endParaRPr lang="en-US" altLang="zh-CN" sz="1200" spc="3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1200" spc="300" dirty="0"/>
              <a:t>www.lunaspring.com</a:t>
            </a:r>
            <a:endParaRPr lang="en-US" altLang="en-US" sz="1200" spc="3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8263C95-373C-4044-BECD-28F902D8FF05}"/>
              </a:ext>
            </a:extLst>
          </p:cNvPr>
          <p:cNvSpPr txBox="1"/>
          <p:nvPr/>
        </p:nvSpPr>
        <p:spPr>
          <a:xfrm>
            <a:off x="669925" y="983377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月泉</a:t>
            </a:r>
            <a:r>
              <a:rPr lang="en-US" altLang="zh-CN" dirty="0">
                <a:solidFill>
                  <a:schemeClr val="accent1"/>
                </a:solidFill>
              </a:rPr>
              <a:t> </a:t>
            </a:r>
            <a:r>
              <a:rPr lang="zh-CN" altLang="en-US" dirty="0">
                <a:solidFill>
                  <a:schemeClr val="accent1"/>
                </a:solidFill>
              </a:rPr>
              <a:t>讲堂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756C29B-8B3F-4FC9-B64B-8F1CC31086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8081" y="5623386"/>
            <a:ext cx="1127988" cy="1130097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1713BD70-6014-4359-AA23-4624460365A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113" y="5623386"/>
            <a:ext cx="1178539" cy="1183522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4E7ACD46-BEC7-46B7-81CE-1E201528DDDB}"/>
              </a:ext>
            </a:extLst>
          </p:cNvPr>
          <p:cNvSpPr txBox="1"/>
          <p:nvPr/>
        </p:nvSpPr>
        <p:spPr>
          <a:xfrm>
            <a:off x="11198909" y="5254054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微信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1425BED3-4EB4-4F50-9363-EB16D164F730}"/>
              </a:ext>
            </a:extLst>
          </p:cNvPr>
          <p:cNvSpPr txBox="1"/>
          <p:nvPr/>
        </p:nvSpPr>
        <p:spPr>
          <a:xfrm>
            <a:off x="10040633" y="5254054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群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B255692-165F-4210-AE4D-012965EB33DE}"/>
              </a:ext>
            </a:extLst>
          </p:cNvPr>
          <p:cNvSpPr txBox="1"/>
          <p:nvPr/>
        </p:nvSpPr>
        <p:spPr>
          <a:xfrm>
            <a:off x="6312956" y="724845"/>
            <a:ext cx="5532284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54">
              <a:lnSpc>
                <a:spcPct val="90000"/>
              </a:lnSpc>
              <a:spcBef>
                <a:spcPts val="1000"/>
              </a:spcBef>
            </a:pPr>
            <a:r>
              <a:rPr lang="en-US" altLang="zh-CN" sz="1200" spc="300" dirty="0">
                <a:solidFill>
                  <a:schemeClr val="bg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yuequan1997/learn-rust-with-me</a:t>
            </a:r>
            <a:endParaRPr lang="zh-CN" altLang="en-US" sz="1200" spc="300" dirty="0">
              <a:solidFill>
                <a:schemeClr val="bg1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A6934A49-538C-4D50-A02A-FD54A51594D1}"/>
              </a:ext>
            </a:extLst>
          </p:cNvPr>
          <p:cNvSpPr txBox="1"/>
          <p:nvPr/>
        </p:nvSpPr>
        <p:spPr>
          <a:xfrm>
            <a:off x="8525100" y="26764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示例仓库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为什么要学习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Rust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安装环境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Hello World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println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学习资源推荐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11" name="6f58f329-0b8f-42c6-8d02-594949b0590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0959493-6989-4180-AAF4-3E8B58D175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454831" y="3429000"/>
            <a:ext cx="6481763" cy="3114675"/>
            <a:chOff x="2881313" y="1871663"/>
            <a:chExt cx="6481763" cy="3114675"/>
          </a:xfrm>
        </p:grpSpPr>
        <p:sp>
          <p:nvSpPr>
            <p:cNvPr id="12" name="îŝliḓè">
              <a:extLst>
                <a:ext uri="{FF2B5EF4-FFF2-40B4-BE49-F238E27FC236}">
                  <a16:creationId xmlns:a16="http://schemas.microsoft.com/office/drawing/2014/main" id="{E2BDB23D-8E5D-470E-815D-1B5155E38816}"/>
                </a:ext>
              </a:extLst>
            </p:cNvPr>
            <p:cNvSpPr/>
            <p:nvPr/>
          </p:nvSpPr>
          <p:spPr bwMode="auto">
            <a:xfrm>
              <a:off x="3416301" y="1898650"/>
              <a:ext cx="5919788" cy="2490788"/>
            </a:xfrm>
            <a:custGeom>
              <a:avLst/>
              <a:gdLst>
                <a:gd name="T0" fmla="*/ 220 w 221"/>
                <a:gd name="T1" fmla="*/ 24 h 92"/>
                <a:gd name="T2" fmla="*/ 209 w 221"/>
                <a:gd name="T3" fmla="*/ 10 h 92"/>
                <a:gd name="T4" fmla="*/ 209 w 221"/>
                <a:gd name="T5" fmla="*/ 9 h 92"/>
                <a:gd name="T6" fmla="*/ 165 w 221"/>
                <a:gd name="T7" fmla="*/ 5 h 92"/>
                <a:gd name="T8" fmla="*/ 165 w 221"/>
                <a:gd name="T9" fmla="*/ 5 h 92"/>
                <a:gd name="T10" fmla="*/ 32 w 221"/>
                <a:gd name="T11" fmla="*/ 59 h 92"/>
                <a:gd name="T12" fmla="*/ 26 w 221"/>
                <a:gd name="T13" fmla="*/ 57 h 92"/>
                <a:gd name="T14" fmla="*/ 21 w 221"/>
                <a:gd name="T15" fmla="*/ 45 h 92"/>
                <a:gd name="T16" fmla="*/ 20 w 221"/>
                <a:gd name="T17" fmla="*/ 45 h 92"/>
                <a:gd name="T18" fmla="*/ 9 w 221"/>
                <a:gd name="T19" fmla="*/ 40 h 92"/>
                <a:gd name="T20" fmla="*/ 1 w 221"/>
                <a:gd name="T21" fmla="*/ 52 h 92"/>
                <a:gd name="T22" fmla="*/ 6 w 221"/>
                <a:gd name="T23" fmla="*/ 76 h 92"/>
                <a:gd name="T24" fmla="*/ 27 w 221"/>
                <a:gd name="T25" fmla="*/ 92 h 92"/>
                <a:gd name="T26" fmla="*/ 30 w 221"/>
                <a:gd name="T27" fmla="*/ 92 h 92"/>
                <a:gd name="T28" fmla="*/ 174 w 221"/>
                <a:gd name="T29" fmla="*/ 64 h 92"/>
                <a:gd name="T30" fmla="*/ 216 w 221"/>
                <a:gd name="T31" fmla="*/ 41 h 92"/>
                <a:gd name="T32" fmla="*/ 220 w 221"/>
                <a:gd name="T33" fmla="*/ 2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1" h="92">
                  <a:moveTo>
                    <a:pt x="220" y="24"/>
                  </a:moveTo>
                  <a:cubicBezTo>
                    <a:pt x="219" y="18"/>
                    <a:pt x="215" y="13"/>
                    <a:pt x="209" y="10"/>
                  </a:cubicBezTo>
                  <a:cubicBezTo>
                    <a:pt x="209" y="9"/>
                    <a:pt x="209" y="9"/>
                    <a:pt x="209" y="9"/>
                  </a:cubicBezTo>
                  <a:cubicBezTo>
                    <a:pt x="195" y="2"/>
                    <a:pt x="179" y="0"/>
                    <a:pt x="165" y="5"/>
                  </a:cubicBezTo>
                  <a:cubicBezTo>
                    <a:pt x="165" y="5"/>
                    <a:pt x="165" y="5"/>
                    <a:pt x="165" y="5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0" y="60"/>
                    <a:pt x="27" y="59"/>
                    <a:pt x="26" y="57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8" y="41"/>
                    <a:pt x="14" y="39"/>
                    <a:pt x="9" y="40"/>
                  </a:cubicBezTo>
                  <a:cubicBezTo>
                    <a:pt x="4" y="41"/>
                    <a:pt x="0" y="46"/>
                    <a:pt x="1" y="52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8" y="86"/>
                    <a:pt x="17" y="92"/>
                    <a:pt x="27" y="92"/>
                  </a:cubicBezTo>
                  <a:cubicBezTo>
                    <a:pt x="28" y="92"/>
                    <a:pt x="29" y="92"/>
                    <a:pt x="30" y="92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91" y="63"/>
                    <a:pt x="206" y="55"/>
                    <a:pt x="216" y="41"/>
                  </a:cubicBezTo>
                  <a:cubicBezTo>
                    <a:pt x="220" y="37"/>
                    <a:pt x="221" y="30"/>
                    <a:pt x="220" y="24"/>
                  </a:cubicBez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ïšļíḍé">
              <a:extLst>
                <a:ext uri="{FF2B5EF4-FFF2-40B4-BE49-F238E27FC236}">
                  <a16:creationId xmlns:a16="http://schemas.microsoft.com/office/drawing/2014/main" id="{4754D277-423B-4CB8-9891-3C20D6457DA8}"/>
                </a:ext>
              </a:extLst>
            </p:cNvPr>
            <p:cNvSpPr/>
            <p:nvPr/>
          </p:nvSpPr>
          <p:spPr bwMode="auto">
            <a:xfrm>
              <a:off x="3630613" y="2359025"/>
              <a:ext cx="5732463" cy="2030413"/>
            </a:xfrm>
            <a:custGeom>
              <a:avLst/>
              <a:gdLst>
                <a:gd name="T0" fmla="*/ 210 w 214"/>
                <a:gd name="T1" fmla="*/ 2 h 75"/>
                <a:gd name="T2" fmla="*/ 209 w 214"/>
                <a:gd name="T3" fmla="*/ 0 h 75"/>
                <a:gd name="T4" fmla="*/ 83 w 214"/>
                <a:gd name="T5" fmla="*/ 38 h 75"/>
                <a:gd name="T6" fmla="*/ 0 w 214"/>
                <a:gd name="T7" fmla="*/ 64 h 75"/>
                <a:gd name="T8" fmla="*/ 2 w 214"/>
                <a:gd name="T9" fmla="*/ 67 h 75"/>
                <a:gd name="T10" fmla="*/ 19 w 214"/>
                <a:gd name="T11" fmla="*/ 75 h 75"/>
                <a:gd name="T12" fmla="*/ 22 w 214"/>
                <a:gd name="T13" fmla="*/ 75 h 75"/>
                <a:gd name="T14" fmla="*/ 166 w 214"/>
                <a:gd name="T15" fmla="*/ 47 h 75"/>
                <a:gd name="T16" fmla="*/ 208 w 214"/>
                <a:gd name="T17" fmla="*/ 24 h 75"/>
                <a:gd name="T18" fmla="*/ 210 w 214"/>
                <a:gd name="T19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4" h="75">
                  <a:moveTo>
                    <a:pt x="210" y="2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6" y="72"/>
                    <a:pt x="12" y="75"/>
                    <a:pt x="19" y="75"/>
                  </a:cubicBezTo>
                  <a:cubicBezTo>
                    <a:pt x="20" y="75"/>
                    <a:pt x="21" y="75"/>
                    <a:pt x="22" y="75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83" y="46"/>
                    <a:pt x="198" y="38"/>
                    <a:pt x="208" y="24"/>
                  </a:cubicBezTo>
                  <a:cubicBezTo>
                    <a:pt x="213" y="18"/>
                    <a:pt x="214" y="9"/>
                    <a:pt x="210" y="2"/>
                  </a:cubicBezTo>
                  <a:close/>
                </a:path>
              </a:pathLst>
            </a:custGeom>
            <a:solidFill>
              <a:srgbClr val="F794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$ḷïdé">
              <a:extLst>
                <a:ext uri="{FF2B5EF4-FFF2-40B4-BE49-F238E27FC236}">
                  <a16:creationId xmlns:a16="http://schemas.microsoft.com/office/drawing/2014/main" id="{0D64B75A-0287-461B-BEDA-1D62A8A0B676}"/>
                </a:ext>
              </a:extLst>
            </p:cNvPr>
            <p:cNvSpPr/>
            <p:nvPr/>
          </p:nvSpPr>
          <p:spPr bwMode="auto">
            <a:xfrm>
              <a:off x="3817938" y="1871663"/>
              <a:ext cx="3778250" cy="1679575"/>
            </a:xfrm>
            <a:custGeom>
              <a:avLst/>
              <a:gdLst>
                <a:gd name="T0" fmla="*/ 138 w 141"/>
                <a:gd name="T1" fmla="*/ 38 h 62"/>
                <a:gd name="T2" fmla="*/ 21 w 141"/>
                <a:gd name="T3" fmla="*/ 1 h 62"/>
                <a:gd name="T4" fmla="*/ 8 w 141"/>
                <a:gd name="T5" fmla="*/ 3 h 62"/>
                <a:gd name="T6" fmla="*/ 0 w 141"/>
                <a:gd name="T7" fmla="*/ 13 h 62"/>
                <a:gd name="T8" fmla="*/ 2 w 141"/>
                <a:gd name="T9" fmla="*/ 17 h 62"/>
                <a:gd name="T10" fmla="*/ 75 w 141"/>
                <a:gd name="T11" fmla="*/ 62 h 62"/>
                <a:gd name="T12" fmla="*/ 77 w 141"/>
                <a:gd name="T13" fmla="*/ 62 h 62"/>
                <a:gd name="T14" fmla="*/ 78 w 141"/>
                <a:gd name="T15" fmla="*/ 62 h 62"/>
                <a:gd name="T16" fmla="*/ 138 w 141"/>
                <a:gd name="T17" fmla="*/ 45 h 62"/>
                <a:gd name="T18" fmla="*/ 141 w 141"/>
                <a:gd name="T19" fmla="*/ 42 h 62"/>
                <a:gd name="T20" fmla="*/ 138 w 141"/>
                <a:gd name="T21" fmla="*/ 3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62">
                  <a:moveTo>
                    <a:pt x="138" y="38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7" y="0"/>
                    <a:pt x="12" y="0"/>
                    <a:pt x="8" y="3"/>
                  </a:cubicBezTo>
                  <a:cubicBezTo>
                    <a:pt x="4" y="5"/>
                    <a:pt x="1" y="9"/>
                    <a:pt x="0" y="13"/>
                  </a:cubicBezTo>
                  <a:cubicBezTo>
                    <a:pt x="0" y="15"/>
                    <a:pt x="1" y="16"/>
                    <a:pt x="2" y="17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6" y="62"/>
                    <a:pt x="76" y="62"/>
                    <a:pt x="77" y="62"/>
                  </a:cubicBezTo>
                  <a:cubicBezTo>
                    <a:pt x="77" y="62"/>
                    <a:pt x="78" y="62"/>
                    <a:pt x="78" y="62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40" y="45"/>
                    <a:pt x="141" y="43"/>
                    <a:pt x="141" y="42"/>
                  </a:cubicBezTo>
                  <a:cubicBezTo>
                    <a:pt x="141" y="40"/>
                    <a:pt x="140" y="39"/>
                    <a:pt x="138" y="38"/>
                  </a:cubicBezTo>
                  <a:close/>
                </a:path>
              </a:pathLst>
            </a:custGeom>
            <a:solidFill>
              <a:srgbClr val="074E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îṧļíďé">
              <a:extLst>
                <a:ext uri="{FF2B5EF4-FFF2-40B4-BE49-F238E27FC236}">
                  <a16:creationId xmlns:a16="http://schemas.microsoft.com/office/drawing/2014/main" id="{5748581C-A290-4F9B-BCE6-790EA372711C}"/>
                </a:ext>
              </a:extLst>
            </p:cNvPr>
            <p:cNvSpPr/>
            <p:nvPr/>
          </p:nvSpPr>
          <p:spPr bwMode="auto">
            <a:xfrm>
              <a:off x="8104188" y="1925638"/>
              <a:ext cx="1152525" cy="785813"/>
            </a:xfrm>
            <a:custGeom>
              <a:avLst/>
              <a:gdLst>
                <a:gd name="T0" fmla="*/ 43 w 43"/>
                <a:gd name="T1" fmla="*/ 18 h 29"/>
                <a:gd name="T2" fmla="*/ 34 w 43"/>
                <a:gd name="T3" fmla="*/ 9 h 29"/>
                <a:gd name="T4" fmla="*/ 34 w 43"/>
                <a:gd name="T5" fmla="*/ 9 h 29"/>
                <a:gd name="T6" fmla="*/ 34 w 43"/>
                <a:gd name="T7" fmla="*/ 8 h 29"/>
                <a:gd name="T8" fmla="*/ 2 w 43"/>
                <a:gd name="T9" fmla="*/ 1 h 29"/>
                <a:gd name="T10" fmla="*/ 0 w 43"/>
                <a:gd name="T11" fmla="*/ 3 h 29"/>
                <a:gd name="T12" fmla="*/ 0 w 43"/>
                <a:gd name="T13" fmla="*/ 5 h 29"/>
                <a:gd name="T14" fmla="*/ 0 w 43"/>
                <a:gd name="T15" fmla="*/ 5 h 29"/>
                <a:gd name="T16" fmla="*/ 0 w 43"/>
                <a:gd name="T17" fmla="*/ 5 h 29"/>
                <a:gd name="T18" fmla="*/ 9 w 43"/>
                <a:gd name="T19" fmla="*/ 28 h 29"/>
                <a:gd name="T20" fmla="*/ 12 w 43"/>
                <a:gd name="T21" fmla="*/ 29 h 29"/>
                <a:gd name="T22" fmla="*/ 12 w 43"/>
                <a:gd name="T23" fmla="*/ 29 h 29"/>
                <a:gd name="T24" fmla="*/ 41 w 43"/>
                <a:gd name="T25" fmla="*/ 21 h 29"/>
                <a:gd name="T26" fmla="*/ 43 w 43"/>
                <a:gd name="T27" fmla="*/ 20 h 29"/>
                <a:gd name="T28" fmla="*/ 43 w 43"/>
                <a:gd name="T29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9">
                  <a:moveTo>
                    <a:pt x="43" y="18"/>
                  </a:moveTo>
                  <a:cubicBezTo>
                    <a:pt x="41" y="14"/>
                    <a:pt x="38" y="11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4" y="3"/>
                    <a:pt x="13" y="0"/>
                    <a:pt x="2" y="1"/>
                  </a:cubicBezTo>
                  <a:cubicBezTo>
                    <a:pt x="1" y="2"/>
                    <a:pt x="1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9"/>
                    <a:pt x="11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1"/>
                    <a:pt x="43" y="21"/>
                    <a:pt x="43" y="20"/>
                  </a:cubicBezTo>
                  <a:cubicBezTo>
                    <a:pt x="43" y="19"/>
                    <a:pt x="43" y="18"/>
                    <a:pt x="43" y="18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ṣḻidé">
              <a:extLst>
                <a:ext uri="{FF2B5EF4-FFF2-40B4-BE49-F238E27FC236}">
                  <a16:creationId xmlns:a16="http://schemas.microsoft.com/office/drawing/2014/main" id="{BDD0285E-2E44-4930-99DE-C1687B4AD4DA}"/>
                </a:ext>
              </a:extLst>
            </p:cNvPr>
            <p:cNvSpPr/>
            <p:nvPr/>
          </p:nvSpPr>
          <p:spPr bwMode="auto">
            <a:xfrm>
              <a:off x="3844926" y="4633913"/>
              <a:ext cx="1098550" cy="352425"/>
            </a:xfrm>
            <a:custGeom>
              <a:avLst/>
              <a:gdLst>
                <a:gd name="T0" fmla="*/ 3 w 41"/>
                <a:gd name="T1" fmla="*/ 13 h 13"/>
                <a:gd name="T2" fmla="*/ 0 w 41"/>
                <a:gd name="T3" fmla="*/ 11 h 13"/>
                <a:gd name="T4" fmla="*/ 2 w 41"/>
                <a:gd name="T5" fmla="*/ 8 h 13"/>
                <a:gd name="T6" fmla="*/ 37 w 41"/>
                <a:gd name="T7" fmla="*/ 0 h 13"/>
                <a:gd name="T8" fmla="*/ 40 w 41"/>
                <a:gd name="T9" fmla="*/ 2 h 13"/>
                <a:gd name="T10" fmla="*/ 38 w 41"/>
                <a:gd name="T11" fmla="*/ 5 h 13"/>
                <a:gd name="T12" fmla="*/ 3 w 41"/>
                <a:gd name="T13" fmla="*/ 13 h 13"/>
                <a:gd name="T14" fmla="*/ 3 w 4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3">
                  <a:moveTo>
                    <a:pt x="3" y="13"/>
                  </a:moveTo>
                  <a:cubicBezTo>
                    <a:pt x="2" y="13"/>
                    <a:pt x="1" y="12"/>
                    <a:pt x="0" y="11"/>
                  </a:cubicBezTo>
                  <a:cubicBezTo>
                    <a:pt x="0" y="9"/>
                    <a:pt x="1" y="8"/>
                    <a:pt x="2" y="8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0" y="0"/>
                    <a:pt x="40" y="2"/>
                  </a:cubicBezTo>
                  <a:cubicBezTo>
                    <a:pt x="41" y="3"/>
                    <a:pt x="40" y="5"/>
                    <a:pt x="38" y="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ṧliḑe">
              <a:extLst>
                <a:ext uri="{FF2B5EF4-FFF2-40B4-BE49-F238E27FC236}">
                  <a16:creationId xmlns:a16="http://schemas.microsoft.com/office/drawing/2014/main" id="{7E927666-F1D2-477D-8F19-C2D2F8C7B8B8}"/>
                </a:ext>
              </a:extLst>
            </p:cNvPr>
            <p:cNvSpPr/>
            <p:nvPr/>
          </p:nvSpPr>
          <p:spPr bwMode="auto">
            <a:xfrm>
              <a:off x="2881313" y="3902075"/>
              <a:ext cx="1660525" cy="487363"/>
            </a:xfrm>
            <a:custGeom>
              <a:avLst/>
              <a:gdLst>
                <a:gd name="T0" fmla="*/ 3 w 62"/>
                <a:gd name="T1" fmla="*/ 18 h 18"/>
                <a:gd name="T2" fmla="*/ 0 w 62"/>
                <a:gd name="T3" fmla="*/ 15 h 18"/>
                <a:gd name="T4" fmla="*/ 2 w 62"/>
                <a:gd name="T5" fmla="*/ 12 h 18"/>
                <a:gd name="T6" fmla="*/ 58 w 62"/>
                <a:gd name="T7" fmla="*/ 0 h 18"/>
                <a:gd name="T8" fmla="*/ 61 w 62"/>
                <a:gd name="T9" fmla="*/ 2 h 18"/>
                <a:gd name="T10" fmla="*/ 59 w 62"/>
                <a:gd name="T11" fmla="*/ 5 h 18"/>
                <a:gd name="T12" fmla="*/ 4 w 62"/>
                <a:gd name="T13" fmla="*/ 17 h 18"/>
                <a:gd name="T14" fmla="*/ 3 w 62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8">
                  <a:moveTo>
                    <a:pt x="3" y="18"/>
                  </a:moveTo>
                  <a:cubicBezTo>
                    <a:pt x="2" y="18"/>
                    <a:pt x="1" y="17"/>
                    <a:pt x="0" y="15"/>
                  </a:cubicBezTo>
                  <a:cubicBezTo>
                    <a:pt x="0" y="14"/>
                    <a:pt x="1" y="13"/>
                    <a:pt x="2" y="1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0"/>
                    <a:pt x="61" y="2"/>
                  </a:cubicBezTo>
                  <a:cubicBezTo>
                    <a:pt x="62" y="3"/>
                    <a:pt x="61" y="5"/>
                    <a:pt x="59" y="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ŝľîḋé">
              <a:extLst>
                <a:ext uri="{FF2B5EF4-FFF2-40B4-BE49-F238E27FC236}">
                  <a16:creationId xmlns:a16="http://schemas.microsoft.com/office/drawing/2014/main" id="{6A2CB89C-DD8A-4BFC-AA6E-4624921B41FE}"/>
                </a:ext>
              </a:extLst>
            </p:cNvPr>
            <p:cNvSpPr/>
            <p:nvPr/>
          </p:nvSpPr>
          <p:spPr bwMode="auto">
            <a:xfrm>
              <a:off x="3817938" y="2143125"/>
              <a:ext cx="2973388" cy="1408113"/>
            </a:xfrm>
            <a:custGeom>
              <a:avLst/>
              <a:gdLst>
                <a:gd name="T0" fmla="*/ 111 w 111"/>
                <a:gd name="T1" fmla="*/ 43 h 52"/>
                <a:gd name="T2" fmla="*/ 5 w 111"/>
                <a:gd name="T3" fmla="*/ 1 h 52"/>
                <a:gd name="T4" fmla="*/ 1 w 111"/>
                <a:gd name="T5" fmla="*/ 2 h 52"/>
                <a:gd name="T6" fmla="*/ 2 w 111"/>
                <a:gd name="T7" fmla="*/ 7 h 52"/>
                <a:gd name="T8" fmla="*/ 75 w 111"/>
                <a:gd name="T9" fmla="*/ 52 h 52"/>
                <a:gd name="T10" fmla="*/ 77 w 111"/>
                <a:gd name="T11" fmla="*/ 52 h 52"/>
                <a:gd name="T12" fmla="*/ 78 w 111"/>
                <a:gd name="T13" fmla="*/ 52 h 52"/>
                <a:gd name="T14" fmla="*/ 111 w 111"/>
                <a:gd name="T15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52">
                  <a:moveTo>
                    <a:pt x="111" y="43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4"/>
                    <a:pt x="0" y="6"/>
                    <a:pt x="2" y="7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2"/>
                    <a:pt x="76" y="52"/>
                    <a:pt x="77" y="52"/>
                  </a:cubicBezTo>
                  <a:cubicBezTo>
                    <a:pt x="77" y="52"/>
                    <a:pt x="78" y="52"/>
                    <a:pt x="78" y="52"/>
                  </a:cubicBezTo>
                  <a:lnTo>
                    <a:pt x="111" y="43"/>
                  </a:ln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796039" y="3149666"/>
            <a:ext cx="4591100" cy="895350"/>
          </a:xfrm>
        </p:spPr>
        <p:txBody>
          <a:bodyPr/>
          <a:lstStyle/>
          <a:p>
            <a:r>
              <a:rPr lang="zh-CN" altLang="en-US" dirty="0"/>
              <a:t>为什么要学习</a:t>
            </a:r>
            <a:r>
              <a:rPr lang="en-US" altLang="zh-CN" dirty="0"/>
              <a:t>Rust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584242" y="338358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tx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tx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eb98afbf-1986-436c-b322-e82274775c3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A880F77-A05B-42CF-84FD-54CBF6DE133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48484" y="1408301"/>
            <a:ext cx="4950178" cy="3352238"/>
            <a:chOff x="2779713" y="1187450"/>
            <a:chExt cx="6634163" cy="4492625"/>
          </a:xfrm>
        </p:grpSpPr>
        <p:sp>
          <p:nvSpPr>
            <p:cNvPr id="29" name="íṩ1iḋé">
              <a:extLst>
                <a:ext uri="{FF2B5EF4-FFF2-40B4-BE49-F238E27FC236}">
                  <a16:creationId xmlns:a16="http://schemas.microsoft.com/office/drawing/2014/main" id="{C0B20BA1-1AFA-40A8-A152-3C27EF6616AE}"/>
                </a:ext>
              </a:extLst>
            </p:cNvPr>
            <p:cNvSpPr/>
            <p:nvPr/>
          </p:nvSpPr>
          <p:spPr bwMode="auto">
            <a:xfrm>
              <a:off x="2779713" y="1187450"/>
              <a:ext cx="6634163" cy="4160838"/>
            </a:xfrm>
            <a:custGeom>
              <a:avLst/>
              <a:gdLst>
                <a:gd name="T0" fmla="*/ 4576 w 4576"/>
                <a:gd name="T1" fmla="*/ 1846 h 2873"/>
                <a:gd name="T2" fmla="*/ 4272 w 4576"/>
                <a:gd name="T3" fmla="*/ 1159 h 2873"/>
                <a:gd name="T4" fmla="*/ 4276 w 4576"/>
                <a:gd name="T5" fmla="*/ 1072 h 2873"/>
                <a:gd name="T6" fmla="*/ 3568 w 4576"/>
                <a:gd name="T7" fmla="*/ 236 h 2873"/>
                <a:gd name="T8" fmla="*/ 3224 w 4576"/>
                <a:gd name="T9" fmla="*/ 341 h 2873"/>
                <a:gd name="T10" fmla="*/ 2191 w 4576"/>
                <a:gd name="T11" fmla="*/ 0 h 2873"/>
                <a:gd name="T12" fmla="*/ 749 w 4576"/>
                <a:gd name="T13" fmla="*/ 827 h 2873"/>
                <a:gd name="T14" fmla="*/ 708 w 4576"/>
                <a:gd name="T15" fmla="*/ 826 h 2873"/>
                <a:gd name="T16" fmla="*/ 0 w 4576"/>
                <a:gd name="T17" fmla="*/ 1662 h 2873"/>
                <a:gd name="T18" fmla="*/ 116 w 4576"/>
                <a:gd name="T19" fmla="*/ 2121 h 2873"/>
                <a:gd name="T20" fmla="*/ 868 w 4576"/>
                <a:gd name="T21" fmla="*/ 2873 h 2873"/>
                <a:gd name="T22" fmla="*/ 3881 w 4576"/>
                <a:gd name="T23" fmla="*/ 2873 h 2873"/>
                <a:gd name="T24" fmla="*/ 4472 w 4576"/>
                <a:gd name="T25" fmla="*/ 2283 h 2873"/>
                <a:gd name="T26" fmla="*/ 4576 w 4576"/>
                <a:gd name="T27" fmla="*/ 1846 h 2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76" h="2873">
                  <a:moveTo>
                    <a:pt x="4576" y="1846"/>
                  </a:moveTo>
                  <a:cubicBezTo>
                    <a:pt x="4576" y="1561"/>
                    <a:pt x="4456" y="1310"/>
                    <a:pt x="4272" y="1159"/>
                  </a:cubicBezTo>
                  <a:cubicBezTo>
                    <a:pt x="4275" y="1130"/>
                    <a:pt x="4276" y="1101"/>
                    <a:pt x="4276" y="1072"/>
                  </a:cubicBezTo>
                  <a:cubicBezTo>
                    <a:pt x="4276" y="610"/>
                    <a:pt x="3959" y="236"/>
                    <a:pt x="3568" y="236"/>
                  </a:cubicBezTo>
                  <a:cubicBezTo>
                    <a:pt x="3443" y="236"/>
                    <a:pt x="3326" y="274"/>
                    <a:pt x="3224" y="341"/>
                  </a:cubicBezTo>
                  <a:cubicBezTo>
                    <a:pt x="2948" y="129"/>
                    <a:pt x="2586" y="0"/>
                    <a:pt x="2191" y="0"/>
                  </a:cubicBezTo>
                  <a:cubicBezTo>
                    <a:pt x="1548" y="0"/>
                    <a:pt x="995" y="340"/>
                    <a:pt x="749" y="827"/>
                  </a:cubicBezTo>
                  <a:cubicBezTo>
                    <a:pt x="736" y="826"/>
                    <a:pt x="722" y="826"/>
                    <a:pt x="708" y="826"/>
                  </a:cubicBezTo>
                  <a:cubicBezTo>
                    <a:pt x="317" y="826"/>
                    <a:pt x="0" y="1200"/>
                    <a:pt x="0" y="1662"/>
                  </a:cubicBezTo>
                  <a:cubicBezTo>
                    <a:pt x="0" y="1832"/>
                    <a:pt x="43" y="1989"/>
                    <a:pt x="116" y="2121"/>
                  </a:cubicBezTo>
                  <a:cubicBezTo>
                    <a:pt x="116" y="2537"/>
                    <a:pt x="453" y="2873"/>
                    <a:pt x="868" y="2873"/>
                  </a:cubicBezTo>
                  <a:cubicBezTo>
                    <a:pt x="3881" y="2873"/>
                    <a:pt x="3881" y="2873"/>
                    <a:pt x="3881" y="2873"/>
                  </a:cubicBezTo>
                  <a:cubicBezTo>
                    <a:pt x="4207" y="2873"/>
                    <a:pt x="4472" y="2609"/>
                    <a:pt x="4472" y="2283"/>
                  </a:cubicBezTo>
                  <a:cubicBezTo>
                    <a:pt x="4538" y="2156"/>
                    <a:pt x="4576" y="2006"/>
                    <a:pt x="4576" y="1846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sḷîḍe">
              <a:extLst>
                <a:ext uri="{FF2B5EF4-FFF2-40B4-BE49-F238E27FC236}">
                  <a16:creationId xmlns:a16="http://schemas.microsoft.com/office/drawing/2014/main" id="{F2C329F5-3437-4A37-8C41-1233D67C2C8C}"/>
                </a:ext>
              </a:extLst>
            </p:cNvPr>
            <p:cNvSpPr/>
            <p:nvPr/>
          </p:nvSpPr>
          <p:spPr bwMode="auto">
            <a:xfrm>
              <a:off x="6415088" y="4989513"/>
              <a:ext cx="142875" cy="76200"/>
            </a:xfrm>
            <a:custGeom>
              <a:avLst/>
              <a:gdLst>
                <a:gd name="T0" fmla="*/ 98 w 98"/>
                <a:gd name="T1" fmla="*/ 33 h 52"/>
                <a:gd name="T2" fmla="*/ 0 w 98"/>
                <a:gd name="T3" fmla="*/ 23 h 52"/>
                <a:gd name="T4" fmla="*/ 77 w 98"/>
                <a:gd name="T5" fmla="*/ 49 h 52"/>
                <a:gd name="T6" fmla="*/ 98 w 98"/>
                <a:gd name="T7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52">
                  <a:moveTo>
                    <a:pt x="98" y="33"/>
                  </a:moveTo>
                  <a:cubicBezTo>
                    <a:pt x="98" y="33"/>
                    <a:pt x="49" y="0"/>
                    <a:pt x="0" y="23"/>
                  </a:cubicBezTo>
                  <a:cubicBezTo>
                    <a:pt x="0" y="23"/>
                    <a:pt x="15" y="52"/>
                    <a:pt x="77" y="49"/>
                  </a:cubicBezTo>
                  <a:lnTo>
                    <a:pt x="98" y="33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$líḑè">
              <a:extLst>
                <a:ext uri="{FF2B5EF4-FFF2-40B4-BE49-F238E27FC236}">
                  <a16:creationId xmlns:a16="http://schemas.microsoft.com/office/drawing/2014/main" id="{82A6A052-9393-45B2-8BFF-52AAFEF0902A}"/>
                </a:ext>
              </a:extLst>
            </p:cNvPr>
            <p:cNvSpPr/>
            <p:nvPr/>
          </p:nvSpPr>
          <p:spPr bwMode="auto">
            <a:xfrm>
              <a:off x="6500813" y="5038725"/>
              <a:ext cx="87313" cy="139700"/>
            </a:xfrm>
            <a:custGeom>
              <a:avLst/>
              <a:gdLst>
                <a:gd name="T0" fmla="*/ 45 w 60"/>
                <a:gd name="T1" fmla="*/ 0 h 96"/>
                <a:gd name="T2" fmla="*/ 22 w 60"/>
                <a:gd name="T3" fmla="*/ 96 h 96"/>
                <a:gd name="T4" fmla="*/ 22 w 60"/>
                <a:gd name="T5" fmla="*/ 15 h 96"/>
                <a:gd name="T6" fmla="*/ 45 w 60"/>
                <a:gd name="T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96">
                  <a:moveTo>
                    <a:pt x="45" y="0"/>
                  </a:moveTo>
                  <a:cubicBezTo>
                    <a:pt x="45" y="0"/>
                    <a:pt x="60" y="57"/>
                    <a:pt x="22" y="96"/>
                  </a:cubicBezTo>
                  <a:cubicBezTo>
                    <a:pt x="22" y="96"/>
                    <a:pt x="0" y="73"/>
                    <a:pt x="22" y="15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Sľîḑé">
              <a:extLst>
                <a:ext uri="{FF2B5EF4-FFF2-40B4-BE49-F238E27FC236}">
                  <a16:creationId xmlns:a16="http://schemas.microsoft.com/office/drawing/2014/main" id="{F9DFF2C8-9683-4C29-B959-DDE1EEA72F2E}"/>
                </a:ext>
              </a:extLst>
            </p:cNvPr>
            <p:cNvSpPr/>
            <p:nvPr/>
          </p:nvSpPr>
          <p:spPr bwMode="auto">
            <a:xfrm>
              <a:off x="6491288" y="4889500"/>
              <a:ext cx="163513" cy="112713"/>
            </a:xfrm>
            <a:custGeom>
              <a:avLst/>
              <a:gdLst>
                <a:gd name="T0" fmla="*/ 113 w 113"/>
                <a:gd name="T1" fmla="*/ 49 h 77"/>
                <a:gd name="T2" fmla="*/ 0 w 113"/>
                <a:gd name="T3" fmla="*/ 16 h 77"/>
                <a:gd name="T4" fmla="*/ 38 w 113"/>
                <a:gd name="T5" fmla="*/ 62 h 77"/>
                <a:gd name="T6" fmla="*/ 113 w 113"/>
                <a:gd name="T7" fmla="*/ 4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3" h="77">
                  <a:moveTo>
                    <a:pt x="113" y="49"/>
                  </a:moveTo>
                  <a:cubicBezTo>
                    <a:pt x="113" y="49"/>
                    <a:pt x="110" y="0"/>
                    <a:pt x="0" y="16"/>
                  </a:cubicBezTo>
                  <a:cubicBezTo>
                    <a:pt x="0" y="16"/>
                    <a:pt x="0" y="47"/>
                    <a:pt x="38" y="62"/>
                  </a:cubicBezTo>
                  <a:cubicBezTo>
                    <a:pt x="77" y="77"/>
                    <a:pt x="94" y="65"/>
                    <a:pt x="113" y="49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ṥḷídé">
              <a:extLst>
                <a:ext uri="{FF2B5EF4-FFF2-40B4-BE49-F238E27FC236}">
                  <a16:creationId xmlns:a16="http://schemas.microsoft.com/office/drawing/2014/main" id="{34CC05BC-6E31-4602-9A1B-BCEB02267121}"/>
                </a:ext>
              </a:extLst>
            </p:cNvPr>
            <p:cNvSpPr/>
            <p:nvPr/>
          </p:nvSpPr>
          <p:spPr bwMode="auto">
            <a:xfrm>
              <a:off x="6613526" y="4960938"/>
              <a:ext cx="117475" cy="169863"/>
            </a:xfrm>
            <a:custGeom>
              <a:avLst/>
              <a:gdLst>
                <a:gd name="T0" fmla="*/ 36 w 82"/>
                <a:gd name="T1" fmla="*/ 0 h 117"/>
                <a:gd name="T2" fmla="*/ 41 w 82"/>
                <a:gd name="T3" fmla="*/ 117 h 117"/>
                <a:gd name="T4" fmla="*/ 5 w 82"/>
                <a:gd name="T5" fmla="*/ 69 h 117"/>
                <a:gd name="T6" fmla="*/ 36 w 82"/>
                <a:gd name="T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117">
                  <a:moveTo>
                    <a:pt x="36" y="0"/>
                  </a:moveTo>
                  <a:cubicBezTo>
                    <a:pt x="36" y="0"/>
                    <a:pt x="82" y="14"/>
                    <a:pt x="41" y="117"/>
                  </a:cubicBezTo>
                  <a:cubicBezTo>
                    <a:pt x="41" y="117"/>
                    <a:pt x="10" y="110"/>
                    <a:pt x="5" y="69"/>
                  </a:cubicBezTo>
                  <a:cubicBezTo>
                    <a:pt x="0" y="29"/>
                    <a:pt x="16" y="14"/>
                    <a:pt x="36" y="0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ṩļíďe">
              <a:extLst>
                <a:ext uri="{FF2B5EF4-FFF2-40B4-BE49-F238E27FC236}">
                  <a16:creationId xmlns:a16="http://schemas.microsoft.com/office/drawing/2014/main" id="{0B32A156-9E64-439E-B458-B47D79FD4EE6}"/>
                </a:ext>
              </a:extLst>
            </p:cNvPr>
            <p:cNvSpPr/>
            <p:nvPr/>
          </p:nvSpPr>
          <p:spPr bwMode="auto">
            <a:xfrm>
              <a:off x="6591301" y="4745038"/>
              <a:ext cx="173038" cy="142875"/>
            </a:xfrm>
            <a:custGeom>
              <a:avLst/>
              <a:gdLst>
                <a:gd name="T0" fmla="*/ 113 w 119"/>
                <a:gd name="T1" fmla="*/ 80 h 99"/>
                <a:gd name="T2" fmla="*/ 8 w 119"/>
                <a:gd name="T3" fmla="*/ 8 h 99"/>
                <a:gd name="T4" fmla="*/ 93 w 119"/>
                <a:gd name="T5" fmla="*/ 99 h 99"/>
                <a:gd name="T6" fmla="*/ 113 w 119"/>
                <a:gd name="T7" fmla="*/ 8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99">
                  <a:moveTo>
                    <a:pt x="113" y="80"/>
                  </a:moveTo>
                  <a:cubicBezTo>
                    <a:pt x="113" y="80"/>
                    <a:pt x="119" y="0"/>
                    <a:pt x="8" y="8"/>
                  </a:cubicBezTo>
                  <a:cubicBezTo>
                    <a:pt x="8" y="8"/>
                    <a:pt x="0" y="80"/>
                    <a:pt x="93" y="99"/>
                  </a:cubicBezTo>
                  <a:lnTo>
                    <a:pt x="113" y="8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i$ḻîďé">
              <a:extLst>
                <a:ext uri="{FF2B5EF4-FFF2-40B4-BE49-F238E27FC236}">
                  <a16:creationId xmlns:a16="http://schemas.microsoft.com/office/drawing/2014/main" id="{62AF800A-D42A-4ABB-B952-7F91B72764B0}"/>
                </a:ext>
              </a:extLst>
            </p:cNvPr>
            <p:cNvSpPr/>
            <p:nvPr/>
          </p:nvSpPr>
          <p:spPr bwMode="auto">
            <a:xfrm>
              <a:off x="6678613" y="4598988"/>
              <a:ext cx="184150" cy="161925"/>
            </a:xfrm>
            <a:custGeom>
              <a:avLst/>
              <a:gdLst>
                <a:gd name="T0" fmla="*/ 127 w 127"/>
                <a:gd name="T1" fmla="*/ 91 h 112"/>
                <a:gd name="T2" fmla="*/ 0 w 127"/>
                <a:gd name="T3" fmla="*/ 27 h 112"/>
                <a:gd name="T4" fmla="*/ 109 w 127"/>
                <a:gd name="T5" fmla="*/ 112 h 112"/>
                <a:gd name="T6" fmla="*/ 127 w 127"/>
                <a:gd name="T7" fmla="*/ 9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112">
                  <a:moveTo>
                    <a:pt x="127" y="91"/>
                  </a:moveTo>
                  <a:cubicBezTo>
                    <a:pt x="127" y="91"/>
                    <a:pt x="112" y="0"/>
                    <a:pt x="0" y="27"/>
                  </a:cubicBezTo>
                  <a:cubicBezTo>
                    <a:pt x="0" y="27"/>
                    <a:pt x="0" y="105"/>
                    <a:pt x="109" y="112"/>
                  </a:cubicBezTo>
                  <a:lnTo>
                    <a:pt x="127" y="91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îSľíḍè">
              <a:extLst>
                <a:ext uri="{FF2B5EF4-FFF2-40B4-BE49-F238E27FC236}">
                  <a16:creationId xmlns:a16="http://schemas.microsoft.com/office/drawing/2014/main" id="{3E0A4EDD-A12C-4425-81AD-DA9BBEE4152D}"/>
                </a:ext>
              </a:extLst>
            </p:cNvPr>
            <p:cNvSpPr/>
            <p:nvPr/>
          </p:nvSpPr>
          <p:spPr bwMode="auto">
            <a:xfrm>
              <a:off x="6743701" y="4468813"/>
              <a:ext cx="196850" cy="152400"/>
            </a:xfrm>
            <a:custGeom>
              <a:avLst/>
              <a:gdLst>
                <a:gd name="T0" fmla="*/ 136 w 136"/>
                <a:gd name="T1" fmla="*/ 88 h 105"/>
                <a:gd name="T2" fmla="*/ 0 w 136"/>
                <a:gd name="T3" fmla="*/ 26 h 105"/>
                <a:gd name="T4" fmla="*/ 129 w 136"/>
                <a:gd name="T5" fmla="*/ 104 h 105"/>
                <a:gd name="T6" fmla="*/ 136 w 136"/>
                <a:gd name="T7" fmla="*/ 8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6" h="105">
                  <a:moveTo>
                    <a:pt x="136" y="88"/>
                  </a:moveTo>
                  <a:cubicBezTo>
                    <a:pt x="136" y="88"/>
                    <a:pt x="110" y="0"/>
                    <a:pt x="0" y="26"/>
                  </a:cubicBezTo>
                  <a:cubicBezTo>
                    <a:pt x="0" y="26"/>
                    <a:pt x="26" y="105"/>
                    <a:pt x="129" y="104"/>
                  </a:cubicBezTo>
                  <a:lnTo>
                    <a:pt x="136" y="88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iṧľïḍê">
              <a:extLst>
                <a:ext uri="{FF2B5EF4-FFF2-40B4-BE49-F238E27FC236}">
                  <a16:creationId xmlns:a16="http://schemas.microsoft.com/office/drawing/2014/main" id="{9CA2E6F1-22EC-4B1E-BBD8-51D0CFE01F9E}"/>
                </a:ext>
              </a:extLst>
            </p:cNvPr>
            <p:cNvSpPr/>
            <p:nvPr/>
          </p:nvSpPr>
          <p:spPr bwMode="auto">
            <a:xfrm>
              <a:off x="6823076" y="4330700"/>
              <a:ext cx="192088" cy="166688"/>
            </a:xfrm>
            <a:custGeom>
              <a:avLst/>
              <a:gdLst>
                <a:gd name="T0" fmla="*/ 132 w 132"/>
                <a:gd name="T1" fmla="*/ 92 h 115"/>
                <a:gd name="T2" fmla="*/ 0 w 132"/>
                <a:gd name="T3" fmla="*/ 28 h 115"/>
                <a:gd name="T4" fmla="*/ 125 w 132"/>
                <a:gd name="T5" fmla="*/ 107 h 115"/>
                <a:gd name="T6" fmla="*/ 132 w 132"/>
                <a:gd name="T7" fmla="*/ 9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" h="115">
                  <a:moveTo>
                    <a:pt x="132" y="92"/>
                  </a:moveTo>
                  <a:cubicBezTo>
                    <a:pt x="132" y="92"/>
                    <a:pt x="107" y="0"/>
                    <a:pt x="0" y="28"/>
                  </a:cubicBezTo>
                  <a:cubicBezTo>
                    <a:pt x="0" y="28"/>
                    <a:pt x="36" y="115"/>
                    <a:pt x="125" y="107"/>
                  </a:cubicBezTo>
                  <a:lnTo>
                    <a:pt x="132" y="92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šḻíďé">
              <a:extLst>
                <a:ext uri="{FF2B5EF4-FFF2-40B4-BE49-F238E27FC236}">
                  <a16:creationId xmlns:a16="http://schemas.microsoft.com/office/drawing/2014/main" id="{116FB2C8-9317-4C43-89FF-F97DA3C270A0}"/>
                </a:ext>
              </a:extLst>
            </p:cNvPr>
            <p:cNvSpPr/>
            <p:nvPr/>
          </p:nvSpPr>
          <p:spPr bwMode="auto">
            <a:xfrm>
              <a:off x="6889751" y="4178300"/>
              <a:ext cx="173038" cy="184150"/>
            </a:xfrm>
            <a:custGeom>
              <a:avLst/>
              <a:gdLst>
                <a:gd name="T0" fmla="*/ 119 w 119"/>
                <a:gd name="T1" fmla="*/ 111 h 128"/>
                <a:gd name="T2" fmla="*/ 0 w 119"/>
                <a:gd name="T3" fmla="*/ 24 h 128"/>
                <a:gd name="T4" fmla="*/ 112 w 119"/>
                <a:gd name="T5" fmla="*/ 128 h 128"/>
                <a:gd name="T6" fmla="*/ 119 w 119"/>
                <a:gd name="T7" fmla="*/ 11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28">
                  <a:moveTo>
                    <a:pt x="119" y="111"/>
                  </a:moveTo>
                  <a:cubicBezTo>
                    <a:pt x="119" y="111"/>
                    <a:pt x="100" y="0"/>
                    <a:pt x="0" y="24"/>
                  </a:cubicBezTo>
                  <a:cubicBezTo>
                    <a:pt x="0" y="24"/>
                    <a:pt x="29" y="126"/>
                    <a:pt x="112" y="128"/>
                  </a:cubicBezTo>
                  <a:lnTo>
                    <a:pt x="119" y="111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ṥ1iḍê">
              <a:extLst>
                <a:ext uri="{FF2B5EF4-FFF2-40B4-BE49-F238E27FC236}">
                  <a16:creationId xmlns:a16="http://schemas.microsoft.com/office/drawing/2014/main" id="{980D06BE-432D-49F5-8B80-F74F6D0FFD1B}"/>
                </a:ext>
              </a:extLst>
            </p:cNvPr>
            <p:cNvSpPr/>
            <p:nvPr/>
          </p:nvSpPr>
          <p:spPr bwMode="auto">
            <a:xfrm>
              <a:off x="6927851" y="4025900"/>
              <a:ext cx="179388" cy="201613"/>
            </a:xfrm>
            <a:custGeom>
              <a:avLst/>
              <a:gdLst>
                <a:gd name="T0" fmla="*/ 124 w 124"/>
                <a:gd name="T1" fmla="*/ 112 h 139"/>
                <a:gd name="T2" fmla="*/ 0 w 124"/>
                <a:gd name="T3" fmla="*/ 32 h 139"/>
                <a:gd name="T4" fmla="*/ 117 w 124"/>
                <a:gd name="T5" fmla="*/ 128 h 139"/>
                <a:gd name="T6" fmla="*/ 124 w 124"/>
                <a:gd name="T7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4" h="139">
                  <a:moveTo>
                    <a:pt x="124" y="112"/>
                  </a:moveTo>
                  <a:cubicBezTo>
                    <a:pt x="124" y="112"/>
                    <a:pt x="101" y="0"/>
                    <a:pt x="0" y="32"/>
                  </a:cubicBezTo>
                  <a:cubicBezTo>
                    <a:pt x="0" y="32"/>
                    <a:pt x="40" y="139"/>
                    <a:pt x="117" y="128"/>
                  </a:cubicBezTo>
                  <a:lnTo>
                    <a:pt x="124" y="112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ṣlidè">
              <a:extLst>
                <a:ext uri="{FF2B5EF4-FFF2-40B4-BE49-F238E27FC236}">
                  <a16:creationId xmlns:a16="http://schemas.microsoft.com/office/drawing/2014/main" id="{6FD0D898-4C52-4F88-8E5A-67059462D9A2}"/>
                </a:ext>
              </a:extLst>
            </p:cNvPr>
            <p:cNvSpPr/>
            <p:nvPr/>
          </p:nvSpPr>
          <p:spPr bwMode="auto">
            <a:xfrm>
              <a:off x="6969126" y="3884613"/>
              <a:ext cx="165100" cy="195263"/>
            </a:xfrm>
            <a:custGeom>
              <a:avLst/>
              <a:gdLst>
                <a:gd name="T0" fmla="*/ 114 w 114"/>
                <a:gd name="T1" fmla="*/ 112 h 135"/>
                <a:gd name="T2" fmla="*/ 0 w 114"/>
                <a:gd name="T3" fmla="*/ 3 h 135"/>
                <a:gd name="T4" fmla="*/ 108 w 114"/>
                <a:gd name="T5" fmla="*/ 135 h 135"/>
                <a:gd name="T6" fmla="*/ 114 w 114"/>
                <a:gd name="T7" fmla="*/ 11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35">
                  <a:moveTo>
                    <a:pt x="114" y="112"/>
                  </a:moveTo>
                  <a:cubicBezTo>
                    <a:pt x="114" y="112"/>
                    <a:pt x="78" y="0"/>
                    <a:pt x="0" y="3"/>
                  </a:cubicBezTo>
                  <a:cubicBezTo>
                    <a:pt x="0" y="3"/>
                    <a:pt x="37" y="121"/>
                    <a:pt x="108" y="135"/>
                  </a:cubicBezTo>
                  <a:lnTo>
                    <a:pt x="114" y="112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ṣ1îdé">
              <a:extLst>
                <a:ext uri="{FF2B5EF4-FFF2-40B4-BE49-F238E27FC236}">
                  <a16:creationId xmlns:a16="http://schemas.microsoft.com/office/drawing/2014/main" id="{08B7E1B4-BD55-45CD-82F1-C4FC8A862EB2}"/>
                </a:ext>
              </a:extLst>
            </p:cNvPr>
            <p:cNvSpPr/>
            <p:nvPr/>
          </p:nvSpPr>
          <p:spPr bwMode="auto">
            <a:xfrm>
              <a:off x="7002463" y="3714750"/>
              <a:ext cx="150813" cy="227013"/>
            </a:xfrm>
            <a:custGeom>
              <a:avLst/>
              <a:gdLst>
                <a:gd name="T0" fmla="*/ 104 w 104"/>
                <a:gd name="T1" fmla="*/ 135 h 157"/>
                <a:gd name="T2" fmla="*/ 0 w 104"/>
                <a:gd name="T3" fmla="*/ 10 h 157"/>
                <a:gd name="T4" fmla="*/ 101 w 104"/>
                <a:gd name="T5" fmla="*/ 157 h 157"/>
                <a:gd name="T6" fmla="*/ 104 w 104"/>
                <a:gd name="T7" fmla="*/ 135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157">
                  <a:moveTo>
                    <a:pt x="104" y="135"/>
                  </a:moveTo>
                  <a:cubicBezTo>
                    <a:pt x="104" y="135"/>
                    <a:pt x="64" y="0"/>
                    <a:pt x="0" y="10"/>
                  </a:cubicBezTo>
                  <a:cubicBezTo>
                    <a:pt x="0" y="10"/>
                    <a:pt x="28" y="114"/>
                    <a:pt x="101" y="157"/>
                  </a:cubicBezTo>
                  <a:lnTo>
                    <a:pt x="104" y="135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š1íḋè">
              <a:extLst>
                <a:ext uri="{FF2B5EF4-FFF2-40B4-BE49-F238E27FC236}">
                  <a16:creationId xmlns:a16="http://schemas.microsoft.com/office/drawing/2014/main" id="{81965EF1-866E-4DDF-A743-1986B70B1F1F}"/>
                </a:ext>
              </a:extLst>
            </p:cNvPr>
            <p:cNvSpPr/>
            <p:nvPr/>
          </p:nvSpPr>
          <p:spPr bwMode="auto">
            <a:xfrm>
              <a:off x="7018338" y="3576638"/>
              <a:ext cx="146050" cy="212725"/>
            </a:xfrm>
            <a:custGeom>
              <a:avLst/>
              <a:gdLst>
                <a:gd name="T0" fmla="*/ 100 w 100"/>
                <a:gd name="T1" fmla="*/ 117 h 147"/>
                <a:gd name="T2" fmla="*/ 0 w 100"/>
                <a:gd name="T3" fmla="*/ 0 h 147"/>
                <a:gd name="T4" fmla="*/ 98 w 100"/>
                <a:gd name="T5" fmla="*/ 147 h 147"/>
                <a:gd name="T6" fmla="*/ 100 w 100"/>
                <a:gd name="T7" fmla="*/ 11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147">
                  <a:moveTo>
                    <a:pt x="100" y="117"/>
                  </a:moveTo>
                  <a:cubicBezTo>
                    <a:pt x="100" y="117"/>
                    <a:pt x="62" y="4"/>
                    <a:pt x="0" y="0"/>
                  </a:cubicBezTo>
                  <a:cubicBezTo>
                    <a:pt x="0" y="0"/>
                    <a:pt x="25" y="111"/>
                    <a:pt x="98" y="147"/>
                  </a:cubicBezTo>
                  <a:lnTo>
                    <a:pt x="100" y="117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sḻîḓê">
              <a:extLst>
                <a:ext uri="{FF2B5EF4-FFF2-40B4-BE49-F238E27FC236}">
                  <a16:creationId xmlns:a16="http://schemas.microsoft.com/office/drawing/2014/main" id="{2242827A-8DD0-45FE-B1EA-B2B1B103F86F}"/>
                </a:ext>
              </a:extLst>
            </p:cNvPr>
            <p:cNvSpPr/>
            <p:nvPr/>
          </p:nvSpPr>
          <p:spPr bwMode="auto">
            <a:xfrm>
              <a:off x="7046913" y="3425825"/>
              <a:ext cx="127000" cy="195263"/>
            </a:xfrm>
            <a:custGeom>
              <a:avLst/>
              <a:gdLst>
                <a:gd name="T0" fmla="*/ 88 w 88"/>
                <a:gd name="T1" fmla="*/ 116 h 135"/>
                <a:gd name="T2" fmla="*/ 0 w 88"/>
                <a:gd name="T3" fmla="*/ 0 h 135"/>
                <a:gd name="T4" fmla="*/ 84 w 88"/>
                <a:gd name="T5" fmla="*/ 135 h 135"/>
                <a:gd name="T6" fmla="*/ 88 w 88"/>
                <a:gd name="T7" fmla="*/ 11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135">
                  <a:moveTo>
                    <a:pt x="88" y="116"/>
                  </a:moveTo>
                  <a:cubicBezTo>
                    <a:pt x="88" y="116"/>
                    <a:pt x="41" y="3"/>
                    <a:pt x="0" y="0"/>
                  </a:cubicBezTo>
                  <a:cubicBezTo>
                    <a:pt x="0" y="0"/>
                    <a:pt x="20" y="112"/>
                    <a:pt x="84" y="135"/>
                  </a:cubicBezTo>
                  <a:lnTo>
                    <a:pt x="88" y="116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ṧliḑè">
              <a:extLst>
                <a:ext uri="{FF2B5EF4-FFF2-40B4-BE49-F238E27FC236}">
                  <a16:creationId xmlns:a16="http://schemas.microsoft.com/office/drawing/2014/main" id="{7EF19C57-A333-40B4-8730-C749A5702026}"/>
                </a:ext>
              </a:extLst>
            </p:cNvPr>
            <p:cNvSpPr/>
            <p:nvPr/>
          </p:nvSpPr>
          <p:spPr bwMode="auto">
            <a:xfrm>
              <a:off x="7080251" y="3259138"/>
              <a:ext cx="101600" cy="206375"/>
            </a:xfrm>
            <a:custGeom>
              <a:avLst/>
              <a:gdLst>
                <a:gd name="T0" fmla="*/ 70 w 70"/>
                <a:gd name="T1" fmla="*/ 133 h 142"/>
                <a:gd name="T2" fmla="*/ 0 w 70"/>
                <a:gd name="T3" fmla="*/ 0 h 142"/>
                <a:gd name="T4" fmla="*/ 66 w 70"/>
                <a:gd name="T5" fmla="*/ 142 h 142"/>
                <a:gd name="T6" fmla="*/ 70 w 70"/>
                <a:gd name="T7" fmla="*/ 13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142">
                  <a:moveTo>
                    <a:pt x="70" y="133"/>
                  </a:moveTo>
                  <a:cubicBezTo>
                    <a:pt x="70" y="133"/>
                    <a:pt x="42" y="10"/>
                    <a:pt x="0" y="0"/>
                  </a:cubicBezTo>
                  <a:cubicBezTo>
                    <a:pt x="0" y="0"/>
                    <a:pt x="6" y="100"/>
                    <a:pt x="66" y="142"/>
                  </a:cubicBezTo>
                  <a:lnTo>
                    <a:pt x="70" y="133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ṡļíḓê">
              <a:extLst>
                <a:ext uri="{FF2B5EF4-FFF2-40B4-BE49-F238E27FC236}">
                  <a16:creationId xmlns:a16="http://schemas.microsoft.com/office/drawing/2014/main" id="{DBAA406B-B555-4D60-BCE6-E134BDC8C49E}"/>
                </a:ext>
              </a:extLst>
            </p:cNvPr>
            <p:cNvSpPr/>
            <p:nvPr/>
          </p:nvSpPr>
          <p:spPr bwMode="auto">
            <a:xfrm>
              <a:off x="7112001" y="3103563"/>
              <a:ext cx="92075" cy="196850"/>
            </a:xfrm>
            <a:custGeom>
              <a:avLst/>
              <a:gdLst>
                <a:gd name="T0" fmla="*/ 64 w 64"/>
                <a:gd name="T1" fmla="*/ 113 h 136"/>
                <a:gd name="T2" fmla="*/ 0 w 64"/>
                <a:gd name="T3" fmla="*/ 0 h 136"/>
                <a:gd name="T4" fmla="*/ 56 w 64"/>
                <a:gd name="T5" fmla="*/ 136 h 136"/>
                <a:gd name="T6" fmla="*/ 64 w 64"/>
                <a:gd name="T7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136">
                  <a:moveTo>
                    <a:pt x="64" y="113"/>
                  </a:moveTo>
                  <a:cubicBezTo>
                    <a:pt x="64" y="113"/>
                    <a:pt x="34" y="15"/>
                    <a:pt x="0" y="0"/>
                  </a:cubicBezTo>
                  <a:cubicBezTo>
                    <a:pt x="0" y="0"/>
                    <a:pt x="7" y="115"/>
                    <a:pt x="56" y="136"/>
                  </a:cubicBezTo>
                  <a:lnTo>
                    <a:pt x="64" y="113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šḷïḍê">
              <a:extLst>
                <a:ext uri="{FF2B5EF4-FFF2-40B4-BE49-F238E27FC236}">
                  <a16:creationId xmlns:a16="http://schemas.microsoft.com/office/drawing/2014/main" id="{4C72E006-387A-414E-8077-95AE2F96D2DE}"/>
                </a:ext>
              </a:extLst>
            </p:cNvPr>
            <p:cNvSpPr/>
            <p:nvPr/>
          </p:nvSpPr>
          <p:spPr bwMode="auto">
            <a:xfrm>
              <a:off x="7140576" y="2894013"/>
              <a:ext cx="92075" cy="295275"/>
            </a:xfrm>
            <a:custGeom>
              <a:avLst/>
              <a:gdLst>
                <a:gd name="T0" fmla="*/ 57 w 63"/>
                <a:gd name="T1" fmla="*/ 172 h 203"/>
                <a:gd name="T2" fmla="*/ 63 w 63"/>
                <a:gd name="T3" fmla="*/ 0 h 203"/>
                <a:gd name="T4" fmla="*/ 52 w 63"/>
                <a:gd name="T5" fmla="*/ 203 h 203"/>
                <a:gd name="T6" fmla="*/ 57 w 63"/>
                <a:gd name="T7" fmla="*/ 17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203">
                  <a:moveTo>
                    <a:pt x="57" y="172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0" y="130"/>
                    <a:pt x="52" y="203"/>
                  </a:cubicBezTo>
                  <a:lnTo>
                    <a:pt x="57" y="172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şḷíḋe">
              <a:extLst>
                <a:ext uri="{FF2B5EF4-FFF2-40B4-BE49-F238E27FC236}">
                  <a16:creationId xmlns:a16="http://schemas.microsoft.com/office/drawing/2014/main" id="{8C74BB09-A85C-4D67-93D5-17FAE17993B4}"/>
                </a:ext>
              </a:extLst>
            </p:cNvPr>
            <p:cNvSpPr/>
            <p:nvPr/>
          </p:nvSpPr>
          <p:spPr bwMode="auto">
            <a:xfrm>
              <a:off x="7246938" y="2703513"/>
              <a:ext cx="127000" cy="271463"/>
            </a:xfrm>
            <a:custGeom>
              <a:avLst/>
              <a:gdLst>
                <a:gd name="T0" fmla="*/ 32 w 88"/>
                <a:gd name="T1" fmla="*/ 133 h 187"/>
                <a:gd name="T2" fmla="*/ 88 w 88"/>
                <a:gd name="T3" fmla="*/ 0 h 187"/>
                <a:gd name="T4" fmla="*/ 8 w 88"/>
                <a:gd name="T5" fmla="*/ 187 h 187"/>
                <a:gd name="T6" fmla="*/ 32 w 88"/>
                <a:gd name="T7" fmla="*/ 13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187">
                  <a:moveTo>
                    <a:pt x="32" y="133"/>
                  </a:moveTo>
                  <a:cubicBezTo>
                    <a:pt x="32" y="133"/>
                    <a:pt x="77" y="7"/>
                    <a:pt x="88" y="0"/>
                  </a:cubicBezTo>
                  <a:cubicBezTo>
                    <a:pt x="88" y="0"/>
                    <a:pt x="0" y="81"/>
                    <a:pt x="8" y="187"/>
                  </a:cubicBezTo>
                  <a:lnTo>
                    <a:pt x="32" y="133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ṣlïďè">
              <a:extLst>
                <a:ext uri="{FF2B5EF4-FFF2-40B4-BE49-F238E27FC236}">
                  <a16:creationId xmlns:a16="http://schemas.microsoft.com/office/drawing/2014/main" id="{1B522AB5-1C59-4F82-9900-8EA835B8C39F}"/>
                </a:ext>
              </a:extLst>
            </p:cNvPr>
            <p:cNvSpPr/>
            <p:nvPr/>
          </p:nvSpPr>
          <p:spPr bwMode="auto">
            <a:xfrm>
              <a:off x="6732588" y="4845050"/>
              <a:ext cx="141288" cy="177800"/>
            </a:xfrm>
            <a:custGeom>
              <a:avLst/>
              <a:gdLst>
                <a:gd name="T0" fmla="*/ 18 w 97"/>
                <a:gd name="T1" fmla="*/ 10 h 123"/>
                <a:gd name="T2" fmla="*/ 95 w 97"/>
                <a:gd name="T3" fmla="*/ 112 h 123"/>
                <a:gd name="T4" fmla="*/ 0 w 97"/>
                <a:gd name="T5" fmla="*/ 31 h 123"/>
                <a:gd name="T6" fmla="*/ 18 w 97"/>
                <a:gd name="T7" fmla="*/ 1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123">
                  <a:moveTo>
                    <a:pt x="18" y="10"/>
                  </a:moveTo>
                  <a:cubicBezTo>
                    <a:pt x="18" y="10"/>
                    <a:pt x="97" y="0"/>
                    <a:pt x="95" y="112"/>
                  </a:cubicBezTo>
                  <a:cubicBezTo>
                    <a:pt x="95" y="112"/>
                    <a:pt x="23" y="123"/>
                    <a:pt x="0" y="31"/>
                  </a:cubicBezTo>
                  <a:lnTo>
                    <a:pt x="18" y="1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sḻídè">
              <a:extLst>
                <a:ext uri="{FF2B5EF4-FFF2-40B4-BE49-F238E27FC236}">
                  <a16:creationId xmlns:a16="http://schemas.microsoft.com/office/drawing/2014/main" id="{27C75EAD-60BB-4EA8-BAD2-720CAE2F6643}"/>
                </a:ext>
              </a:extLst>
            </p:cNvPr>
            <p:cNvSpPr/>
            <p:nvPr/>
          </p:nvSpPr>
          <p:spPr bwMode="auto">
            <a:xfrm>
              <a:off x="6840538" y="4724400"/>
              <a:ext cx="158750" cy="187325"/>
            </a:xfrm>
            <a:custGeom>
              <a:avLst/>
              <a:gdLst>
                <a:gd name="T0" fmla="*/ 19 w 110"/>
                <a:gd name="T1" fmla="*/ 1 h 129"/>
                <a:gd name="T2" fmla="*/ 103 w 110"/>
                <a:gd name="T3" fmla="*/ 115 h 129"/>
                <a:gd name="T4" fmla="*/ 0 w 110"/>
                <a:gd name="T5" fmla="*/ 22 h 129"/>
                <a:gd name="T6" fmla="*/ 19 w 110"/>
                <a:gd name="T7" fmla="*/ 1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129">
                  <a:moveTo>
                    <a:pt x="19" y="1"/>
                  </a:moveTo>
                  <a:cubicBezTo>
                    <a:pt x="19" y="1"/>
                    <a:pt x="110" y="0"/>
                    <a:pt x="103" y="115"/>
                  </a:cubicBezTo>
                  <a:cubicBezTo>
                    <a:pt x="103" y="115"/>
                    <a:pt x="26" y="129"/>
                    <a:pt x="0" y="22"/>
                  </a:cubicBezTo>
                  <a:lnTo>
                    <a:pt x="19" y="1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iś1ïdé">
              <a:extLst>
                <a:ext uri="{FF2B5EF4-FFF2-40B4-BE49-F238E27FC236}">
                  <a16:creationId xmlns:a16="http://schemas.microsoft.com/office/drawing/2014/main" id="{EED6DECF-A341-42D1-95C1-B0A246FD1AE1}"/>
                </a:ext>
              </a:extLst>
            </p:cNvPr>
            <p:cNvSpPr/>
            <p:nvPr/>
          </p:nvSpPr>
          <p:spPr bwMode="auto">
            <a:xfrm>
              <a:off x="6931026" y="4549775"/>
              <a:ext cx="207963" cy="192088"/>
            </a:xfrm>
            <a:custGeom>
              <a:avLst/>
              <a:gdLst>
                <a:gd name="T0" fmla="*/ 8 w 144"/>
                <a:gd name="T1" fmla="*/ 39 h 133"/>
                <a:gd name="T2" fmla="*/ 144 w 144"/>
                <a:gd name="T3" fmla="*/ 101 h 133"/>
                <a:gd name="T4" fmla="*/ 0 w 144"/>
                <a:gd name="T5" fmla="*/ 55 h 133"/>
                <a:gd name="T6" fmla="*/ 8 w 144"/>
                <a:gd name="T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133">
                  <a:moveTo>
                    <a:pt x="8" y="39"/>
                  </a:moveTo>
                  <a:cubicBezTo>
                    <a:pt x="8" y="39"/>
                    <a:pt x="91" y="0"/>
                    <a:pt x="144" y="101"/>
                  </a:cubicBezTo>
                  <a:cubicBezTo>
                    <a:pt x="144" y="101"/>
                    <a:pt x="67" y="133"/>
                    <a:pt x="0" y="55"/>
                  </a:cubicBezTo>
                  <a:lnTo>
                    <a:pt x="8" y="39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ṣ1íḋè">
              <a:extLst>
                <a:ext uri="{FF2B5EF4-FFF2-40B4-BE49-F238E27FC236}">
                  <a16:creationId xmlns:a16="http://schemas.microsoft.com/office/drawing/2014/main" id="{DA4DB8C0-E349-4ABD-A2B0-CB4BC44FF86E}"/>
                </a:ext>
              </a:extLst>
            </p:cNvPr>
            <p:cNvSpPr/>
            <p:nvPr/>
          </p:nvSpPr>
          <p:spPr bwMode="auto">
            <a:xfrm>
              <a:off x="7007226" y="4405313"/>
              <a:ext cx="206375" cy="185738"/>
            </a:xfrm>
            <a:custGeom>
              <a:avLst/>
              <a:gdLst>
                <a:gd name="T0" fmla="*/ 7 w 142"/>
                <a:gd name="T1" fmla="*/ 42 h 129"/>
                <a:gd name="T2" fmla="*/ 142 w 142"/>
                <a:gd name="T3" fmla="*/ 98 h 129"/>
                <a:gd name="T4" fmla="*/ 0 w 142"/>
                <a:gd name="T5" fmla="*/ 57 h 129"/>
                <a:gd name="T6" fmla="*/ 7 w 142"/>
                <a:gd name="T7" fmla="*/ 4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" h="129">
                  <a:moveTo>
                    <a:pt x="7" y="42"/>
                  </a:moveTo>
                  <a:cubicBezTo>
                    <a:pt x="7" y="42"/>
                    <a:pt x="92" y="0"/>
                    <a:pt x="142" y="98"/>
                  </a:cubicBezTo>
                  <a:cubicBezTo>
                    <a:pt x="142" y="98"/>
                    <a:pt x="54" y="129"/>
                    <a:pt x="0" y="57"/>
                  </a:cubicBezTo>
                  <a:lnTo>
                    <a:pt x="7" y="42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śḷiḓé">
              <a:extLst>
                <a:ext uri="{FF2B5EF4-FFF2-40B4-BE49-F238E27FC236}">
                  <a16:creationId xmlns:a16="http://schemas.microsoft.com/office/drawing/2014/main" id="{56E75EA9-D5BA-48EE-A831-F98AD5AA4A6B}"/>
                </a:ext>
              </a:extLst>
            </p:cNvPr>
            <p:cNvSpPr/>
            <p:nvPr/>
          </p:nvSpPr>
          <p:spPr bwMode="auto">
            <a:xfrm>
              <a:off x="7054851" y="4229100"/>
              <a:ext cx="220663" cy="207963"/>
            </a:xfrm>
            <a:custGeom>
              <a:avLst/>
              <a:gdLst>
                <a:gd name="T0" fmla="*/ 4 w 152"/>
                <a:gd name="T1" fmla="*/ 78 h 143"/>
                <a:gd name="T2" fmla="*/ 152 w 152"/>
                <a:gd name="T3" fmla="*/ 79 h 143"/>
                <a:gd name="T4" fmla="*/ 0 w 152"/>
                <a:gd name="T5" fmla="*/ 95 h 143"/>
                <a:gd name="T6" fmla="*/ 4 w 152"/>
                <a:gd name="T7" fmla="*/ 7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2" h="143">
                  <a:moveTo>
                    <a:pt x="4" y="78"/>
                  </a:moveTo>
                  <a:cubicBezTo>
                    <a:pt x="4" y="78"/>
                    <a:pt x="86" y="0"/>
                    <a:pt x="152" y="79"/>
                  </a:cubicBezTo>
                  <a:cubicBezTo>
                    <a:pt x="152" y="79"/>
                    <a:pt x="68" y="143"/>
                    <a:pt x="0" y="95"/>
                  </a:cubicBezTo>
                  <a:lnTo>
                    <a:pt x="4" y="78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šļiḓe">
              <a:extLst>
                <a:ext uri="{FF2B5EF4-FFF2-40B4-BE49-F238E27FC236}">
                  <a16:creationId xmlns:a16="http://schemas.microsoft.com/office/drawing/2014/main" id="{9E29CD05-678F-49F9-B8ED-03DA5FA1B9ED}"/>
                </a:ext>
              </a:extLst>
            </p:cNvPr>
            <p:cNvSpPr/>
            <p:nvPr/>
          </p:nvSpPr>
          <p:spPr bwMode="auto">
            <a:xfrm>
              <a:off x="7097713" y="4068763"/>
              <a:ext cx="217488" cy="215900"/>
            </a:xfrm>
            <a:custGeom>
              <a:avLst/>
              <a:gdLst>
                <a:gd name="T0" fmla="*/ 3 w 150"/>
                <a:gd name="T1" fmla="*/ 80 h 149"/>
                <a:gd name="T2" fmla="*/ 150 w 150"/>
                <a:gd name="T3" fmla="*/ 83 h 149"/>
                <a:gd name="T4" fmla="*/ 0 w 150"/>
                <a:gd name="T5" fmla="*/ 96 h 149"/>
                <a:gd name="T6" fmla="*/ 3 w 150"/>
                <a:gd name="T7" fmla="*/ 8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0" h="149">
                  <a:moveTo>
                    <a:pt x="3" y="80"/>
                  </a:moveTo>
                  <a:cubicBezTo>
                    <a:pt x="3" y="80"/>
                    <a:pt x="85" y="0"/>
                    <a:pt x="150" y="83"/>
                  </a:cubicBezTo>
                  <a:cubicBezTo>
                    <a:pt x="150" y="83"/>
                    <a:pt x="57" y="149"/>
                    <a:pt x="0" y="96"/>
                  </a:cubicBezTo>
                  <a:lnTo>
                    <a:pt x="3" y="8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ŝľíḍé">
              <a:extLst>
                <a:ext uri="{FF2B5EF4-FFF2-40B4-BE49-F238E27FC236}">
                  <a16:creationId xmlns:a16="http://schemas.microsoft.com/office/drawing/2014/main" id="{6DCBAEA1-6EA5-4D7B-A721-F674565497C7}"/>
                </a:ext>
              </a:extLst>
            </p:cNvPr>
            <p:cNvSpPr/>
            <p:nvPr/>
          </p:nvSpPr>
          <p:spPr bwMode="auto">
            <a:xfrm>
              <a:off x="7123113" y="3898900"/>
              <a:ext cx="200025" cy="184150"/>
            </a:xfrm>
            <a:custGeom>
              <a:avLst/>
              <a:gdLst>
                <a:gd name="T0" fmla="*/ 0 w 138"/>
                <a:gd name="T1" fmla="*/ 100 h 128"/>
                <a:gd name="T2" fmla="*/ 138 w 138"/>
                <a:gd name="T3" fmla="*/ 22 h 128"/>
                <a:gd name="T4" fmla="*/ 1 w 138"/>
                <a:gd name="T5" fmla="*/ 123 h 128"/>
                <a:gd name="T6" fmla="*/ 0 w 138"/>
                <a:gd name="T7" fmla="*/ 10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8" h="128">
                  <a:moveTo>
                    <a:pt x="0" y="100"/>
                  </a:moveTo>
                  <a:cubicBezTo>
                    <a:pt x="0" y="100"/>
                    <a:pt x="64" y="0"/>
                    <a:pt x="138" y="22"/>
                  </a:cubicBezTo>
                  <a:cubicBezTo>
                    <a:pt x="138" y="22"/>
                    <a:pt x="72" y="128"/>
                    <a:pt x="1" y="123"/>
                  </a:cubicBezTo>
                  <a:lnTo>
                    <a:pt x="0" y="10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ŝḻíḓe">
              <a:extLst>
                <a:ext uri="{FF2B5EF4-FFF2-40B4-BE49-F238E27FC236}">
                  <a16:creationId xmlns:a16="http://schemas.microsoft.com/office/drawing/2014/main" id="{F04A9EF1-98F7-495B-BEB7-C027CFF2B071}"/>
                </a:ext>
              </a:extLst>
            </p:cNvPr>
            <p:cNvSpPr/>
            <p:nvPr/>
          </p:nvSpPr>
          <p:spPr bwMode="auto">
            <a:xfrm>
              <a:off x="7148513" y="3727450"/>
              <a:ext cx="182563" cy="212725"/>
            </a:xfrm>
            <a:custGeom>
              <a:avLst/>
              <a:gdLst>
                <a:gd name="T0" fmla="*/ 2 w 126"/>
                <a:gd name="T1" fmla="*/ 126 h 147"/>
                <a:gd name="T2" fmla="*/ 126 w 126"/>
                <a:gd name="T3" fmla="*/ 22 h 147"/>
                <a:gd name="T4" fmla="*/ 0 w 126"/>
                <a:gd name="T5" fmla="*/ 147 h 147"/>
                <a:gd name="T6" fmla="*/ 2 w 126"/>
                <a:gd name="T7" fmla="*/ 12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6" h="147">
                  <a:moveTo>
                    <a:pt x="2" y="126"/>
                  </a:moveTo>
                  <a:cubicBezTo>
                    <a:pt x="2" y="126"/>
                    <a:pt x="66" y="0"/>
                    <a:pt x="126" y="22"/>
                  </a:cubicBezTo>
                  <a:cubicBezTo>
                    <a:pt x="126" y="22"/>
                    <a:pt x="80" y="119"/>
                    <a:pt x="0" y="147"/>
                  </a:cubicBezTo>
                  <a:lnTo>
                    <a:pt x="2" y="126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şḻiḍé">
              <a:extLst>
                <a:ext uri="{FF2B5EF4-FFF2-40B4-BE49-F238E27FC236}">
                  <a16:creationId xmlns:a16="http://schemas.microsoft.com/office/drawing/2014/main" id="{E59C1852-0B0A-42C2-A8C0-BD938B90E86B}"/>
                </a:ext>
              </a:extLst>
            </p:cNvPr>
            <p:cNvSpPr/>
            <p:nvPr/>
          </p:nvSpPr>
          <p:spPr bwMode="auto">
            <a:xfrm>
              <a:off x="7148513" y="3594100"/>
              <a:ext cx="193675" cy="185738"/>
            </a:xfrm>
            <a:custGeom>
              <a:avLst/>
              <a:gdLst>
                <a:gd name="T0" fmla="*/ 6 w 134"/>
                <a:gd name="T1" fmla="*/ 99 h 128"/>
                <a:gd name="T2" fmla="*/ 134 w 134"/>
                <a:gd name="T3" fmla="*/ 12 h 128"/>
                <a:gd name="T4" fmla="*/ 0 w 134"/>
                <a:gd name="T5" fmla="*/ 128 h 128"/>
                <a:gd name="T6" fmla="*/ 6 w 134"/>
                <a:gd name="T7" fmla="*/ 9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4" h="128">
                  <a:moveTo>
                    <a:pt x="6" y="99"/>
                  </a:moveTo>
                  <a:cubicBezTo>
                    <a:pt x="6" y="99"/>
                    <a:pt x="72" y="0"/>
                    <a:pt x="134" y="12"/>
                  </a:cubicBezTo>
                  <a:cubicBezTo>
                    <a:pt x="134" y="12"/>
                    <a:pt x="80" y="112"/>
                    <a:pt x="0" y="128"/>
                  </a:cubicBezTo>
                  <a:lnTo>
                    <a:pt x="6" y="99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sľïḋé">
              <a:extLst>
                <a:ext uri="{FF2B5EF4-FFF2-40B4-BE49-F238E27FC236}">
                  <a16:creationId xmlns:a16="http://schemas.microsoft.com/office/drawing/2014/main" id="{023F9F03-94CF-40C2-BA8D-CAFA6C9C79F5}"/>
                </a:ext>
              </a:extLst>
            </p:cNvPr>
            <p:cNvSpPr/>
            <p:nvPr/>
          </p:nvSpPr>
          <p:spPr bwMode="auto">
            <a:xfrm>
              <a:off x="7164388" y="3429000"/>
              <a:ext cx="134938" cy="188913"/>
            </a:xfrm>
            <a:custGeom>
              <a:avLst/>
              <a:gdLst>
                <a:gd name="T0" fmla="*/ 0 w 93"/>
                <a:gd name="T1" fmla="*/ 112 h 130"/>
                <a:gd name="T2" fmla="*/ 93 w 93"/>
                <a:gd name="T3" fmla="*/ 0 h 130"/>
                <a:gd name="T4" fmla="*/ 4 w 93"/>
                <a:gd name="T5" fmla="*/ 130 h 130"/>
                <a:gd name="T6" fmla="*/ 0 w 93"/>
                <a:gd name="T7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3" h="130">
                  <a:moveTo>
                    <a:pt x="0" y="112"/>
                  </a:moveTo>
                  <a:cubicBezTo>
                    <a:pt x="0" y="112"/>
                    <a:pt x="51" y="1"/>
                    <a:pt x="93" y="0"/>
                  </a:cubicBezTo>
                  <a:cubicBezTo>
                    <a:pt x="93" y="0"/>
                    <a:pt x="68" y="110"/>
                    <a:pt x="4" y="130"/>
                  </a:cubicBezTo>
                  <a:lnTo>
                    <a:pt x="0" y="112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şlíde">
              <a:extLst>
                <a:ext uri="{FF2B5EF4-FFF2-40B4-BE49-F238E27FC236}">
                  <a16:creationId xmlns:a16="http://schemas.microsoft.com/office/drawing/2014/main" id="{06AC4EC2-35E7-4E1E-8FA2-F192EE4A9750}"/>
                </a:ext>
              </a:extLst>
            </p:cNvPr>
            <p:cNvSpPr/>
            <p:nvPr/>
          </p:nvSpPr>
          <p:spPr bwMode="auto">
            <a:xfrm>
              <a:off x="7178676" y="3286125"/>
              <a:ext cx="144463" cy="177800"/>
            </a:xfrm>
            <a:custGeom>
              <a:avLst/>
              <a:gdLst>
                <a:gd name="T0" fmla="*/ 0 w 100"/>
                <a:gd name="T1" fmla="*/ 113 h 123"/>
                <a:gd name="T2" fmla="*/ 100 w 100"/>
                <a:gd name="T3" fmla="*/ 0 h 123"/>
                <a:gd name="T4" fmla="*/ 2 w 100"/>
                <a:gd name="T5" fmla="*/ 123 h 123"/>
                <a:gd name="T6" fmla="*/ 0 w 100"/>
                <a:gd name="T7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123">
                  <a:moveTo>
                    <a:pt x="0" y="113"/>
                  </a:moveTo>
                  <a:cubicBezTo>
                    <a:pt x="0" y="113"/>
                    <a:pt x="57" y="0"/>
                    <a:pt x="100" y="0"/>
                  </a:cubicBezTo>
                  <a:cubicBezTo>
                    <a:pt x="100" y="0"/>
                    <a:pt x="71" y="96"/>
                    <a:pt x="2" y="123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šļiḓè">
              <a:extLst>
                <a:ext uri="{FF2B5EF4-FFF2-40B4-BE49-F238E27FC236}">
                  <a16:creationId xmlns:a16="http://schemas.microsoft.com/office/drawing/2014/main" id="{97369263-7BA7-4C5E-8D7A-352400F3650E}"/>
                </a:ext>
              </a:extLst>
            </p:cNvPr>
            <p:cNvSpPr/>
            <p:nvPr/>
          </p:nvSpPr>
          <p:spPr bwMode="auto">
            <a:xfrm>
              <a:off x="7191376" y="3124200"/>
              <a:ext cx="111125" cy="187325"/>
            </a:xfrm>
            <a:custGeom>
              <a:avLst/>
              <a:gdLst>
                <a:gd name="T0" fmla="*/ 0 w 77"/>
                <a:gd name="T1" fmla="*/ 104 h 129"/>
                <a:gd name="T2" fmla="*/ 77 w 77"/>
                <a:gd name="T3" fmla="*/ 0 h 129"/>
                <a:gd name="T4" fmla="*/ 4 w 77"/>
                <a:gd name="T5" fmla="*/ 129 h 129"/>
                <a:gd name="T6" fmla="*/ 0 w 77"/>
                <a:gd name="T7" fmla="*/ 10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129">
                  <a:moveTo>
                    <a:pt x="0" y="104"/>
                  </a:moveTo>
                  <a:cubicBezTo>
                    <a:pt x="0" y="104"/>
                    <a:pt x="42" y="11"/>
                    <a:pt x="77" y="0"/>
                  </a:cubicBezTo>
                  <a:cubicBezTo>
                    <a:pt x="77" y="0"/>
                    <a:pt x="56" y="114"/>
                    <a:pt x="4" y="129"/>
                  </a:cubicBezTo>
                  <a:lnTo>
                    <a:pt x="0" y="104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iṥlîḑé">
              <a:extLst>
                <a:ext uri="{FF2B5EF4-FFF2-40B4-BE49-F238E27FC236}">
                  <a16:creationId xmlns:a16="http://schemas.microsoft.com/office/drawing/2014/main" id="{E875DE8F-84DE-4AAB-8053-C5CBAE0A667A}"/>
                </a:ext>
              </a:extLst>
            </p:cNvPr>
            <p:cNvSpPr/>
            <p:nvPr/>
          </p:nvSpPr>
          <p:spPr bwMode="auto">
            <a:xfrm>
              <a:off x="7210426" y="2930525"/>
              <a:ext cx="157163" cy="249238"/>
            </a:xfrm>
            <a:custGeom>
              <a:avLst/>
              <a:gdLst>
                <a:gd name="T0" fmla="*/ 14 w 109"/>
                <a:gd name="T1" fmla="*/ 144 h 172"/>
                <a:gd name="T2" fmla="*/ 109 w 109"/>
                <a:gd name="T3" fmla="*/ 0 h 172"/>
                <a:gd name="T4" fmla="*/ 0 w 109"/>
                <a:gd name="T5" fmla="*/ 172 h 172"/>
                <a:gd name="T6" fmla="*/ 14 w 109"/>
                <a:gd name="T7" fmla="*/ 14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172">
                  <a:moveTo>
                    <a:pt x="14" y="144"/>
                  </a:move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84" y="142"/>
                    <a:pt x="0" y="172"/>
                  </a:cubicBezTo>
                  <a:lnTo>
                    <a:pt x="14" y="144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sľîḋê">
              <a:extLst>
                <a:ext uri="{FF2B5EF4-FFF2-40B4-BE49-F238E27FC236}">
                  <a16:creationId xmlns:a16="http://schemas.microsoft.com/office/drawing/2014/main" id="{8CDBA440-7C16-43A8-9E52-F90541BFC295}"/>
                </a:ext>
              </a:extLst>
            </p:cNvPr>
            <p:cNvSpPr/>
            <p:nvPr/>
          </p:nvSpPr>
          <p:spPr bwMode="auto">
            <a:xfrm>
              <a:off x="7258051" y="2784475"/>
              <a:ext cx="231775" cy="180975"/>
            </a:xfrm>
            <a:custGeom>
              <a:avLst/>
              <a:gdLst>
                <a:gd name="T0" fmla="*/ 46 w 160"/>
                <a:gd name="T1" fmla="*/ 88 h 125"/>
                <a:gd name="T2" fmla="*/ 160 w 160"/>
                <a:gd name="T3" fmla="*/ 0 h 125"/>
                <a:gd name="T4" fmla="*/ 0 w 160"/>
                <a:gd name="T5" fmla="*/ 125 h 125"/>
                <a:gd name="T6" fmla="*/ 46 w 160"/>
                <a:gd name="T7" fmla="*/ 8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125">
                  <a:moveTo>
                    <a:pt x="46" y="88"/>
                  </a:moveTo>
                  <a:cubicBezTo>
                    <a:pt x="46" y="88"/>
                    <a:pt x="156" y="12"/>
                    <a:pt x="160" y="0"/>
                  </a:cubicBezTo>
                  <a:cubicBezTo>
                    <a:pt x="160" y="0"/>
                    <a:pt x="104" y="107"/>
                    <a:pt x="0" y="125"/>
                  </a:cubicBezTo>
                  <a:lnTo>
                    <a:pt x="46" y="88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ïsļïḋé">
              <a:extLst>
                <a:ext uri="{FF2B5EF4-FFF2-40B4-BE49-F238E27FC236}">
                  <a16:creationId xmlns:a16="http://schemas.microsoft.com/office/drawing/2014/main" id="{DD2C3383-4819-4CD0-B566-8C43FE48B49D}"/>
                </a:ext>
              </a:extLst>
            </p:cNvPr>
            <p:cNvSpPr/>
            <p:nvPr/>
          </p:nvSpPr>
          <p:spPr bwMode="auto">
            <a:xfrm>
              <a:off x="7329488" y="2687638"/>
              <a:ext cx="234950" cy="174625"/>
            </a:xfrm>
            <a:custGeom>
              <a:avLst/>
              <a:gdLst>
                <a:gd name="T0" fmla="*/ 4 w 162"/>
                <a:gd name="T1" fmla="*/ 121 h 121"/>
                <a:gd name="T2" fmla="*/ 162 w 162"/>
                <a:gd name="T3" fmla="*/ 0 h 121"/>
                <a:gd name="T4" fmla="*/ 0 w 162"/>
                <a:gd name="T5" fmla="*/ 115 h 121"/>
                <a:gd name="T6" fmla="*/ 4 w 162"/>
                <a:gd name="T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2" h="121">
                  <a:moveTo>
                    <a:pt x="4" y="121"/>
                  </a:moveTo>
                  <a:cubicBezTo>
                    <a:pt x="4" y="121"/>
                    <a:pt x="130" y="0"/>
                    <a:pt x="162" y="0"/>
                  </a:cubicBezTo>
                  <a:cubicBezTo>
                    <a:pt x="162" y="0"/>
                    <a:pt x="58" y="5"/>
                    <a:pt x="0" y="115"/>
                  </a:cubicBezTo>
                  <a:lnTo>
                    <a:pt x="4" y="121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sľïďè">
              <a:extLst>
                <a:ext uri="{FF2B5EF4-FFF2-40B4-BE49-F238E27FC236}">
                  <a16:creationId xmlns:a16="http://schemas.microsoft.com/office/drawing/2014/main" id="{17324CA5-1233-4ABA-BF44-D4BCAA1C3E66}"/>
                </a:ext>
              </a:extLst>
            </p:cNvPr>
            <p:cNvSpPr/>
            <p:nvPr/>
          </p:nvSpPr>
          <p:spPr bwMode="auto">
            <a:xfrm>
              <a:off x="7192963" y="2847975"/>
              <a:ext cx="147638" cy="455613"/>
            </a:xfrm>
            <a:custGeom>
              <a:avLst/>
              <a:gdLst>
                <a:gd name="T0" fmla="*/ 0 w 102"/>
                <a:gd name="T1" fmla="*/ 314 h 314"/>
                <a:gd name="T2" fmla="*/ 5 w 102"/>
                <a:gd name="T3" fmla="*/ 314 h 314"/>
                <a:gd name="T4" fmla="*/ 102 w 102"/>
                <a:gd name="T5" fmla="*/ 5 h 314"/>
                <a:gd name="T6" fmla="*/ 101 w 102"/>
                <a:gd name="T7" fmla="*/ 0 h 314"/>
                <a:gd name="T8" fmla="*/ 0 w 102"/>
                <a:gd name="T9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314">
                  <a:moveTo>
                    <a:pt x="0" y="314"/>
                  </a:moveTo>
                  <a:cubicBezTo>
                    <a:pt x="5" y="314"/>
                    <a:pt x="5" y="314"/>
                    <a:pt x="5" y="314"/>
                  </a:cubicBezTo>
                  <a:cubicBezTo>
                    <a:pt x="28" y="128"/>
                    <a:pt x="63" y="18"/>
                    <a:pt x="102" y="5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59" y="15"/>
                    <a:pt x="24" y="123"/>
                    <a:pt x="0" y="314"/>
                  </a:cubicBezTo>
                  <a:close/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ṥļïḑê">
              <a:extLst>
                <a:ext uri="{FF2B5EF4-FFF2-40B4-BE49-F238E27FC236}">
                  <a16:creationId xmlns:a16="http://schemas.microsoft.com/office/drawing/2014/main" id="{B838B266-7BE9-4CDE-8B67-B3E9A6609EAE}"/>
                </a:ext>
              </a:extLst>
            </p:cNvPr>
            <p:cNvSpPr/>
            <p:nvPr/>
          </p:nvSpPr>
          <p:spPr bwMode="auto">
            <a:xfrm>
              <a:off x="7142163" y="3282950"/>
              <a:ext cx="58738" cy="665163"/>
            </a:xfrm>
            <a:custGeom>
              <a:avLst/>
              <a:gdLst>
                <a:gd name="T0" fmla="*/ 0 w 41"/>
                <a:gd name="T1" fmla="*/ 458 h 459"/>
                <a:gd name="T2" fmla="*/ 7 w 41"/>
                <a:gd name="T3" fmla="*/ 459 h 459"/>
                <a:gd name="T4" fmla="*/ 10 w 41"/>
                <a:gd name="T5" fmla="*/ 406 h 459"/>
                <a:gd name="T6" fmla="*/ 41 w 41"/>
                <a:gd name="T7" fmla="*/ 5 h 459"/>
                <a:gd name="T8" fmla="*/ 37 w 41"/>
                <a:gd name="T9" fmla="*/ 0 h 459"/>
                <a:gd name="T10" fmla="*/ 4 w 41"/>
                <a:gd name="T11" fmla="*/ 406 h 459"/>
                <a:gd name="T12" fmla="*/ 0 w 41"/>
                <a:gd name="T13" fmla="*/ 458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459">
                  <a:moveTo>
                    <a:pt x="0" y="458"/>
                  </a:moveTo>
                  <a:cubicBezTo>
                    <a:pt x="7" y="459"/>
                    <a:pt x="7" y="459"/>
                    <a:pt x="7" y="459"/>
                  </a:cubicBezTo>
                  <a:cubicBezTo>
                    <a:pt x="9" y="441"/>
                    <a:pt x="10" y="424"/>
                    <a:pt x="10" y="406"/>
                  </a:cubicBezTo>
                  <a:cubicBezTo>
                    <a:pt x="17" y="252"/>
                    <a:pt x="27" y="111"/>
                    <a:pt x="41" y="5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3" y="106"/>
                    <a:pt x="10" y="252"/>
                    <a:pt x="4" y="406"/>
                  </a:cubicBezTo>
                  <a:cubicBezTo>
                    <a:pt x="3" y="423"/>
                    <a:pt x="2" y="441"/>
                    <a:pt x="0" y="458"/>
                  </a:cubicBezTo>
                  <a:close/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ṧ1íďê">
              <a:extLst>
                <a:ext uri="{FF2B5EF4-FFF2-40B4-BE49-F238E27FC236}">
                  <a16:creationId xmlns:a16="http://schemas.microsoft.com/office/drawing/2014/main" id="{142E4F90-AF3F-4975-931D-433559594E28}"/>
                </a:ext>
              </a:extLst>
            </p:cNvPr>
            <p:cNvSpPr/>
            <p:nvPr/>
          </p:nvSpPr>
          <p:spPr bwMode="auto">
            <a:xfrm>
              <a:off x="6364288" y="3927475"/>
              <a:ext cx="788988" cy="1238250"/>
            </a:xfrm>
            <a:custGeom>
              <a:avLst/>
              <a:gdLst>
                <a:gd name="T0" fmla="*/ 4 w 545"/>
                <a:gd name="T1" fmla="*/ 855 h 855"/>
                <a:gd name="T2" fmla="*/ 255 w 545"/>
                <a:gd name="T3" fmla="*/ 669 h 855"/>
                <a:gd name="T4" fmla="*/ 439 w 545"/>
                <a:gd name="T5" fmla="*/ 409 h 855"/>
                <a:gd name="T6" fmla="*/ 545 w 545"/>
                <a:gd name="T7" fmla="*/ 0 h 855"/>
                <a:gd name="T8" fmla="*/ 538 w 545"/>
                <a:gd name="T9" fmla="*/ 3 h 855"/>
                <a:gd name="T10" fmla="*/ 249 w 545"/>
                <a:gd name="T11" fmla="*/ 663 h 855"/>
                <a:gd name="T12" fmla="*/ 0 w 545"/>
                <a:gd name="T13" fmla="*/ 847 h 855"/>
                <a:gd name="T14" fmla="*/ 4 w 545"/>
                <a:gd name="T15" fmla="*/ 855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5" h="855">
                  <a:moveTo>
                    <a:pt x="4" y="855"/>
                  </a:moveTo>
                  <a:cubicBezTo>
                    <a:pt x="5" y="855"/>
                    <a:pt x="128" y="800"/>
                    <a:pt x="255" y="669"/>
                  </a:cubicBezTo>
                  <a:cubicBezTo>
                    <a:pt x="330" y="593"/>
                    <a:pt x="392" y="505"/>
                    <a:pt x="439" y="409"/>
                  </a:cubicBezTo>
                  <a:cubicBezTo>
                    <a:pt x="497" y="290"/>
                    <a:pt x="533" y="143"/>
                    <a:pt x="545" y="0"/>
                  </a:cubicBezTo>
                  <a:cubicBezTo>
                    <a:pt x="538" y="3"/>
                    <a:pt x="538" y="3"/>
                    <a:pt x="538" y="3"/>
                  </a:cubicBezTo>
                  <a:cubicBezTo>
                    <a:pt x="511" y="324"/>
                    <a:pt x="365" y="543"/>
                    <a:pt x="249" y="663"/>
                  </a:cubicBezTo>
                  <a:cubicBezTo>
                    <a:pt x="123" y="792"/>
                    <a:pt x="2" y="846"/>
                    <a:pt x="0" y="847"/>
                  </a:cubicBezTo>
                  <a:lnTo>
                    <a:pt x="4" y="855"/>
                  </a:lnTo>
                  <a:close/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ṩļïḍe">
              <a:extLst>
                <a:ext uri="{FF2B5EF4-FFF2-40B4-BE49-F238E27FC236}">
                  <a16:creationId xmlns:a16="http://schemas.microsoft.com/office/drawing/2014/main" id="{58CB40A4-898B-4105-8F73-296EBC94D7F4}"/>
                </a:ext>
              </a:extLst>
            </p:cNvPr>
            <p:cNvSpPr/>
            <p:nvPr/>
          </p:nvSpPr>
          <p:spPr bwMode="auto">
            <a:xfrm>
              <a:off x="5148263" y="1730375"/>
              <a:ext cx="1500188" cy="685800"/>
            </a:xfrm>
            <a:custGeom>
              <a:avLst/>
              <a:gdLst>
                <a:gd name="T0" fmla="*/ 1035 w 1035"/>
                <a:gd name="T1" fmla="*/ 42 h 473"/>
                <a:gd name="T2" fmla="*/ 1035 w 1035"/>
                <a:gd name="T3" fmla="*/ 435 h 473"/>
                <a:gd name="T4" fmla="*/ 990 w 1035"/>
                <a:gd name="T5" fmla="*/ 473 h 473"/>
                <a:gd name="T6" fmla="*/ 45 w 1035"/>
                <a:gd name="T7" fmla="*/ 473 h 473"/>
                <a:gd name="T8" fmla="*/ 0 w 1035"/>
                <a:gd name="T9" fmla="*/ 435 h 473"/>
                <a:gd name="T10" fmla="*/ 0 w 1035"/>
                <a:gd name="T11" fmla="*/ 42 h 473"/>
                <a:gd name="T12" fmla="*/ 45 w 1035"/>
                <a:gd name="T13" fmla="*/ 0 h 473"/>
                <a:gd name="T14" fmla="*/ 990 w 1035"/>
                <a:gd name="T15" fmla="*/ 0 h 473"/>
                <a:gd name="T16" fmla="*/ 1035 w 1035"/>
                <a:gd name="T17" fmla="*/ 42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5" h="473">
                  <a:moveTo>
                    <a:pt x="1035" y="42"/>
                  </a:moveTo>
                  <a:cubicBezTo>
                    <a:pt x="1035" y="435"/>
                    <a:pt x="1035" y="435"/>
                    <a:pt x="1035" y="435"/>
                  </a:cubicBezTo>
                  <a:cubicBezTo>
                    <a:pt x="1035" y="456"/>
                    <a:pt x="1015" y="473"/>
                    <a:pt x="990" y="473"/>
                  </a:cubicBezTo>
                  <a:cubicBezTo>
                    <a:pt x="45" y="473"/>
                    <a:pt x="45" y="473"/>
                    <a:pt x="45" y="473"/>
                  </a:cubicBezTo>
                  <a:cubicBezTo>
                    <a:pt x="20" y="473"/>
                    <a:pt x="0" y="456"/>
                    <a:pt x="0" y="43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21"/>
                    <a:pt x="20" y="0"/>
                    <a:pt x="45" y="0"/>
                  </a:cubicBezTo>
                  <a:cubicBezTo>
                    <a:pt x="990" y="0"/>
                    <a:pt x="990" y="0"/>
                    <a:pt x="990" y="0"/>
                  </a:cubicBezTo>
                  <a:cubicBezTo>
                    <a:pt x="1015" y="0"/>
                    <a:pt x="1035" y="21"/>
                    <a:pt x="1035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ṧḷíḍe">
              <a:extLst>
                <a:ext uri="{FF2B5EF4-FFF2-40B4-BE49-F238E27FC236}">
                  <a16:creationId xmlns:a16="http://schemas.microsoft.com/office/drawing/2014/main" id="{6CA9BD88-167E-4ACE-8E71-EE5BD37A0260}"/>
                </a:ext>
              </a:extLst>
            </p:cNvPr>
            <p:cNvSpPr/>
            <p:nvPr/>
          </p:nvSpPr>
          <p:spPr bwMode="auto">
            <a:xfrm>
              <a:off x="5164138" y="1731963"/>
              <a:ext cx="1470025" cy="22225"/>
            </a:xfrm>
            <a:custGeom>
              <a:avLst/>
              <a:gdLst>
                <a:gd name="T0" fmla="*/ 26 w 1014"/>
                <a:gd name="T1" fmla="*/ 0 h 15"/>
                <a:gd name="T2" fmla="*/ 0 w 1014"/>
                <a:gd name="T3" fmla="*/ 15 h 15"/>
                <a:gd name="T4" fmla="*/ 26 w 1014"/>
                <a:gd name="T5" fmla="*/ 0 h 15"/>
                <a:gd name="T6" fmla="*/ 987 w 1014"/>
                <a:gd name="T7" fmla="*/ 0 h 15"/>
                <a:gd name="T8" fmla="*/ 1014 w 1014"/>
                <a:gd name="T9" fmla="*/ 15 h 15"/>
                <a:gd name="T10" fmla="*/ 987 w 1014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4" h="15">
                  <a:moveTo>
                    <a:pt x="26" y="0"/>
                  </a:moveTo>
                  <a:cubicBezTo>
                    <a:pt x="16" y="2"/>
                    <a:pt x="7" y="7"/>
                    <a:pt x="0" y="15"/>
                  </a:cubicBezTo>
                  <a:cubicBezTo>
                    <a:pt x="7" y="7"/>
                    <a:pt x="16" y="2"/>
                    <a:pt x="26" y="0"/>
                  </a:cubicBezTo>
                  <a:moveTo>
                    <a:pt x="987" y="0"/>
                  </a:moveTo>
                  <a:cubicBezTo>
                    <a:pt x="997" y="2"/>
                    <a:pt x="1007" y="8"/>
                    <a:pt x="1014" y="15"/>
                  </a:cubicBezTo>
                  <a:cubicBezTo>
                    <a:pt x="1007" y="7"/>
                    <a:pt x="997" y="2"/>
                    <a:pt x="987" y="0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şļïḍé">
              <a:extLst>
                <a:ext uri="{FF2B5EF4-FFF2-40B4-BE49-F238E27FC236}">
                  <a16:creationId xmlns:a16="http://schemas.microsoft.com/office/drawing/2014/main" id="{3E51C4A5-FB63-48D7-9299-E7B4A6957460}"/>
                </a:ext>
              </a:extLst>
            </p:cNvPr>
            <p:cNvSpPr/>
            <p:nvPr/>
          </p:nvSpPr>
          <p:spPr bwMode="auto">
            <a:xfrm>
              <a:off x="5148263" y="1730375"/>
              <a:ext cx="1500188" cy="223838"/>
            </a:xfrm>
            <a:custGeom>
              <a:avLst/>
              <a:gdLst>
                <a:gd name="T0" fmla="*/ 0 w 1035"/>
                <a:gd name="T1" fmla="*/ 114 h 155"/>
                <a:gd name="T2" fmla="*/ 0 w 1035"/>
                <a:gd name="T3" fmla="*/ 139 h 155"/>
                <a:gd name="T4" fmla="*/ 1 w 1035"/>
                <a:gd name="T5" fmla="*/ 116 h 155"/>
                <a:gd name="T6" fmla="*/ 0 w 1035"/>
                <a:gd name="T7" fmla="*/ 114 h 155"/>
                <a:gd name="T8" fmla="*/ 990 w 1035"/>
                <a:gd name="T9" fmla="*/ 0 h 155"/>
                <a:gd name="T10" fmla="*/ 990 w 1035"/>
                <a:gd name="T11" fmla="*/ 0 h 155"/>
                <a:gd name="T12" fmla="*/ 45 w 1035"/>
                <a:gd name="T13" fmla="*/ 0 h 155"/>
                <a:gd name="T14" fmla="*/ 45 w 1035"/>
                <a:gd name="T15" fmla="*/ 0 h 155"/>
                <a:gd name="T16" fmla="*/ 37 w 1035"/>
                <a:gd name="T17" fmla="*/ 1 h 155"/>
                <a:gd name="T18" fmla="*/ 11 w 1035"/>
                <a:gd name="T19" fmla="*/ 16 h 155"/>
                <a:gd name="T20" fmla="*/ 0 w 1035"/>
                <a:gd name="T21" fmla="*/ 45 h 155"/>
                <a:gd name="T22" fmla="*/ 0 w 1035"/>
                <a:gd name="T23" fmla="*/ 89 h 155"/>
                <a:gd name="T24" fmla="*/ 6 w 1035"/>
                <a:gd name="T25" fmla="*/ 82 h 155"/>
                <a:gd name="T26" fmla="*/ 32 w 1035"/>
                <a:gd name="T27" fmla="*/ 69 h 155"/>
                <a:gd name="T28" fmla="*/ 106 w 1035"/>
                <a:gd name="T29" fmla="*/ 52 h 155"/>
                <a:gd name="T30" fmla="*/ 125 w 1035"/>
                <a:gd name="T31" fmla="*/ 50 h 155"/>
                <a:gd name="T32" fmla="*/ 140 w 1035"/>
                <a:gd name="T33" fmla="*/ 54 h 155"/>
                <a:gd name="T34" fmla="*/ 170 w 1035"/>
                <a:gd name="T35" fmla="*/ 74 h 155"/>
                <a:gd name="T36" fmla="*/ 191 w 1035"/>
                <a:gd name="T37" fmla="*/ 94 h 155"/>
                <a:gd name="T38" fmla="*/ 192 w 1035"/>
                <a:gd name="T39" fmla="*/ 99 h 155"/>
                <a:gd name="T40" fmla="*/ 192 w 1035"/>
                <a:gd name="T41" fmla="*/ 96 h 155"/>
                <a:gd name="T42" fmla="*/ 192 w 1035"/>
                <a:gd name="T43" fmla="*/ 99 h 155"/>
                <a:gd name="T44" fmla="*/ 192 w 1035"/>
                <a:gd name="T45" fmla="*/ 106 h 155"/>
                <a:gd name="T46" fmla="*/ 199 w 1035"/>
                <a:gd name="T47" fmla="*/ 131 h 155"/>
                <a:gd name="T48" fmla="*/ 201 w 1035"/>
                <a:gd name="T49" fmla="*/ 140 h 155"/>
                <a:gd name="T50" fmla="*/ 201 w 1035"/>
                <a:gd name="T51" fmla="*/ 140 h 155"/>
                <a:gd name="T52" fmla="*/ 198 w 1035"/>
                <a:gd name="T53" fmla="*/ 155 h 155"/>
                <a:gd name="T54" fmla="*/ 1035 w 1035"/>
                <a:gd name="T55" fmla="*/ 155 h 155"/>
                <a:gd name="T56" fmla="*/ 1035 w 1035"/>
                <a:gd name="T57" fmla="*/ 45 h 155"/>
                <a:gd name="T58" fmla="*/ 1025 w 1035"/>
                <a:gd name="T59" fmla="*/ 16 h 155"/>
                <a:gd name="T60" fmla="*/ 998 w 1035"/>
                <a:gd name="T61" fmla="*/ 1 h 155"/>
                <a:gd name="T62" fmla="*/ 990 w 1035"/>
                <a:gd name="T6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5" h="155">
                  <a:moveTo>
                    <a:pt x="0" y="114"/>
                  </a:moveTo>
                  <a:cubicBezTo>
                    <a:pt x="0" y="139"/>
                    <a:pt x="0" y="139"/>
                    <a:pt x="0" y="139"/>
                  </a:cubicBezTo>
                  <a:cubicBezTo>
                    <a:pt x="2" y="131"/>
                    <a:pt x="3" y="124"/>
                    <a:pt x="1" y="116"/>
                  </a:cubicBezTo>
                  <a:cubicBezTo>
                    <a:pt x="1" y="116"/>
                    <a:pt x="0" y="115"/>
                    <a:pt x="0" y="114"/>
                  </a:cubicBezTo>
                  <a:moveTo>
                    <a:pt x="990" y="0"/>
                  </a:moveTo>
                  <a:cubicBezTo>
                    <a:pt x="990" y="0"/>
                    <a:pt x="990" y="0"/>
                    <a:pt x="99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2" y="0"/>
                    <a:pt x="40" y="1"/>
                    <a:pt x="37" y="1"/>
                  </a:cubicBezTo>
                  <a:cubicBezTo>
                    <a:pt x="27" y="3"/>
                    <a:pt x="18" y="8"/>
                    <a:pt x="11" y="16"/>
                  </a:cubicBezTo>
                  <a:cubicBezTo>
                    <a:pt x="4" y="24"/>
                    <a:pt x="0" y="34"/>
                    <a:pt x="0" y="4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" y="86"/>
                    <a:pt x="4" y="84"/>
                    <a:pt x="6" y="82"/>
                  </a:cubicBezTo>
                  <a:cubicBezTo>
                    <a:pt x="14" y="76"/>
                    <a:pt x="23" y="71"/>
                    <a:pt x="32" y="69"/>
                  </a:cubicBezTo>
                  <a:cubicBezTo>
                    <a:pt x="56" y="61"/>
                    <a:pt x="81" y="53"/>
                    <a:pt x="106" y="52"/>
                  </a:cubicBezTo>
                  <a:cubicBezTo>
                    <a:pt x="112" y="51"/>
                    <a:pt x="119" y="50"/>
                    <a:pt x="125" y="50"/>
                  </a:cubicBezTo>
                  <a:cubicBezTo>
                    <a:pt x="131" y="50"/>
                    <a:pt x="136" y="51"/>
                    <a:pt x="140" y="54"/>
                  </a:cubicBezTo>
                  <a:cubicBezTo>
                    <a:pt x="151" y="63"/>
                    <a:pt x="157" y="68"/>
                    <a:pt x="170" y="74"/>
                  </a:cubicBezTo>
                  <a:cubicBezTo>
                    <a:pt x="180" y="78"/>
                    <a:pt x="189" y="84"/>
                    <a:pt x="191" y="94"/>
                  </a:cubicBezTo>
                  <a:cubicBezTo>
                    <a:pt x="192" y="95"/>
                    <a:pt x="192" y="97"/>
                    <a:pt x="192" y="99"/>
                  </a:cubicBezTo>
                  <a:cubicBezTo>
                    <a:pt x="192" y="98"/>
                    <a:pt x="192" y="97"/>
                    <a:pt x="192" y="96"/>
                  </a:cubicBezTo>
                  <a:cubicBezTo>
                    <a:pt x="192" y="97"/>
                    <a:pt x="192" y="98"/>
                    <a:pt x="192" y="99"/>
                  </a:cubicBezTo>
                  <a:cubicBezTo>
                    <a:pt x="192" y="101"/>
                    <a:pt x="192" y="104"/>
                    <a:pt x="192" y="106"/>
                  </a:cubicBezTo>
                  <a:cubicBezTo>
                    <a:pt x="192" y="115"/>
                    <a:pt x="196" y="123"/>
                    <a:pt x="199" y="131"/>
                  </a:cubicBezTo>
                  <a:cubicBezTo>
                    <a:pt x="200" y="134"/>
                    <a:pt x="201" y="137"/>
                    <a:pt x="201" y="140"/>
                  </a:cubicBezTo>
                  <a:cubicBezTo>
                    <a:pt x="201" y="140"/>
                    <a:pt x="201" y="140"/>
                    <a:pt x="201" y="140"/>
                  </a:cubicBezTo>
                  <a:cubicBezTo>
                    <a:pt x="202" y="145"/>
                    <a:pt x="201" y="150"/>
                    <a:pt x="198" y="155"/>
                  </a:cubicBezTo>
                  <a:cubicBezTo>
                    <a:pt x="1035" y="155"/>
                    <a:pt x="1035" y="155"/>
                    <a:pt x="1035" y="155"/>
                  </a:cubicBezTo>
                  <a:cubicBezTo>
                    <a:pt x="1035" y="45"/>
                    <a:pt x="1035" y="45"/>
                    <a:pt x="1035" y="45"/>
                  </a:cubicBezTo>
                  <a:cubicBezTo>
                    <a:pt x="1035" y="34"/>
                    <a:pt x="1031" y="24"/>
                    <a:pt x="1025" y="16"/>
                  </a:cubicBezTo>
                  <a:cubicBezTo>
                    <a:pt x="1018" y="9"/>
                    <a:pt x="1008" y="3"/>
                    <a:pt x="998" y="1"/>
                  </a:cubicBezTo>
                  <a:cubicBezTo>
                    <a:pt x="995" y="1"/>
                    <a:pt x="993" y="0"/>
                    <a:pt x="990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śļïḋe">
              <a:extLst>
                <a:ext uri="{FF2B5EF4-FFF2-40B4-BE49-F238E27FC236}">
                  <a16:creationId xmlns:a16="http://schemas.microsoft.com/office/drawing/2014/main" id="{09EED10B-8A4E-46FE-9D18-9B60A372123A}"/>
                </a:ext>
              </a:extLst>
            </p:cNvPr>
            <p:cNvSpPr/>
            <p:nvPr/>
          </p:nvSpPr>
          <p:spPr bwMode="auto">
            <a:xfrm>
              <a:off x="5187951" y="1800225"/>
              <a:ext cx="87313" cy="857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ṣľîdè">
              <a:extLst>
                <a:ext uri="{FF2B5EF4-FFF2-40B4-BE49-F238E27FC236}">
                  <a16:creationId xmlns:a16="http://schemas.microsoft.com/office/drawing/2014/main" id="{BD9C6A90-574F-4C07-8B5D-100E633EF4D5}"/>
                </a:ext>
              </a:extLst>
            </p:cNvPr>
            <p:cNvSpPr/>
            <p:nvPr/>
          </p:nvSpPr>
          <p:spPr bwMode="auto">
            <a:xfrm>
              <a:off x="5313363" y="1800225"/>
              <a:ext cx="87313" cy="857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ṡlïḍê">
              <a:extLst>
                <a:ext uri="{FF2B5EF4-FFF2-40B4-BE49-F238E27FC236}">
                  <a16:creationId xmlns:a16="http://schemas.microsoft.com/office/drawing/2014/main" id="{F955F3A2-8CA0-4B0B-8DFE-4317A0BD953B}"/>
                </a:ext>
              </a:extLst>
            </p:cNvPr>
            <p:cNvSpPr/>
            <p:nvPr/>
          </p:nvSpPr>
          <p:spPr bwMode="auto">
            <a:xfrm>
              <a:off x="5440363" y="1800225"/>
              <a:ext cx="87313" cy="857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šļíďe">
              <a:extLst>
                <a:ext uri="{FF2B5EF4-FFF2-40B4-BE49-F238E27FC236}">
                  <a16:creationId xmlns:a16="http://schemas.microsoft.com/office/drawing/2014/main" id="{2B19E0D8-7763-4CC8-B0CE-248E870B9CBC}"/>
                </a:ext>
              </a:extLst>
            </p:cNvPr>
            <p:cNvSpPr/>
            <p:nvPr/>
          </p:nvSpPr>
          <p:spPr bwMode="auto">
            <a:xfrm>
              <a:off x="5419726" y="2011363"/>
              <a:ext cx="165100" cy="74613"/>
            </a:xfrm>
            <a:custGeom>
              <a:avLst/>
              <a:gdLst>
                <a:gd name="T0" fmla="*/ 18 w 114"/>
                <a:gd name="T1" fmla="*/ 0 h 51"/>
                <a:gd name="T2" fmla="*/ 1 w 114"/>
                <a:gd name="T3" fmla="*/ 1 h 51"/>
                <a:gd name="T4" fmla="*/ 0 w 114"/>
                <a:gd name="T5" fmla="*/ 11 h 51"/>
                <a:gd name="T6" fmla="*/ 21 w 114"/>
                <a:gd name="T7" fmla="*/ 33 h 51"/>
                <a:gd name="T8" fmla="*/ 22 w 114"/>
                <a:gd name="T9" fmla="*/ 37 h 51"/>
                <a:gd name="T10" fmla="*/ 44 w 114"/>
                <a:gd name="T11" fmla="*/ 41 h 51"/>
                <a:gd name="T12" fmla="*/ 66 w 114"/>
                <a:gd name="T13" fmla="*/ 40 h 51"/>
                <a:gd name="T14" fmla="*/ 99 w 114"/>
                <a:gd name="T15" fmla="*/ 51 h 51"/>
                <a:gd name="T16" fmla="*/ 105 w 114"/>
                <a:gd name="T17" fmla="*/ 50 h 51"/>
                <a:gd name="T18" fmla="*/ 108 w 114"/>
                <a:gd name="T19" fmla="*/ 49 h 51"/>
                <a:gd name="T20" fmla="*/ 114 w 114"/>
                <a:gd name="T21" fmla="*/ 51 h 51"/>
                <a:gd name="T22" fmla="*/ 18 w 114"/>
                <a:gd name="T2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51">
                  <a:moveTo>
                    <a:pt x="18" y="0"/>
                  </a:moveTo>
                  <a:cubicBezTo>
                    <a:pt x="12" y="0"/>
                    <a:pt x="7" y="1"/>
                    <a:pt x="1" y="1"/>
                  </a:cubicBezTo>
                  <a:cubicBezTo>
                    <a:pt x="1" y="5"/>
                    <a:pt x="1" y="8"/>
                    <a:pt x="0" y="11"/>
                  </a:cubicBezTo>
                  <a:cubicBezTo>
                    <a:pt x="10" y="18"/>
                    <a:pt x="20" y="27"/>
                    <a:pt x="21" y="33"/>
                  </a:cubicBezTo>
                  <a:cubicBezTo>
                    <a:pt x="21" y="35"/>
                    <a:pt x="22" y="36"/>
                    <a:pt x="22" y="37"/>
                  </a:cubicBezTo>
                  <a:cubicBezTo>
                    <a:pt x="25" y="40"/>
                    <a:pt x="35" y="41"/>
                    <a:pt x="44" y="41"/>
                  </a:cubicBezTo>
                  <a:cubicBezTo>
                    <a:pt x="55" y="41"/>
                    <a:pt x="66" y="40"/>
                    <a:pt x="66" y="40"/>
                  </a:cubicBezTo>
                  <a:cubicBezTo>
                    <a:pt x="66" y="40"/>
                    <a:pt x="86" y="51"/>
                    <a:pt x="99" y="51"/>
                  </a:cubicBezTo>
                  <a:cubicBezTo>
                    <a:pt x="101" y="51"/>
                    <a:pt x="103" y="51"/>
                    <a:pt x="105" y="50"/>
                  </a:cubicBezTo>
                  <a:cubicBezTo>
                    <a:pt x="106" y="49"/>
                    <a:pt x="107" y="49"/>
                    <a:pt x="108" y="49"/>
                  </a:cubicBezTo>
                  <a:cubicBezTo>
                    <a:pt x="109" y="49"/>
                    <a:pt x="112" y="50"/>
                    <a:pt x="114" y="51"/>
                  </a:cubicBezTo>
                  <a:cubicBezTo>
                    <a:pt x="93" y="20"/>
                    <a:pt x="58" y="0"/>
                    <a:pt x="18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ṧ1íḋé">
              <a:extLst>
                <a:ext uri="{FF2B5EF4-FFF2-40B4-BE49-F238E27FC236}">
                  <a16:creationId xmlns:a16="http://schemas.microsoft.com/office/drawing/2014/main" id="{8A45F9EA-2B97-4E37-A120-667EABC40665}"/>
                </a:ext>
              </a:extLst>
            </p:cNvPr>
            <p:cNvSpPr/>
            <p:nvPr/>
          </p:nvSpPr>
          <p:spPr bwMode="auto">
            <a:xfrm>
              <a:off x="5807076" y="2066925"/>
              <a:ext cx="714375" cy="25400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ṥľíḍé">
              <a:extLst>
                <a:ext uri="{FF2B5EF4-FFF2-40B4-BE49-F238E27FC236}">
                  <a16:creationId xmlns:a16="http://schemas.microsoft.com/office/drawing/2014/main" id="{21A0419E-D439-4E69-A457-610AEED02794}"/>
                </a:ext>
              </a:extLst>
            </p:cNvPr>
            <p:cNvSpPr/>
            <p:nvPr/>
          </p:nvSpPr>
          <p:spPr bwMode="auto">
            <a:xfrm>
              <a:off x="5807076" y="2128838"/>
              <a:ext cx="714375" cy="2381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ŝlíḓê">
              <a:extLst>
                <a:ext uri="{FF2B5EF4-FFF2-40B4-BE49-F238E27FC236}">
                  <a16:creationId xmlns:a16="http://schemas.microsoft.com/office/drawing/2014/main" id="{9575C9D2-A176-4A6E-B058-20D1DADA950A}"/>
                </a:ext>
              </a:extLst>
            </p:cNvPr>
            <p:cNvSpPr/>
            <p:nvPr/>
          </p:nvSpPr>
          <p:spPr bwMode="auto">
            <a:xfrm>
              <a:off x="5807076" y="2128838"/>
              <a:ext cx="714375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îṩḷiḓe">
              <a:extLst>
                <a:ext uri="{FF2B5EF4-FFF2-40B4-BE49-F238E27FC236}">
                  <a16:creationId xmlns:a16="http://schemas.microsoft.com/office/drawing/2014/main" id="{BB70E3F0-BCF9-4BF2-B701-CB63EFDD4A9B}"/>
                </a:ext>
              </a:extLst>
            </p:cNvPr>
            <p:cNvSpPr/>
            <p:nvPr/>
          </p:nvSpPr>
          <p:spPr bwMode="auto">
            <a:xfrm>
              <a:off x="5807076" y="2189163"/>
              <a:ext cx="714375" cy="26988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ṧļïďé">
              <a:extLst>
                <a:ext uri="{FF2B5EF4-FFF2-40B4-BE49-F238E27FC236}">
                  <a16:creationId xmlns:a16="http://schemas.microsoft.com/office/drawing/2014/main" id="{2C1A399B-A59A-46BD-9C0C-B496F1D5AB21}"/>
                </a:ext>
              </a:extLst>
            </p:cNvPr>
            <p:cNvSpPr/>
            <p:nvPr/>
          </p:nvSpPr>
          <p:spPr bwMode="auto">
            <a:xfrm>
              <a:off x="5807076" y="2189163"/>
              <a:ext cx="714375" cy="26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ṣľîdè">
              <a:extLst>
                <a:ext uri="{FF2B5EF4-FFF2-40B4-BE49-F238E27FC236}">
                  <a16:creationId xmlns:a16="http://schemas.microsoft.com/office/drawing/2014/main" id="{80105CD5-CEFC-429B-8140-D20F88D76592}"/>
                </a:ext>
              </a:extLst>
            </p:cNvPr>
            <p:cNvSpPr/>
            <p:nvPr/>
          </p:nvSpPr>
          <p:spPr bwMode="auto">
            <a:xfrm>
              <a:off x="5862638" y="2251075"/>
              <a:ext cx="658813" cy="25400"/>
            </a:xfrm>
            <a:custGeom>
              <a:avLst/>
              <a:gdLst>
                <a:gd name="T0" fmla="*/ 455 w 455"/>
                <a:gd name="T1" fmla="*/ 0 h 17"/>
                <a:gd name="T2" fmla="*/ 2 w 455"/>
                <a:gd name="T3" fmla="*/ 0 h 17"/>
                <a:gd name="T4" fmla="*/ 12 w 455"/>
                <a:gd name="T5" fmla="*/ 16 h 17"/>
                <a:gd name="T6" fmla="*/ 13 w 455"/>
                <a:gd name="T7" fmla="*/ 17 h 17"/>
                <a:gd name="T8" fmla="*/ 455 w 455"/>
                <a:gd name="T9" fmla="*/ 17 h 17"/>
                <a:gd name="T10" fmla="*/ 455 w 455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5" h="17">
                  <a:moveTo>
                    <a:pt x="45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3"/>
                    <a:pt x="5" y="10"/>
                    <a:pt x="12" y="16"/>
                  </a:cubicBezTo>
                  <a:cubicBezTo>
                    <a:pt x="12" y="16"/>
                    <a:pt x="13" y="16"/>
                    <a:pt x="13" y="17"/>
                  </a:cubicBezTo>
                  <a:cubicBezTo>
                    <a:pt x="455" y="17"/>
                    <a:pt x="455" y="17"/>
                    <a:pt x="455" y="17"/>
                  </a:cubicBezTo>
                  <a:cubicBezTo>
                    <a:pt x="455" y="0"/>
                    <a:pt x="455" y="0"/>
                    <a:pt x="455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ṥľîḋé">
              <a:extLst>
                <a:ext uri="{FF2B5EF4-FFF2-40B4-BE49-F238E27FC236}">
                  <a16:creationId xmlns:a16="http://schemas.microsoft.com/office/drawing/2014/main" id="{208A6636-005B-42CE-8F35-48539072DA0D}"/>
                </a:ext>
              </a:extLst>
            </p:cNvPr>
            <p:cNvSpPr/>
            <p:nvPr/>
          </p:nvSpPr>
          <p:spPr bwMode="auto">
            <a:xfrm>
              <a:off x="6865938" y="1395413"/>
              <a:ext cx="1501775" cy="1125538"/>
            </a:xfrm>
            <a:custGeom>
              <a:avLst/>
              <a:gdLst>
                <a:gd name="T0" fmla="*/ 1035 w 1035"/>
                <a:gd name="T1" fmla="*/ 42 h 777"/>
                <a:gd name="T2" fmla="*/ 1035 w 1035"/>
                <a:gd name="T3" fmla="*/ 739 h 777"/>
                <a:gd name="T4" fmla="*/ 991 w 1035"/>
                <a:gd name="T5" fmla="*/ 777 h 777"/>
                <a:gd name="T6" fmla="*/ 45 w 1035"/>
                <a:gd name="T7" fmla="*/ 777 h 777"/>
                <a:gd name="T8" fmla="*/ 0 w 1035"/>
                <a:gd name="T9" fmla="*/ 739 h 777"/>
                <a:gd name="T10" fmla="*/ 0 w 1035"/>
                <a:gd name="T11" fmla="*/ 42 h 777"/>
                <a:gd name="T12" fmla="*/ 45 w 1035"/>
                <a:gd name="T13" fmla="*/ 0 h 777"/>
                <a:gd name="T14" fmla="*/ 991 w 1035"/>
                <a:gd name="T15" fmla="*/ 0 h 777"/>
                <a:gd name="T16" fmla="*/ 1035 w 1035"/>
                <a:gd name="T17" fmla="*/ 42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5" h="777">
                  <a:moveTo>
                    <a:pt x="1035" y="42"/>
                  </a:moveTo>
                  <a:cubicBezTo>
                    <a:pt x="1035" y="739"/>
                    <a:pt x="1035" y="739"/>
                    <a:pt x="1035" y="739"/>
                  </a:cubicBezTo>
                  <a:cubicBezTo>
                    <a:pt x="1035" y="760"/>
                    <a:pt x="1015" y="777"/>
                    <a:pt x="991" y="777"/>
                  </a:cubicBezTo>
                  <a:cubicBezTo>
                    <a:pt x="45" y="777"/>
                    <a:pt x="45" y="777"/>
                    <a:pt x="45" y="777"/>
                  </a:cubicBezTo>
                  <a:cubicBezTo>
                    <a:pt x="20" y="777"/>
                    <a:pt x="0" y="760"/>
                    <a:pt x="0" y="7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21"/>
                    <a:pt x="20" y="0"/>
                    <a:pt x="45" y="0"/>
                  </a:cubicBezTo>
                  <a:cubicBezTo>
                    <a:pt x="991" y="0"/>
                    <a:pt x="991" y="0"/>
                    <a:pt x="991" y="0"/>
                  </a:cubicBezTo>
                  <a:cubicBezTo>
                    <a:pt x="1015" y="0"/>
                    <a:pt x="1035" y="22"/>
                    <a:pt x="1035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$ḻîḑé">
              <a:extLst>
                <a:ext uri="{FF2B5EF4-FFF2-40B4-BE49-F238E27FC236}">
                  <a16:creationId xmlns:a16="http://schemas.microsoft.com/office/drawing/2014/main" id="{46954208-15BD-4D42-81D2-4E2B79679BD4}"/>
                </a:ext>
              </a:extLst>
            </p:cNvPr>
            <p:cNvSpPr/>
            <p:nvPr/>
          </p:nvSpPr>
          <p:spPr bwMode="auto">
            <a:xfrm>
              <a:off x="6969126" y="1395413"/>
              <a:ext cx="1385888" cy="26988"/>
            </a:xfrm>
            <a:custGeom>
              <a:avLst/>
              <a:gdLst>
                <a:gd name="T0" fmla="*/ 920 w 956"/>
                <a:gd name="T1" fmla="*/ 0 h 18"/>
                <a:gd name="T2" fmla="*/ 0 w 956"/>
                <a:gd name="T3" fmla="*/ 0 h 18"/>
                <a:gd name="T4" fmla="*/ 0 w 956"/>
                <a:gd name="T5" fmla="*/ 0 h 18"/>
                <a:gd name="T6" fmla="*/ 920 w 956"/>
                <a:gd name="T7" fmla="*/ 0 h 18"/>
                <a:gd name="T8" fmla="*/ 956 w 956"/>
                <a:gd name="T9" fmla="*/ 18 h 18"/>
                <a:gd name="T10" fmla="*/ 920 w 956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6" h="18">
                  <a:moveTo>
                    <a:pt x="9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0" y="0"/>
                    <a:pt x="920" y="0"/>
                    <a:pt x="920" y="0"/>
                  </a:cubicBezTo>
                  <a:cubicBezTo>
                    <a:pt x="934" y="0"/>
                    <a:pt x="947" y="8"/>
                    <a:pt x="956" y="18"/>
                  </a:cubicBezTo>
                  <a:cubicBezTo>
                    <a:pt x="947" y="7"/>
                    <a:pt x="934" y="0"/>
                    <a:pt x="920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ṥ1ïḑè">
              <a:extLst>
                <a:ext uri="{FF2B5EF4-FFF2-40B4-BE49-F238E27FC236}">
                  <a16:creationId xmlns:a16="http://schemas.microsoft.com/office/drawing/2014/main" id="{9A6B7F71-558B-4295-AD6C-334BC93F3AB7}"/>
                </a:ext>
              </a:extLst>
            </p:cNvPr>
            <p:cNvSpPr/>
            <p:nvPr/>
          </p:nvSpPr>
          <p:spPr bwMode="auto">
            <a:xfrm>
              <a:off x="6883401" y="1395413"/>
              <a:ext cx="85725" cy="22225"/>
            </a:xfrm>
            <a:custGeom>
              <a:avLst/>
              <a:gdLst>
                <a:gd name="T0" fmla="*/ 32 w 59"/>
                <a:gd name="T1" fmla="*/ 0 h 15"/>
                <a:gd name="T2" fmla="*/ 0 w 59"/>
                <a:gd name="T3" fmla="*/ 15 h 15"/>
                <a:gd name="T4" fmla="*/ 32 w 59"/>
                <a:gd name="T5" fmla="*/ 0 h 15"/>
                <a:gd name="T6" fmla="*/ 59 w 59"/>
                <a:gd name="T7" fmla="*/ 0 h 15"/>
                <a:gd name="T8" fmla="*/ 33 w 59"/>
                <a:gd name="T9" fmla="*/ 0 h 15"/>
                <a:gd name="T10" fmla="*/ 33 w 59"/>
                <a:gd name="T11" fmla="*/ 0 h 15"/>
                <a:gd name="T12" fmla="*/ 33 w 59"/>
                <a:gd name="T13" fmla="*/ 0 h 15"/>
                <a:gd name="T14" fmla="*/ 59 w 59"/>
                <a:gd name="T15" fmla="*/ 0 h 15"/>
                <a:gd name="T16" fmla="*/ 59 w 59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5">
                  <a:moveTo>
                    <a:pt x="32" y="0"/>
                  </a:moveTo>
                  <a:cubicBezTo>
                    <a:pt x="19" y="1"/>
                    <a:pt x="8" y="6"/>
                    <a:pt x="0" y="15"/>
                  </a:cubicBezTo>
                  <a:cubicBezTo>
                    <a:pt x="8" y="7"/>
                    <a:pt x="19" y="1"/>
                    <a:pt x="32" y="0"/>
                  </a:cubicBezTo>
                  <a:moveTo>
                    <a:pt x="59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ṥḻiḓè">
              <a:extLst>
                <a:ext uri="{FF2B5EF4-FFF2-40B4-BE49-F238E27FC236}">
                  <a16:creationId xmlns:a16="http://schemas.microsoft.com/office/drawing/2014/main" id="{15B4ABAC-2FB8-4529-8FBE-2AF6FF6E9F07}"/>
                </a:ext>
              </a:extLst>
            </p:cNvPr>
            <p:cNvSpPr/>
            <p:nvPr/>
          </p:nvSpPr>
          <p:spPr bwMode="auto">
            <a:xfrm>
              <a:off x="6865938" y="1395413"/>
              <a:ext cx="1501775" cy="223838"/>
            </a:xfrm>
            <a:custGeom>
              <a:avLst/>
              <a:gdLst>
                <a:gd name="T0" fmla="*/ 991 w 1035"/>
                <a:gd name="T1" fmla="*/ 0 h 154"/>
                <a:gd name="T2" fmla="*/ 71 w 1035"/>
                <a:gd name="T3" fmla="*/ 0 h 154"/>
                <a:gd name="T4" fmla="*/ 45 w 1035"/>
                <a:gd name="T5" fmla="*/ 0 h 154"/>
                <a:gd name="T6" fmla="*/ 45 w 1035"/>
                <a:gd name="T7" fmla="*/ 0 h 154"/>
                <a:gd name="T8" fmla="*/ 44 w 1035"/>
                <a:gd name="T9" fmla="*/ 0 h 154"/>
                <a:gd name="T10" fmla="*/ 12 w 1035"/>
                <a:gd name="T11" fmla="*/ 15 h 154"/>
                <a:gd name="T12" fmla="*/ 0 w 1035"/>
                <a:gd name="T13" fmla="*/ 45 h 154"/>
                <a:gd name="T14" fmla="*/ 0 w 1035"/>
                <a:gd name="T15" fmla="*/ 154 h 154"/>
                <a:gd name="T16" fmla="*/ 1035 w 1035"/>
                <a:gd name="T17" fmla="*/ 154 h 154"/>
                <a:gd name="T18" fmla="*/ 1035 w 1035"/>
                <a:gd name="T19" fmla="*/ 45 h 154"/>
                <a:gd name="T20" fmla="*/ 1027 w 1035"/>
                <a:gd name="T21" fmla="*/ 18 h 154"/>
                <a:gd name="T22" fmla="*/ 991 w 1035"/>
                <a:gd name="T2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35" h="154">
                  <a:moveTo>
                    <a:pt x="991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4" y="0"/>
                    <a:pt x="44" y="0"/>
                  </a:cubicBezTo>
                  <a:cubicBezTo>
                    <a:pt x="31" y="1"/>
                    <a:pt x="20" y="7"/>
                    <a:pt x="12" y="15"/>
                  </a:cubicBezTo>
                  <a:cubicBezTo>
                    <a:pt x="5" y="23"/>
                    <a:pt x="0" y="33"/>
                    <a:pt x="0" y="45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035" y="154"/>
                    <a:pt x="1035" y="154"/>
                    <a:pt x="1035" y="154"/>
                  </a:cubicBezTo>
                  <a:cubicBezTo>
                    <a:pt x="1035" y="45"/>
                    <a:pt x="1035" y="45"/>
                    <a:pt x="1035" y="45"/>
                  </a:cubicBezTo>
                  <a:cubicBezTo>
                    <a:pt x="1035" y="35"/>
                    <a:pt x="1032" y="26"/>
                    <a:pt x="1027" y="18"/>
                  </a:cubicBezTo>
                  <a:cubicBezTo>
                    <a:pt x="1018" y="8"/>
                    <a:pt x="1005" y="0"/>
                    <a:pt x="991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ṩļïḍê">
              <a:extLst>
                <a:ext uri="{FF2B5EF4-FFF2-40B4-BE49-F238E27FC236}">
                  <a16:creationId xmlns:a16="http://schemas.microsoft.com/office/drawing/2014/main" id="{60348D24-FE77-4CB8-8C6A-1B1C05D89871}"/>
                </a:ext>
              </a:extLst>
            </p:cNvPr>
            <p:cNvSpPr/>
            <p:nvPr/>
          </p:nvSpPr>
          <p:spPr bwMode="auto">
            <a:xfrm>
              <a:off x="6905626" y="1463675"/>
              <a:ext cx="87313" cy="87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ṥḷïḑè">
              <a:extLst>
                <a:ext uri="{FF2B5EF4-FFF2-40B4-BE49-F238E27FC236}">
                  <a16:creationId xmlns:a16="http://schemas.microsoft.com/office/drawing/2014/main" id="{005D5819-A049-4F06-B99C-A0ED4A9D1B0F}"/>
                </a:ext>
              </a:extLst>
            </p:cNvPr>
            <p:cNvSpPr/>
            <p:nvPr/>
          </p:nvSpPr>
          <p:spPr bwMode="auto">
            <a:xfrm>
              <a:off x="7032626" y="1463675"/>
              <a:ext cx="85725" cy="87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ş1idé">
              <a:extLst>
                <a:ext uri="{FF2B5EF4-FFF2-40B4-BE49-F238E27FC236}">
                  <a16:creationId xmlns:a16="http://schemas.microsoft.com/office/drawing/2014/main" id="{C13791BC-6F20-499F-B75B-785879ECAD8D}"/>
                </a:ext>
              </a:extLst>
            </p:cNvPr>
            <p:cNvSpPr/>
            <p:nvPr/>
          </p:nvSpPr>
          <p:spPr bwMode="auto">
            <a:xfrm>
              <a:off x="7158038" y="1463675"/>
              <a:ext cx="87313" cy="87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slïḋè">
              <a:extLst>
                <a:ext uri="{FF2B5EF4-FFF2-40B4-BE49-F238E27FC236}">
                  <a16:creationId xmlns:a16="http://schemas.microsoft.com/office/drawing/2014/main" id="{43F5A285-D858-40BA-A319-56D738BE72E4}"/>
                </a:ext>
              </a:extLst>
            </p:cNvPr>
            <p:cNvSpPr/>
            <p:nvPr/>
          </p:nvSpPr>
          <p:spPr bwMode="auto">
            <a:xfrm>
              <a:off x="6996113" y="1676400"/>
              <a:ext cx="336550" cy="339725"/>
            </a:xfrm>
            <a:prstGeom prst="ellipse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$1ïḋé">
              <a:extLst>
                <a:ext uri="{FF2B5EF4-FFF2-40B4-BE49-F238E27FC236}">
                  <a16:creationId xmlns:a16="http://schemas.microsoft.com/office/drawing/2014/main" id="{4A9A036D-08D7-44ED-AADC-76B8B68AB249}"/>
                </a:ext>
              </a:extLst>
            </p:cNvPr>
            <p:cNvSpPr/>
            <p:nvPr/>
          </p:nvSpPr>
          <p:spPr bwMode="auto">
            <a:xfrm>
              <a:off x="7526338" y="1731963"/>
              <a:ext cx="712788" cy="25400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šḷïḑê">
              <a:extLst>
                <a:ext uri="{FF2B5EF4-FFF2-40B4-BE49-F238E27FC236}">
                  <a16:creationId xmlns:a16="http://schemas.microsoft.com/office/drawing/2014/main" id="{F437A1F9-2F3E-456E-9AD9-4C17E69DE84F}"/>
                </a:ext>
              </a:extLst>
            </p:cNvPr>
            <p:cNvSpPr/>
            <p:nvPr/>
          </p:nvSpPr>
          <p:spPr bwMode="auto">
            <a:xfrm>
              <a:off x="7526338" y="1793875"/>
              <a:ext cx="712788" cy="25400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$ḷiḍe">
              <a:extLst>
                <a:ext uri="{FF2B5EF4-FFF2-40B4-BE49-F238E27FC236}">
                  <a16:creationId xmlns:a16="http://schemas.microsoft.com/office/drawing/2014/main" id="{1A28A5A5-0ED9-4E50-9E1C-B325442FB0EA}"/>
                </a:ext>
              </a:extLst>
            </p:cNvPr>
            <p:cNvSpPr/>
            <p:nvPr/>
          </p:nvSpPr>
          <p:spPr bwMode="auto">
            <a:xfrm>
              <a:off x="7526338" y="1793875"/>
              <a:ext cx="712788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š1ïḍé">
              <a:extLst>
                <a:ext uri="{FF2B5EF4-FFF2-40B4-BE49-F238E27FC236}">
                  <a16:creationId xmlns:a16="http://schemas.microsoft.com/office/drawing/2014/main" id="{A7F92185-0D99-4177-BA01-DBC6B3F54293}"/>
                </a:ext>
              </a:extLst>
            </p:cNvPr>
            <p:cNvSpPr/>
            <p:nvPr/>
          </p:nvSpPr>
          <p:spPr bwMode="auto">
            <a:xfrm>
              <a:off x="7526338" y="1855788"/>
              <a:ext cx="712788" cy="2381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śľíďé">
              <a:extLst>
                <a:ext uri="{FF2B5EF4-FFF2-40B4-BE49-F238E27FC236}">
                  <a16:creationId xmlns:a16="http://schemas.microsoft.com/office/drawing/2014/main" id="{AC4AACF7-563A-42FC-947E-32E1DD4A7F6E}"/>
                </a:ext>
              </a:extLst>
            </p:cNvPr>
            <p:cNvSpPr/>
            <p:nvPr/>
          </p:nvSpPr>
          <p:spPr bwMode="auto">
            <a:xfrm>
              <a:off x="7526338" y="1855788"/>
              <a:ext cx="712788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slíḍe">
              <a:extLst>
                <a:ext uri="{FF2B5EF4-FFF2-40B4-BE49-F238E27FC236}">
                  <a16:creationId xmlns:a16="http://schemas.microsoft.com/office/drawing/2014/main" id="{E1A50FE2-094F-44F7-A0BF-85D2B36CA0BD}"/>
                </a:ext>
              </a:extLst>
            </p:cNvPr>
            <p:cNvSpPr/>
            <p:nvPr/>
          </p:nvSpPr>
          <p:spPr bwMode="auto">
            <a:xfrm>
              <a:off x="7526338" y="1916113"/>
              <a:ext cx="712788" cy="25400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śľiḍé">
              <a:extLst>
                <a:ext uri="{FF2B5EF4-FFF2-40B4-BE49-F238E27FC236}">
                  <a16:creationId xmlns:a16="http://schemas.microsoft.com/office/drawing/2014/main" id="{6FFE8E58-F405-4AD2-AFAB-CEDCE5B6DB90}"/>
                </a:ext>
              </a:extLst>
            </p:cNvPr>
            <p:cNvSpPr/>
            <p:nvPr/>
          </p:nvSpPr>
          <p:spPr bwMode="auto">
            <a:xfrm>
              <a:off x="7526338" y="1916113"/>
              <a:ext cx="712788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ṩlídê">
              <a:extLst>
                <a:ext uri="{FF2B5EF4-FFF2-40B4-BE49-F238E27FC236}">
                  <a16:creationId xmlns:a16="http://schemas.microsoft.com/office/drawing/2014/main" id="{D45AFB3A-95D9-43DB-8B04-6C24CA0AF06C}"/>
                </a:ext>
              </a:extLst>
            </p:cNvPr>
            <p:cNvSpPr/>
            <p:nvPr/>
          </p:nvSpPr>
          <p:spPr bwMode="auto">
            <a:xfrm>
              <a:off x="6996113" y="2071688"/>
              <a:ext cx="336550" cy="339725"/>
            </a:xfrm>
            <a:custGeom>
              <a:avLst/>
              <a:gdLst>
                <a:gd name="T0" fmla="*/ 116 w 233"/>
                <a:gd name="T1" fmla="*/ 0 h 234"/>
                <a:gd name="T2" fmla="*/ 0 w 233"/>
                <a:gd name="T3" fmla="*/ 117 h 234"/>
                <a:gd name="T4" fmla="*/ 13 w 233"/>
                <a:gd name="T5" fmla="*/ 172 h 234"/>
                <a:gd name="T6" fmla="*/ 38 w 233"/>
                <a:gd name="T7" fmla="*/ 187 h 234"/>
                <a:gd name="T8" fmla="*/ 48 w 233"/>
                <a:gd name="T9" fmla="*/ 212 h 234"/>
                <a:gd name="T10" fmla="*/ 116 w 233"/>
                <a:gd name="T11" fmla="*/ 234 h 234"/>
                <a:gd name="T12" fmla="*/ 233 w 233"/>
                <a:gd name="T13" fmla="*/ 117 h 234"/>
                <a:gd name="T14" fmla="*/ 116 w 233"/>
                <a:gd name="T15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3" h="234">
                  <a:moveTo>
                    <a:pt x="116" y="0"/>
                  </a:moveTo>
                  <a:cubicBezTo>
                    <a:pt x="52" y="0"/>
                    <a:pt x="0" y="53"/>
                    <a:pt x="0" y="117"/>
                  </a:cubicBezTo>
                  <a:cubicBezTo>
                    <a:pt x="0" y="137"/>
                    <a:pt x="4" y="155"/>
                    <a:pt x="13" y="172"/>
                  </a:cubicBezTo>
                  <a:cubicBezTo>
                    <a:pt x="23" y="174"/>
                    <a:pt x="31" y="179"/>
                    <a:pt x="38" y="187"/>
                  </a:cubicBezTo>
                  <a:cubicBezTo>
                    <a:pt x="44" y="194"/>
                    <a:pt x="48" y="203"/>
                    <a:pt x="48" y="212"/>
                  </a:cubicBezTo>
                  <a:cubicBezTo>
                    <a:pt x="67" y="226"/>
                    <a:pt x="91" y="234"/>
                    <a:pt x="116" y="234"/>
                  </a:cubicBezTo>
                  <a:cubicBezTo>
                    <a:pt x="181" y="234"/>
                    <a:pt x="233" y="182"/>
                    <a:pt x="233" y="117"/>
                  </a:cubicBezTo>
                  <a:cubicBezTo>
                    <a:pt x="233" y="53"/>
                    <a:pt x="181" y="0"/>
                    <a:pt x="116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Sļidè">
              <a:extLst>
                <a:ext uri="{FF2B5EF4-FFF2-40B4-BE49-F238E27FC236}">
                  <a16:creationId xmlns:a16="http://schemas.microsoft.com/office/drawing/2014/main" id="{9B8E14A4-A892-439C-AF31-AC34580D223C}"/>
                </a:ext>
              </a:extLst>
            </p:cNvPr>
            <p:cNvSpPr/>
            <p:nvPr/>
          </p:nvSpPr>
          <p:spPr bwMode="auto">
            <a:xfrm>
              <a:off x="7526338" y="2128838"/>
              <a:ext cx="712788" cy="2381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ṣḻíḑê">
              <a:extLst>
                <a:ext uri="{FF2B5EF4-FFF2-40B4-BE49-F238E27FC236}">
                  <a16:creationId xmlns:a16="http://schemas.microsoft.com/office/drawing/2014/main" id="{2AAEC92A-F241-4A25-A3E7-5767B6D9A4EE}"/>
                </a:ext>
              </a:extLst>
            </p:cNvPr>
            <p:cNvSpPr/>
            <p:nvPr/>
          </p:nvSpPr>
          <p:spPr bwMode="auto">
            <a:xfrm>
              <a:off x="7526338" y="2189163"/>
              <a:ext cx="712788" cy="25400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Sḻiḓé">
              <a:extLst>
                <a:ext uri="{FF2B5EF4-FFF2-40B4-BE49-F238E27FC236}">
                  <a16:creationId xmlns:a16="http://schemas.microsoft.com/office/drawing/2014/main" id="{8288DEA6-CE1A-4BF8-9C97-83497D4C3510}"/>
                </a:ext>
              </a:extLst>
            </p:cNvPr>
            <p:cNvSpPr/>
            <p:nvPr/>
          </p:nvSpPr>
          <p:spPr bwMode="auto">
            <a:xfrm>
              <a:off x="7526338" y="2189163"/>
              <a:ext cx="712788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ṣḷîḋe">
              <a:extLst>
                <a:ext uri="{FF2B5EF4-FFF2-40B4-BE49-F238E27FC236}">
                  <a16:creationId xmlns:a16="http://schemas.microsoft.com/office/drawing/2014/main" id="{749F43D4-849D-4423-AD82-37DC73A36357}"/>
                </a:ext>
              </a:extLst>
            </p:cNvPr>
            <p:cNvSpPr/>
            <p:nvPr/>
          </p:nvSpPr>
          <p:spPr bwMode="auto">
            <a:xfrm>
              <a:off x="7526338" y="2251075"/>
              <a:ext cx="712788" cy="25400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ṧľíḍê">
              <a:extLst>
                <a:ext uri="{FF2B5EF4-FFF2-40B4-BE49-F238E27FC236}">
                  <a16:creationId xmlns:a16="http://schemas.microsoft.com/office/drawing/2014/main" id="{981B6EB3-8FAE-4B00-9672-309E3D5BD88C}"/>
                </a:ext>
              </a:extLst>
            </p:cNvPr>
            <p:cNvSpPr/>
            <p:nvPr/>
          </p:nvSpPr>
          <p:spPr bwMode="auto">
            <a:xfrm>
              <a:off x="7526338" y="2251075"/>
              <a:ext cx="712788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ş1îḑê">
              <a:extLst>
                <a:ext uri="{FF2B5EF4-FFF2-40B4-BE49-F238E27FC236}">
                  <a16:creationId xmlns:a16="http://schemas.microsoft.com/office/drawing/2014/main" id="{FECC2415-0136-4675-B406-116CA958EB5A}"/>
                </a:ext>
              </a:extLst>
            </p:cNvPr>
            <p:cNvSpPr/>
            <p:nvPr/>
          </p:nvSpPr>
          <p:spPr bwMode="auto">
            <a:xfrm>
              <a:off x="7526338" y="2312988"/>
              <a:ext cx="712788" cy="2381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S1ïdê">
              <a:extLst>
                <a:ext uri="{FF2B5EF4-FFF2-40B4-BE49-F238E27FC236}">
                  <a16:creationId xmlns:a16="http://schemas.microsoft.com/office/drawing/2014/main" id="{91E9E0EC-BEF3-49A4-A0A7-48C7C38ED49E}"/>
                </a:ext>
              </a:extLst>
            </p:cNvPr>
            <p:cNvSpPr/>
            <p:nvPr/>
          </p:nvSpPr>
          <p:spPr bwMode="auto">
            <a:xfrm>
              <a:off x="7526338" y="2312988"/>
              <a:ext cx="712788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ṩļîdè">
              <a:extLst>
                <a:ext uri="{FF2B5EF4-FFF2-40B4-BE49-F238E27FC236}">
                  <a16:creationId xmlns:a16="http://schemas.microsoft.com/office/drawing/2014/main" id="{E1AF80C2-701E-4DC2-819A-9CA659C5FEAF}"/>
                </a:ext>
              </a:extLst>
            </p:cNvPr>
            <p:cNvSpPr/>
            <p:nvPr/>
          </p:nvSpPr>
          <p:spPr bwMode="auto">
            <a:xfrm>
              <a:off x="3178176" y="2806700"/>
              <a:ext cx="3252788" cy="2436813"/>
            </a:xfrm>
            <a:custGeom>
              <a:avLst/>
              <a:gdLst>
                <a:gd name="T0" fmla="*/ 2244 w 2244"/>
                <a:gd name="T1" fmla="*/ 91 h 1683"/>
                <a:gd name="T2" fmla="*/ 2244 w 2244"/>
                <a:gd name="T3" fmla="*/ 1602 h 1683"/>
                <a:gd name="T4" fmla="*/ 2147 w 2244"/>
                <a:gd name="T5" fmla="*/ 1683 h 1683"/>
                <a:gd name="T6" fmla="*/ 97 w 2244"/>
                <a:gd name="T7" fmla="*/ 1683 h 1683"/>
                <a:gd name="T8" fmla="*/ 0 w 2244"/>
                <a:gd name="T9" fmla="*/ 1602 h 1683"/>
                <a:gd name="T10" fmla="*/ 0 w 2244"/>
                <a:gd name="T11" fmla="*/ 91 h 1683"/>
                <a:gd name="T12" fmla="*/ 97 w 2244"/>
                <a:gd name="T13" fmla="*/ 0 h 1683"/>
                <a:gd name="T14" fmla="*/ 2147 w 2244"/>
                <a:gd name="T15" fmla="*/ 0 h 1683"/>
                <a:gd name="T16" fmla="*/ 2244 w 2244"/>
                <a:gd name="T17" fmla="*/ 91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44" h="1683">
                  <a:moveTo>
                    <a:pt x="2244" y="91"/>
                  </a:moveTo>
                  <a:cubicBezTo>
                    <a:pt x="2244" y="1602"/>
                    <a:pt x="2244" y="1602"/>
                    <a:pt x="2244" y="1602"/>
                  </a:cubicBezTo>
                  <a:cubicBezTo>
                    <a:pt x="2244" y="1647"/>
                    <a:pt x="2200" y="1683"/>
                    <a:pt x="2147" y="1683"/>
                  </a:cubicBezTo>
                  <a:cubicBezTo>
                    <a:pt x="97" y="1683"/>
                    <a:pt x="97" y="1683"/>
                    <a:pt x="97" y="1683"/>
                  </a:cubicBezTo>
                  <a:cubicBezTo>
                    <a:pt x="43" y="1683"/>
                    <a:pt x="0" y="1647"/>
                    <a:pt x="0" y="160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46"/>
                    <a:pt x="43" y="0"/>
                    <a:pt x="97" y="0"/>
                  </a:cubicBezTo>
                  <a:cubicBezTo>
                    <a:pt x="2147" y="0"/>
                    <a:pt x="2147" y="0"/>
                    <a:pt x="2147" y="0"/>
                  </a:cubicBezTo>
                  <a:cubicBezTo>
                    <a:pt x="2200" y="0"/>
                    <a:pt x="2244" y="46"/>
                    <a:pt x="2244" y="9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$ḷïḓé">
              <a:extLst>
                <a:ext uri="{FF2B5EF4-FFF2-40B4-BE49-F238E27FC236}">
                  <a16:creationId xmlns:a16="http://schemas.microsoft.com/office/drawing/2014/main" id="{A293CC13-8A88-4378-9553-B5A42C9C4A3F}"/>
                </a:ext>
              </a:extLst>
            </p:cNvPr>
            <p:cNvSpPr/>
            <p:nvPr/>
          </p:nvSpPr>
          <p:spPr bwMode="auto">
            <a:xfrm>
              <a:off x="3206751" y="2806700"/>
              <a:ext cx="2357438" cy="53975"/>
            </a:xfrm>
            <a:custGeom>
              <a:avLst/>
              <a:gdLst>
                <a:gd name="T0" fmla="*/ 958 w 1626"/>
                <a:gd name="T1" fmla="*/ 0 h 37"/>
                <a:gd name="T2" fmla="*/ 77 w 1626"/>
                <a:gd name="T3" fmla="*/ 0 h 37"/>
                <a:gd name="T4" fmla="*/ 76 w 1626"/>
                <a:gd name="T5" fmla="*/ 0 h 37"/>
                <a:gd name="T6" fmla="*/ 0 w 1626"/>
                <a:gd name="T7" fmla="*/ 37 h 37"/>
                <a:gd name="T8" fmla="*/ 77 w 1626"/>
                <a:gd name="T9" fmla="*/ 0 h 37"/>
                <a:gd name="T10" fmla="*/ 958 w 1626"/>
                <a:gd name="T11" fmla="*/ 0 h 37"/>
                <a:gd name="T12" fmla="*/ 958 w 1626"/>
                <a:gd name="T13" fmla="*/ 0 h 37"/>
                <a:gd name="T14" fmla="*/ 1626 w 1626"/>
                <a:gd name="T15" fmla="*/ 0 h 37"/>
                <a:gd name="T16" fmla="*/ 1623 w 1626"/>
                <a:gd name="T17" fmla="*/ 0 h 37"/>
                <a:gd name="T18" fmla="*/ 1622 w 1626"/>
                <a:gd name="T19" fmla="*/ 0 h 37"/>
                <a:gd name="T20" fmla="*/ 1626 w 1626"/>
                <a:gd name="T21" fmla="*/ 0 h 37"/>
                <a:gd name="T22" fmla="*/ 1626 w 1626"/>
                <a:gd name="T2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26" h="37">
                  <a:moveTo>
                    <a:pt x="958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45" y="0"/>
                    <a:pt x="17" y="14"/>
                    <a:pt x="0" y="37"/>
                  </a:cubicBezTo>
                  <a:cubicBezTo>
                    <a:pt x="18" y="15"/>
                    <a:pt x="45" y="0"/>
                    <a:pt x="77" y="0"/>
                  </a:cubicBezTo>
                  <a:cubicBezTo>
                    <a:pt x="958" y="0"/>
                    <a:pt x="958" y="0"/>
                    <a:pt x="958" y="0"/>
                  </a:cubicBezTo>
                  <a:cubicBezTo>
                    <a:pt x="958" y="0"/>
                    <a:pt x="958" y="0"/>
                    <a:pt x="958" y="0"/>
                  </a:cubicBezTo>
                  <a:moveTo>
                    <a:pt x="1626" y="0"/>
                  </a:moveTo>
                  <a:cubicBezTo>
                    <a:pt x="1623" y="0"/>
                    <a:pt x="1623" y="0"/>
                    <a:pt x="1623" y="0"/>
                  </a:cubicBezTo>
                  <a:cubicBezTo>
                    <a:pt x="1623" y="0"/>
                    <a:pt x="1622" y="0"/>
                    <a:pt x="1622" y="0"/>
                  </a:cubicBezTo>
                  <a:cubicBezTo>
                    <a:pt x="1626" y="0"/>
                    <a:pt x="1626" y="0"/>
                    <a:pt x="1626" y="0"/>
                  </a:cubicBezTo>
                  <a:cubicBezTo>
                    <a:pt x="1626" y="0"/>
                    <a:pt x="1626" y="0"/>
                    <a:pt x="1626" y="0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sḻíḑe">
              <a:extLst>
                <a:ext uri="{FF2B5EF4-FFF2-40B4-BE49-F238E27FC236}">
                  <a16:creationId xmlns:a16="http://schemas.microsoft.com/office/drawing/2014/main" id="{309BB985-C83E-427D-AE22-1E6BD843AFC8}"/>
                </a:ext>
              </a:extLst>
            </p:cNvPr>
            <p:cNvSpPr/>
            <p:nvPr/>
          </p:nvSpPr>
          <p:spPr bwMode="auto">
            <a:xfrm>
              <a:off x="3178176" y="2806700"/>
              <a:ext cx="3252788" cy="482600"/>
            </a:xfrm>
            <a:custGeom>
              <a:avLst/>
              <a:gdLst>
                <a:gd name="T0" fmla="*/ 1140 w 2244"/>
                <a:gd name="T1" fmla="*/ 42 h 334"/>
                <a:gd name="T2" fmla="*/ 1072 w 2244"/>
                <a:gd name="T3" fmla="*/ 58 h 334"/>
                <a:gd name="T4" fmla="*/ 1065 w 2244"/>
                <a:gd name="T5" fmla="*/ 114 h 334"/>
                <a:gd name="T6" fmla="*/ 1013 w 2244"/>
                <a:gd name="T7" fmla="*/ 294 h 334"/>
                <a:gd name="T8" fmla="*/ 1014 w 2244"/>
                <a:gd name="T9" fmla="*/ 303 h 334"/>
                <a:gd name="T10" fmla="*/ 994 w 2244"/>
                <a:gd name="T11" fmla="*/ 325 h 334"/>
                <a:gd name="T12" fmla="*/ 990 w 2244"/>
                <a:gd name="T13" fmla="*/ 334 h 334"/>
                <a:gd name="T14" fmla="*/ 1054 w 2244"/>
                <a:gd name="T15" fmla="*/ 332 h 334"/>
                <a:gd name="T16" fmla="*/ 1155 w 2244"/>
                <a:gd name="T17" fmla="*/ 283 h 334"/>
                <a:gd name="T18" fmla="*/ 1155 w 2244"/>
                <a:gd name="T19" fmla="*/ 283 h 334"/>
                <a:gd name="T20" fmla="*/ 1171 w 2244"/>
                <a:gd name="T21" fmla="*/ 269 h 334"/>
                <a:gd name="T22" fmla="*/ 1170 w 2244"/>
                <a:gd name="T23" fmla="*/ 263 h 334"/>
                <a:gd name="T24" fmla="*/ 1175 w 2244"/>
                <a:gd name="T25" fmla="*/ 249 h 334"/>
                <a:gd name="T26" fmla="*/ 1175 w 2244"/>
                <a:gd name="T27" fmla="*/ 249 h 334"/>
                <a:gd name="T28" fmla="*/ 1213 w 2244"/>
                <a:gd name="T29" fmla="*/ 134 h 334"/>
                <a:gd name="T30" fmla="*/ 1244 w 2244"/>
                <a:gd name="T31" fmla="*/ 34 h 334"/>
                <a:gd name="T32" fmla="*/ 97 w 2244"/>
                <a:gd name="T33" fmla="*/ 0 h 334"/>
                <a:gd name="T34" fmla="*/ 0 w 2244"/>
                <a:gd name="T35" fmla="*/ 97 h 334"/>
                <a:gd name="T36" fmla="*/ 922 w 2244"/>
                <a:gd name="T37" fmla="*/ 334 h 334"/>
                <a:gd name="T38" fmla="*/ 915 w 2244"/>
                <a:gd name="T39" fmla="*/ 312 h 334"/>
                <a:gd name="T40" fmla="*/ 915 w 2244"/>
                <a:gd name="T41" fmla="*/ 309 h 334"/>
                <a:gd name="T42" fmla="*/ 921 w 2244"/>
                <a:gd name="T43" fmla="*/ 283 h 334"/>
                <a:gd name="T44" fmla="*/ 927 w 2244"/>
                <a:gd name="T45" fmla="*/ 228 h 334"/>
                <a:gd name="T46" fmla="*/ 974 w 2244"/>
                <a:gd name="T47" fmla="*/ 22 h 334"/>
                <a:gd name="T48" fmla="*/ 1646 w 2244"/>
                <a:gd name="T49" fmla="*/ 0 h 334"/>
                <a:gd name="T50" fmla="*/ 1611 w 2244"/>
                <a:gd name="T51" fmla="*/ 14 h 334"/>
                <a:gd name="T52" fmla="*/ 1517 w 2244"/>
                <a:gd name="T53" fmla="*/ 20 h 334"/>
                <a:gd name="T54" fmla="*/ 1429 w 2244"/>
                <a:gd name="T55" fmla="*/ 67 h 334"/>
                <a:gd name="T56" fmla="*/ 1332 w 2244"/>
                <a:gd name="T57" fmla="*/ 147 h 334"/>
                <a:gd name="T58" fmla="*/ 1252 w 2244"/>
                <a:gd name="T59" fmla="*/ 287 h 334"/>
                <a:gd name="T60" fmla="*/ 1222 w 2244"/>
                <a:gd name="T61" fmla="*/ 300 h 334"/>
                <a:gd name="T62" fmla="*/ 1207 w 2244"/>
                <a:gd name="T63" fmla="*/ 325 h 334"/>
                <a:gd name="T64" fmla="*/ 2244 w 2244"/>
                <a:gd name="T65" fmla="*/ 334 h 334"/>
                <a:gd name="T66" fmla="*/ 1691 w 2244"/>
                <a:gd name="T67" fmla="*/ 136 h 334"/>
                <a:gd name="T68" fmla="*/ 1646 w 2244"/>
                <a:gd name="T69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44" h="334">
                  <a:moveTo>
                    <a:pt x="1244" y="34"/>
                  </a:moveTo>
                  <a:cubicBezTo>
                    <a:pt x="1244" y="34"/>
                    <a:pt x="1196" y="42"/>
                    <a:pt x="1140" y="42"/>
                  </a:cubicBezTo>
                  <a:cubicBezTo>
                    <a:pt x="1124" y="42"/>
                    <a:pt x="1107" y="41"/>
                    <a:pt x="1091" y="39"/>
                  </a:cubicBezTo>
                  <a:cubicBezTo>
                    <a:pt x="1091" y="39"/>
                    <a:pt x="1067" y="48"/>
                    <a:pt x="1072" y="58"/>
                  </a:cubicBezTo>
                  <a:cubicBezTo>
                    <a:pt x="1076" y="67"/>
                    <a:pt x="1073" y="85"/>
                    <a:pt x="1071" y="85"/>
                  </a:cubicBezTo>
                  <a:cubicBezTo>
                    <a:pt x="1069" y="85"/>
                    <a:pt x="1059" y="99"/>
                    <a:pt x="1065" y="114"/>
                  </a:cubicBezTo>
                  <a:cubicBezTo>
                    <a:pt x="1070" y="130"/>
                    <a:pt x="1031" y="273"/>
                    <a:pt x="1013" y="292"/>
                  </a:cubicBezTo>
                  <a:cubicBezTo>
                    <a:pt x="1013" y="293"/>
                    <a:pt x="1013" y="293"/>
                    <a:pt x="1013" y="294"/>
                  </a:cubicBezTo>
                  <a:cubicBezTo>
                    <a:pt x="1013" y="294"/>
                    <a:pt x="1013" y="294"/>
                    <a:pt x="1013" y="294"/>
                  </a:cubicBezTo>
                  <a:cubicBezTo>
                    <a:pt x="1014" y="295"/>
                    <a:pt x="1014" y="299"/>
                    <a:pt x="1014" y="303"/>
                  </a:cubicBezTo>
                  <a:cubicBezTo>
                    <a:pt x="1014" y="303"/>
                    <a:pt x="1014" y="303"/>
                    <a:pt x="1014" y="303"/>
                  </a:cubicBezTo>
                  <a:cubicBezTo>
                    <a:pt x="1014" y="312"/>
                    <a:pt x="1011" y="324"/>
                    <a:pt x="994" y="325"/>
                  </a:cubicBezTo>
                  <a:cubicBezTo>
                    <a:pt x="993" y="325"/>
                    <a:pt x="992" y="325"/>
                    <a:pt x="991" y="325"/>
                  </a:cubicBezTo>
                  <a:cubicBezTo>
                    <a:pt x="991" y="328"/>
                    <a:pt x="990" y="331"/>
                    <a:pt x="990" y="334"/>
                  </a:cubicBezTo>
                  <a:cubicBezTo>
                    <a:pt x="1049" y="334"/>
                    <a:pt x="1049" y="334"/>
                    <a:pt x="1049" y="334"/>
                  </a:cubicBezTo>
                  <a:cubicBezTo>
                    <a:pt x="1051" y="333"/>
                    <a:pt x="1052" y="333"/>
                    <a:pt x="1054" y="332"/>
                  </a:cubicBezTo>
                  <a:cubicBezTo>
                    <a:pt x="1054" y="332"/>
                    <a:pt x="1103" y="320"/>
                    <a:pt x="1113" y="311"/>
                  </a:cubicBezTo>
                  <a:cubicBezTo>
                    <a:pt x="1124" y="301"/>
                    <a:pt x="1155" y="283"/>
                    <a:pt x="1155" y="283"/>
                  </a:cubicBezTo>
                  <a:cubicBezTo>
                    <a:pt x="1155" y="283"/>
                    <a:pt x="1155" y="283"/>
                    <a:pt x="1155" y="283"/>
                  </a:cubicBezTo>
                  <a:cubicBezTo>
                    <a:pt x="1155" y="283"/>
                    <a:pt x="1155" y="283"/>
                    <a:pt x="1155" y="283"/>
                  </a:cubicBezTo>
                  <a:cubicBezTo>
                    <a:pt x="1155" y="283"/>
                    <a:pt x="1155" y="283"/>
                    <a:pt x="1155" y="284"/>
                  </a:cubicBezTo>
                  <a:cubicBezTo>
                    <a:pt x="1160" y="279"/>
                    <a:pt x="1166" y="274"/>
                    <a:pt x="1171" y="269"/>
                  </a:cubicBezTo>
                  <a:cubicBezTo>
                    <a:pt x="1170" y="267"/>
                    <a:pt x="1170" y="265"/>
                    <a:pt x="1170" y="263"/>
                  </a:cubicBezTo>
                  <a:cubicBezTo>
                    <a:pt x="1170" y="263"/>
                    <a:pt x="1170" y="263"/>
                    <a:pt x="1170" y="263"/>
                  </a:cubicBezTo>
                  <a:cubicBezTo>
                    <a:pt x="1170" y="263"/>
                    <a:pt x="1170" y="263"/>
                    <a:pt x="1170" y="263"/>
                  </a:cubicBezTo>
                  <a:cubicBezTo>
                    <a:pt x="1171" y="258"/>
                    <a:pt x="1173" y="254"/>
                    <a:pt x="1175" y="249"/>
                  </a:cubicBezTo>
                  <a:cubicBezTo>
                    <a:pt x="1175" y="249"/>
                    <a:pt x="1175" y="249"/>
                    <a:pt x="1175" y="250"/>
                  </a:cubicBezTo>
                  <a:cubicBezTo>
                    <a:pt x="1175" y="249"/>
                    <a:pt x="1175" y="249"/>
                    <a:pt x="1175" y="249"/>
                  </a:cubicBezTo>
                  <a:cubicBezTo>
                    <a:pt x="1176" y="245"/>
                    <a:pt x="1179" y="241"/>
                    <a:pt x="1182" y="238"/>
                  </a:cubicBezTo>
                  <a:cubicBezTo>
                    <a:pt x="1189" y="234"/>
                    <a:pt x="1213" y="144"/>
                    <a:pt x="1213" y="134"/>
                  </a:cubicBezTo>
                  <a:cubicBezTo>
                    <a:pt x="1213" y="123"/>
                    <a:pt x="1228" y="73"/>
                    <a:pt x="1233" y="65"/>
                  </a:cubicBezTo>
                  <a:cubicBezTo>
                    <a:pt x="1238" y="56"/>
                    <a:pt x="1244" y="34"/>
                    <a:pt x="1244" y="34"/>
                  </a:cubicBezTo>
                  <a:moveTo>
                    <a:pt x="978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65" y="0"/>
                    <a:pt x="38" y="15"/>
                    <a:pt x="20" y="37"/>
                  </a:cubicBezTo>
                  <a:cubicBezTo>
                    <a:pt x="7" y="54"/>
                    <a:pt x="0" y="74"/>
                    <a:pt x="0" y="97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922" y="334"/>
                    <a:pt x="922" y="334"/>
                    <a:pt x="922" y="334"/>
                  </a:cubicBezTo>
                  <a:cubicBezTo>
                    <a:pt x="924" y="327"/>
                    <a:pt x="926" y="320"/>
                    <a:pt x="927" y="315"/>
                  </a:cubicBezTo>
                  <a:cubicBezTo>
                    <a:pt x="920" y="313"/>
                    <a:pt x="915" y="312"/>
                    <a:pt x="915" y="312"/>
                  </a:cubicBezTo>
                  <a:cubicBezTo>
                    <a:pt x="915" y="312"/>
                    <a:pt x="915" y="312"/>
                    <a:pt x="915" y="312"/>
                  </a:cubicBezTo>
                  <a:cubicBezTo>
                    <a:pt x="915" y="311"/>
                    <a:pt x="915" y="310"/>
                    <a:pt x="915" y="309"/>
                  </a:cubicBezTo>
                  <a:cubicBezTo>
                    <a:pt x="915" y="309"/>
                    <a:pt x="915" y="309"/>
                    <a:pt x="915" y="309"/>
                  </a:cubicBezTo>
                  <a:cubicBezTo>
                    <a:pt x="915" y="302"/>
                    <a:pt x="916" y="286"/>
                    <a:pt x="921" y="283"/>
                  </a:cubicBezTo>
                  <a:cubicBezTo>
                    <a:pt x="921" y="283"/>
                    <a:pt x="921" y="283"/>
                    <a:pt x="921" y="283"/>
                  </a:cubicBezTo>
                  <a:cubicBezTo>
                    <a:pt x="927" y="280"/>
                    <a:pt x="927" y="228"/>
                    <a:pt x="927" y="228"/>
                  </a:cubicBezTo>
                  <a:cubicBezTo>
                    <a:pt x="927" y="228"/>
                    <a:pt x="941" y="182"/>
                    <a:pt x="939" y="165"/>
                  </a:cubicBezTo>
                  <a:cubicBezTo>
                    <a:pt x="937" y="148"/>
                    <a:pt x="974" y="22"/>
                    <a:pt x="974" y="22"/>
                  </a:cubicBezTo>
                  <a:cubicBezTo>
                    <a:pt x="974" y="22"/>
                    <a:pt x="975" y="12"/>
                    <a:pt x="978" y="0"/>
                  </a:cubicBezTo>
                  <a:moveTo>
                    <a:pt x="1646" y="0"/>
                  </a:moveTo>
                  <a:cubicBezTo>
                    <a:pt x="1642" y="0"/>
                    <a:pt x="1642" y="0"/>
                    <a:pt x="1642" y="0"/>
                  </a:cubicBezTo>
                  <a:cubicBezTo>
                    <a:pt x="1631" y="3"/>
                    <a:pt x="1617" y="8"/>
                    <a:pt x="1611" y="14"/>
                  </a:cubicBezTo>
                  <a:cubicBezTo>
                    <a:pt x="1602" y="22"/>
                    <a:pt x="1572" y="34"/>
                    <a:pt x="1547" y="34"/>
                  </a:cubicBezTo>
                  <a:cubicBezTo>
                    <a:pt x="1534" y="34"/>
                    <a:pt x="1522" y="30"/>
                    <a:pt x="1517" y="20"/>
                  </a:cubicBezTo>
                  <a:cubicBezTo>
                    <a:pt x="1516" y="20"/>
                    <a:pt x="1515" y="21"/>
                    <a:pt x="1513" y="22"/>
                  </a:cubicBezTo>
                  <a:cubicBezTo>
                    <a:pt x="1479" y="37"/>
                    <a:pt x="1434" y="58"/>
                    <a:pt x="1429" y="67"/>
                  </a:cubicBezTo>
                  <a:cubicBezTo>
                    <a:pt x="1421" y="83"/>
                    <a:pt x="1360" y="109"/>
                    <a:pt x="1360" y="109"/>
                  </a:cubicBezTo>
                  <a:cubicBezTo>
                    <a:pt x="1360" y="109"/>
                    <a:pt x="1321" y="110"/>
                    <a:pt x="1332" y="147"/>
                  </a:cubicBezTo>
                  <a:cubicBezTo>
                    <a:pt x="1344" y="184"/>
                    <a:pt x="1257" y="272"/>
                    <a:pt x="1257" y="272"/>
                  </a:cubicBezTo>
                  <a:cubicBezTo>
                    <a:pt x="1258" y="277"/>
                    <a:pt x="1256" y="283"/>
                    <a:pt x="1252" y="287"/>
                  </a:cubicBezTo>
                  <a:cubicBezTo>
                    <a:pt x="1251" y="288"/>
                    <a:pt x="1250" y="290"/>
                    <a:pt x="1249" y="291"/>
                  </a:cubicBezTo>
                  <a:cubicBezTo>
                    <a:pt x="1245" y="294"/>
                    <a:pt x="1234" y="298"/>
                    <a:pt x="1222" y="300"/>
                  </a:cubicBezTo>
                  <a:cubicBezTo>
                    <a:pt x="1219" y="308"/>
                    <a:pt x="1216" y="314"/>
                    <a:pt x="1216" y="315"/>
                  </a:cubicBezTo>
                  <a:cubicBezTo>
                    <a:pt x="1217" y="316"/>
                    <a:pt x="1213" y="320"/>
                    <a:pt x="1207" y="325"/>
                  </a:cubicBezTo>
                  <a:cubicBezTo>
                    <a:pt x="1205" y="328"/>
                    <a:pt x="1204" y="331"/>
                    <a:pt x="1203" y="334"/>
                  </a:cubicBezTo>
                  <a:cubicBezTo>
                    <a:pt x="2244" y="334"/>
                    <a:pt x="2244" y="334"/>
                    <a:pt x="2244" y="334"/>
                  </a:cubicBezTo>
                  <a:cubicBezTo>
                    <a:pt x="2244" y="136"/>
                    <a:pt x="2244" y="136"/>
                    <a:pt x="2244" y="136"/>
                  </a:cubicBezTo>
                  <a:cubicBezTo>
                    <a:pt x="1691" y="136"/>
                    <a:pt x="1691" y="136"/>
                    <a:pt x="1691" y="136"/>
                  </a:cubicBezTo>
                  <a:cubicBezTo>
                    <a:pt x="1666" y="136"/>
                    <a:pt x="1646" y="119"/>
                    <a:pt x="1646" y="98"/>
                  </a:cubicBezTo>
                  <a:cubicBezTo>
                    <a:pt x="1646" y="0"/>
                    <a:pt x="1646" y="0"/>
                    <a:pt x="1646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ṧlïdé">
              <a:extLst>
                <a:ext uri="{FF2B5EF4-FFF2-40B4-BE49-F238E27FC236}">
                  <a16:creationId xmlns:a16="http://schemas.microsoft.com/office/drawing/2014/main" id="{06C844A1-37F0-4F20-8767-33D4B8F779C1}"/>
                </a:ext>
              </a:extLst>
            </p:cNvPr>
            <p:cNvSpPr/>
            <p:nvPr/>
          </p:nvSpPr>
          <p:spPr bwMode="auto">
            <a:xfrm>
              <a:off x="3262313" y="2954338"/>
              <a:ext cx="188913" cy="1873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ṥľiḋé">
              <a:extLst>
                <a:ext uri="{FF2B5EF4-FFF2-40B4-BE49-F238E27FC236}">
                  <a16:creationId xmlns:a16="http://schemas.microsoft.com/office/drawing/2014/main" id="{696E88DE-A7AD-4B93-98D0-E00AD7C99BD0}"/>
                </a:ext>
              </a:extLst>
            </p:cNvPr>
            <p:cNvSpPr/>
            <p:nvPr/>
          </p:nvSpPr>
          <p:spPr bwMode="auto">
            <a:xfrm>
              <a:off x="3535363" y="2954338"/>
              <a:ext cx="188913" cy="1873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ṣļïḋê">
              <a:extLst>
                <a:ext uri="{FF2B5EF4-FFF2-40B4-BE49-F238E27FC236}">
                  <a16:creationId xmlns:a16="http://schemas.microsoft.com/office/drawing/2014/main" id="{EFE51769-D6ED-4477-B0AE-740D6E18AF61}"/>
                </a:ext>
              </a:extLst>
            </p:cNvPr>
            <p:cNvSpPr/>
            <p:nvPr/>
          </p:nvSpPr>
          <p:spPr bwMode="auto">
            <a:xfrm>
              <a:off x="3808413" y="2954338"/>
              <a:ext cx="187325" cy="1873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îsḷiḓe">
              <a:extLst>
                <a:ext uri="{FF2B5EF4-FFF2-40B4-BE49-F238E27FC236}">
                  <a16:creationId xmlns:a16="http://schemas.microsoft.com/office/drawing/2014/main" id="{BA88DCA2-2521-47F8-B66B-18E05EC71215}"/>
                </a:ext>
              </a:extLst>
            </p:cNvPr>
            <p:cNvSpPr/>
            <p:nvPr/>
          </p:nvSpPr>
          <p:spPr bwMode="auto">
            <a:xfrm>
              <a:off x="4219576" y="3408363"/>
              <a:ext cx="1346200" cy="1320800"/>
            </a:xfrm>
            <a:custGeom>
              <a:avLst/>
              <a:gdLst>
                <a:gd name="T0" fmla="*/ 840 w 929"/>
                <a:gd name="T1" fmla="*/ 728 h 912"/>
                <a:gd name="T2" fmla="*/ 849 w 929"/>
                <a:gd name="T3" fmla="*/ 695 h 912"/>
                <a:gd name="T4" fmla="*/ 854 w 929"/>
                <a:gd name="T5" fmla="*/ 687 h 912"/>
                <a:gd name="T6" fmla="*/ 928 w 929"/>
                <a:gd name="T7" fmla="*/ 446 h 912"/>
                <a:gd name="T8" fmla="*/ 465 w 929"/>
                <a:gd name="T9" fmla="*/ 0 h 912"/>
                <a:gd name="T10" fmla="*/ 10 w 929"/>
                <a:gd name="T11" fmla="*/ 355 h 912"/>
                <a:gd name="T12" fmla="*/ 0 w 929"/>
                <a:gd name="T13" fmla="*/ 446 h 912"/>
                <a:gd name="T14" fmla="*/ 457 w 929"/>
                <a:gd name="T15" fmla="*/ 897 h 912"/>
                <a:gd name="T16" fmla="*/ 583 w 929"/>
                <a:gd name="T17" fmla="*/ 877 h 912"/>
                <a:gd name="T18" fmla="*/ 650 w 929"/>
                <a:gd name="T19" fmla="*/ 855 h 912"/>
                <a:gd name="T20" fmla="*/ 675 w 929"/>
                <a:gd name="T21" fmla="*/ 850 h 912"/>
                <a:gd name="T22" fmla="*/ 702 w 929"/>
                <a:gd name="T23" fmla="*/ 855 h 912"/>
                <a:gd name="T24" fmla="*/ 853 w 929"/>
                <a:gd name="T25" fmla="*/ 909 h 912"/>
                <a:gd name="T26" fmla="*/ 864 w 929"/>
                <a:gd name="T27" fmla="*/ 912 h 912"/>
                <a:gd name="T28" fmla="*/ 885 w 929"/>
                <a:gd name="T29" fmla="*/ 891 h 912"/>
                <a:gd name="T30" fmla="*/ 885 w 929"/>
                <a:gd name="T31" fmla="*/ 890 h 912"/>
                <a:gd name="T32" fmla="*/ 884 w 929"/>
                <a:gd name="T33" fmla="*/ 883 h 912"/>
                <a:gd name="T34" fmla="*/ 840 w 929"/>
                <a:gd name="T35" fmla="*/ 728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9" h="912">
                  <a:moveTo>
                    <a:pt x="840" y="728"/>
                  </a:moveTo>
                  <a:cubicBezTo>
                    <a:pt x="840" y="716"/>
                    <a:pt x="843" y="705"/>
                    <a:pt x="849" y="695"/>
                  </a:cubicBezTo>
                  <a:cubicBezTo>
                    <a:pt x="850" y="692"/>
                    <a:pt x="852" y="689"/>
                    <a:pt x="854" y="687"/>
                  </a:cubicBezTo>
                  <a:cubicBezTo>
                    <a:pt x="902" y="616"/>
                    <a:pt x="928" y="532"/>
                    <a:pt x="928" y="446"/>
                  </a:cubicBezTo>
                  <a:cubicBezTo>
                    <a:pt x="929" y="200"/>
                    <a:pt x="721" y="0"/>
                    <a:pt x="465" y="0"/>
                  </a:cubicBezTo>
                  <a:cubicBezTo>
                    <a:pt x="241" y="0"/>
                    <a:pt x="54" y="153"/>
                    <a:pt x="10" y="355"/>
                  </a:cubicBezTo>
                  <a:cubicBezTo>
                    <a:pt x="4" y="385"/>
                    <a:pt x="0" y="415"/>
                    <a:pt x="0" y="446"/>
                  </a:cubicBezTo>
                  <a:cubicBezTo>
                    <a:pt x="0" y="692"/>
                    <a:pt x="200" y="897"/>
                    <a:pt x="457" y="897"/>
                  </a:cubicBezTo>
                  <a:cubicBezTo>
                    <a:pt x="497" y="897"/>
                    <a:pt x="552" y="885"/>
                    <a:pt x="583" y="877"/>
                  </a:cubicBezTo>
                  <a:cubicBezTo>
                    <a:pt x="613" y="869"/>
                    <a:pt x="643" y="858"/>
                    <a:pt x="650" y="855"/>
                  </a:cubicBezTo>
                  <a:cubicBezTo>
                    <a:pt x="658" y="852"/>
                    <a:pt x="667" y="850"/>
                    <a:pt x="675" y="850"/>
                  </a:cubicBezTo>
                  <a:cubicBezTo>
                    <a:pt x="684" y="850"/>
                    <a:pt x="694" y="852"/>
                    <a:pt x="702" y="855"/>
                  </a:cubicBezTo>
                  <a:cubicBezTo>
                    <a:pt x="853" y="909"/>
                    <a:pt x="853" y="909"/>
                    <a:pt x="853" y="909"/>
                  </a:cubicBezTo>
                  <a:cubicBezTo>
                    <a:pt x="857" y="910"/>
                    <a:pt x="860" y="911"/>
                    <a:pt x="864" y="912"/>
                  </a:cubicBezTo>
                  <a:cubicBezTo>
                    <a:pt x="875" y="912"/>
                    <a:pt x="885" y="902"/>
                    <a:pt x="885" y="891"/>
                  </a:cubicBezTo>
                  <a:cubicBezTo>
                    <a:pt x="885" y="890"/>
                    <a:pt x="885" y="890"/>
                    <a:pt x="885" y="890"/>
                  </a:cubicBezTo>
                  <a:cubicBezTo>
                    <a:pt x="885" y="888"/>
                    <a:pt x="884" y="886"/>
                    <a:pt x="884" y="883"/>
                  </a:cubicBezTo>
                  <a:cubicBezTo>
                    <a:pt x="840" y="728"/>
                    <a:pt x="840" y="728"/>
                    <a:pt x="840" y="728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iṥlîḍè">
              <a:extLst>
                <a:ext uri="{FF2B5EF4-FFF2-40B4-BE49-F238E27FC236}">
                  <a16:creationId xmlns:a16="http://schemas.microsoft.com/office/drawing/2014/main" id="{60A8B50F-07BB-4B0A-AE67-CB79415A9BB2}"/>
                </a:ext>
              </a:extLst>
            </p:cNvPr>
            <p:cNvSpPr/>
            <p:nvPr/>
          </p:nvSpPr>
          <p:spPr bwMode="auto">
            <a:xfrm>
              <a:off x="3956051" y="3932238"/>
              <a:ext cx="1092200" cy="1084263"/>
            </a:xfrm>
            <a:custGeom>
              <a:avLst/>
              <a:gdLst>
                <a:gd name="T0" fmla="*/ 722 w 754"/>
                <a:gd name="T1" fmla="*/ 558 h 748"/>
                <a:gd name="T2" fmla="*/ 687 w 754"/>
                <a:gd name="T3" fmla="*/ 566 h 748"/>
                <a:gd name="T4" fmla="*/ 596 w 754"/>
                <a:gd name="T5" fmla="*/ 578 h 748"/>
                <a:gd name="T6" fmla="*/ 140 w 754"/>
                <a:gd name="T7" fmla="*/ 127 h 748"/>
                <a:gd name="T8" fmla="*/ 144 w 754"/>
                <a:gd name="T9" fmla="*/ 70 h 748"/>
                <a:gd name="T10" fmla="*/ 150 w 754"/>
                <a:gd name="T11" fmla="*/ 36 h 748"/>
                <a:gd name="T12" fmla="*/ 159 w 754"/>
                <a:gd name="T13" fmla="*/ 0 h 748"/>
                <a:gd name="T14" fmla="*/ 138 w 754"/>
                <a:gd name="T15" fmla="*/ 19 h 748"/>
                <a:gd name="T16" fmla="*/ 0 w 754"/>
                <a:gd name="T17" fmla="*/ 318 h 748"/>
                <a:gd name="T18" fmla="*/ 66 w 754"/>
                <a:gd name="T19" fmla="*/ 536 h 748"/>
                <a:gd name="T20" fmla="*/ 75 w 754"/>
                <a:gd name="T21" fmla="*/ 558 h 748"/>
                <a:gd name="T22" fmla="*/ 43 w 754"/>
                <a:gd name="T23" fmla="*/ 723 h 748"/>
                <a:gd name="T24" fmla="*/ 50 w 754"/>
                <a:gd name="T25" fmla="*/ 744 h 748"/>
                <a:gd name="T26" fmla="*/ 64 w 754"/>
                <a:gd name="T27" fmla="*/ 748 h 748"/>
                <a:gd name="T28" fmla="*/ 72 w 754"/>
                <a:gd name="T29" fmla="*/ 747 h 748"/>
                <a:gd name="T30" fmla="*/ 221 w 754"/>
                <a:gd name="T31" fmla="*/ 688 h 748"/>
                <a:gd name="T32" fmla="*/ 253 w 754"/>
                <a:gd name="T33" fmla="*/ 688 h 748"/>
                <a:gd name="T34" fmla="*/ 415 w 754"/>
                <a:gd name="T35" fmla="*/ 720 h 748"/>
                <a:gd name="T36" fmla="*/ 736 w 754"/>
                <a:gd name="T37" fmla="*/ 573 h 748"/>
                <a:gd name="T38" fmla="*/ 754 w 754"/>
                <a:gd name="T39" fmla="*/ 548 h 748"/>
                <a:gd name="T40" fmla="*/ 722 w 754"/>
                <a:gd name="T41" fmla="*/ 558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54" h="748">
                  <a:moveTo>
                    <a:pt x="722" y="558"/>
                  </a:moveTo>
                  <a:cubicBezTo>
                    <a:pt x="712" y="560"/>
                    <a:pt x="700" y="563"/>
                    <a:pt x="687" y="566"/>
                  </a:cubicBezTo>
                  <a:cubicBezTo>
                    <a:pt x="659" y="572"/>
                    <a:pt x="623" y="578"/>
                    <a:pt x="596" y="578"/>
                  </a:cubicBezTo>
                  <a:cubicBezTo>
                    <a:pt x="339" y="578"/>
                    <a:pt x="140" y="373"/>
                    <a:pt x="140" y="127"/>
                  </a:cubicBezTo>
                  <a:cubicBezTo>
                    <a:pt x="140" y="108"/>
                    <a:pt x="142" y="89"/>
                    <a:pt x="144" y="70"/>
                  </a:cubicBezTo>
                  <a:cubicBezTo>
                    <a:pt x="146" y="58"/>
                    <a:pt x="147" y="47"/>
                    <a:pt x="150" y="36"/>
                  </a:cubicBezTo>
                  <a:cubicBezTo>
                    <a:pt x="153" y="24"/>
                    <a:pt x="156" y="12"/>
                    <a:pt x="159" y="0"/>
                  </a:cubicBezTo>
                  <a:cubicBezTo>
                    <a:pt x="138" y="19"/>
                    <a:pt x="138" y="19"/>
                    <a:pt x="138" y="19"/>
                  </a:cubicBezTo>
                  <a:cubicBezTo>
                    <a:pt x="51" y="94"/>
                    <a:pt x="1" y="203"/>
                    <a:pt x="0" y="318"/>
                  </a:cubicBezTo>
                  <a:cubicBezTo>
                    <a:pt x="0" y="395"/>
                    <a:pt x="23" y="472"/>
                    <a:pt x="66" y="536"/>
                  </a:cubicBezTo>
                  <a:cubicBezTo>
                    <a:pt x="73" y="546"/>
                    <a:pt x="76" y="553"/>
                    <a:pt x="75" y="558"/>
                  </a:cubicBezTo>
                  <a:cubicBezTo>
                    <a:pt x="74" y="563"/>
                    <a:pt x="43" y="723"/>
                    <a:pt x="43" y="723"/>
                  </a:cubicBezTo>
                  <a:cubicBezTo>
                    <a:pt x="42" y="731"/>
                    <a:pt x="44" y="739"/>
                    <a:pt x="50" y="744"/>
                  </a:cubicBezTo>
                  <a:cubicBezTo>
                    <a:pt x="54" y="747"/>
                    <a:pt x="59" y="748"/>
                    <a:pt x="64" y="748"/>
                  </a:cubicBezTo>
                  <a:cubicBezTo>
                    <a:pt x="67" y="748"/>
                    <a:pt x="69" y="748"/>
                    <a:pt x="72" y="747"/>
                  </a:cubicBezTo>
                  <a:cubicBezTo>
                    <a:pt x="221" y="688"/>
                    <a:pt x="221" y="688"/>
                    <a:pt x="221" y="688"/>
                  </a:cubicBezTo>
                  <a:cubicBezTo>
                    <a:pt x="232" y="684"/>
                    <a:pt x="243" y="684"/>
                    <a:pt x="253" y="688"/>
                  </a:cubicBezTo>
                  <a:cubicBezTo>
                    <a:pt x="305" y="709"/>
                    <a:pt x="360" y="720"/>
                    <a:pt x="415" y="720"/>
                  </a:cubicBezTo>
                  <a:cubicBezTo>
                    <a:pt x="539" y="721"/>
                    <a:pt x="656" y="667"/>
                    <a:pt x="736" y="573"/>
                  </a:cubicBezTo>
                  <a:cubicBezTo>
                    <a:pt x="736" y="573"/>
                    <a:pt x="744" y="562"/>
                    <a:pt x="754" y="548"/>
                  </a:cubicBezTo>
                  <a:cubicBezTo>
                    <a:pt x="744" y="551"/>
                    <a:pt x="733" y="555"/>
                    <a:pt x="722" y="558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ṣļïdè">
              <a:extLst>
                <a:ext uri="{FF2B5EF4-FFF2-40B4-BE49-F238E27FC236}">
                  <a16:creationId xmlns:a16="http://schemas.microsoft.com/office/drawing/2014/main" id="{57F42E57-BF77-43BA-81E9-E5FCA4D7AA5E}"/>
                </a:ext>
              </a:extLst>
            </p:cNvPr>
            <p:cNvSpPr/>
            <p:nvPr/>
          </p:nvSpPr>
          <p:spPr bwMode="auto">
            <a:xfrm>
              <a:off x="2928938" y="5307013"/>
              <a:ext cx="446088" cy="236538"/>
            </a:xfrm>
            <a:custGeom>
              <a:avLst/>
              <a:gdLst>
                <a:gd name="T0" fmla="*/ 207 w 308"/>
                <a:gd name="T1" fmla="*/ 39 h 163"/>
                <a:gd name="T2" fmla="*/ 154 w 308"/>
                <a:gd name="T3" fmla="*/ 23 h 163"/>
                <a:gd name="T4" fmla="*/ 21 w 308"/>
                <a:gd name="T5" fmla="*/ 45 h 163"/>
                <a:gd name="T6" fmla="*/ 62 w 308"/>
                <a:gd name="T7" fmla="*/ 157 h 163"/>
                <a:gd name="T8" fmla="*/ 195 w 308"/>
                <a:gd name="T9" fmla="*/ 74 h 163"/>
                <a:gd name="T10" fmla="*/ 290 w 308"/>
                <a:gd name="T11" fmla="*/ 114 h 163"/>
                <a:gd name="T12" fmla="*/ 308 w 308"/>
                <a:gd name="T13" fmla="*/ 52 h 163"/>
                <a:gd name="T14" fmla="*/ 207 w 308"/>
                <a:gd name="T15" fmla="*/ 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8" h="163">
                  <a:moveTo>
                    <a:pt x="207" y="39"/>
                  </a:moveTo>
                  <a:cubicBezTo>
                    <a:pt x="207" y="39"/>
                    <a:pt x="171" y="31"/>
                    <a:pt x="154" y="23"/>
                  </a:cubicBezTo>
                  <a:cubicBezTo>
                    <a:pt x="137" y="15"/>
                    <a:pt x="42" y="0"/>
                    <a:pt x="21" y="45"/>
                  </a:cubicBezTo>
                  <a:cubicBezTo>
                    <a:pt x="0" y="90"/>
                    <a:pt x="49" y="150"/>
                    <a:pt x="62" y="157"/>
                  </a:cubicBezTo>
                  <a:cubicBezTo>
                    <a:pt x="74" y="163"/>
                    <a:pt x="195" y="74"/>
                    <a:pt x="195" y="74"/>
                  </a:cubicBezTo>
                  <a:cubicBezTo>
                    <a:pt x="290" y="114"/>
                    <a:pt x="290" y="114"/>
                    <a:pt x="290" y="114"/>
                  </a:cubicBezTo>
                  <a:cubicBezTo>
                    <a:pt x="308" y="52"/>
                    <a:pt x="308" y="52"/>
                    <a:pt x="308" y="52"/>
                  </a:cubicBezTo>
                  <a:cubicBezTo>
                    <a:pt x="207" y="39"/>
                    <a:pt x="207" y="39"/>
                    <a:pt x="207" y="39"/>
                  </a:cubicBezTo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ṡľiḓé">
              <a:extLst>
                <a:ext uri="{FF2B5EF4-FFF2-40B4-BE49-F238E27FC236}">
                  <a16:creationId xmlns:a16="http://schemas.microsoft.com/office/drawing/2014/main" id="{B8837B6F-B3DC-4AD3-963C-87204303CE4E}"/>
                </a:ext>
              </a:extLst>
            </p:cNvPr>
            <p:cNvSpPr/>
            <p:nvPr/>
          </p:nvSpPr>
          <p:spPr bwMode="auto">
            <a:xfrm>
              <a:off x="3289301" y="5381625"/>
              <a:ext cx="600075" cy="209550"/>
            </a:xfrm>
            <a:custGeom>
              <a:avLst/>
              <a:gdLst>
                <a:gd name="T0" fmla="*/ 66 w 414"/>
                <a:gd name="T1" fmla="*/ 0 h 144"/>
                <a:gd name="T2" fmla="*/ 348 w 414"/>
                <a:gd name="T3" fmla="*/ 0 h 144"/>
                <a:gd name="T4" fmla="*/ 414 w 414"/>
                <a:gd name="T5" fmla="*/ 66 h 144"/>
                <a:gd name="T6" fmla="*/ 414 w 414"/>
                <a:gd name="T7" fmla="*/ 78 h 144"/>
                <a:gd name="T8" fmla="*/ 348 w 414"/>
                <a:gd name="T9" fmla="*/ 144 h 144"/>
                <a:gd name="T10" fmla="*/ 66 w 414"/>
                <a:gd name="T11" fmla="*/ 144 h 144"/>
                <a:gd name="T12" fmla="*/ 0 w 414"/>
                <a:gd name="T13" fmla="*/ 78 h 144"/>
                <a:gd name="T14" fmla="*/ 0 w 414"/>
                <a:gd name="T15" fmla="*/ 66 h 144"/>
                <a:gd name="T16" fmla="*/ 66 w 414"/>
                <a:gd name="T1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4" h="144">
                  <a:moveTo>
                    <a:pt x="66" y="0"/>
                  </a:moveTo>
                  <a:cubicBezTo>
                    <a:pt x="348" y="0"/>
                    <a:pt x="348" y="0"/>
                    <a:pt x="348" y="0"/>
                  </a:cubicBezTo>
                  <a:cubicBezTo>
                    <a:pt x="384" y="0"/>
                    <a:pt x="414" y="30"/>
                    <a:pt x="414" y="66"/>
                  </a:cubicBezTo>
                  <a:cubicBezTo>
                    <a:pt x="414" y="78"/>
                    <a:pt x="414" y="78"/>
                    <a:pt x="414" y="78"/>
                  </a:cubicBezTo>
                  <a:cubicBezTo>
                    <a:pt x="414" y="114"/>
                    <a:pt x="384" y="144"/>
                    <a:pt x="348" y="144"/>
                  </a:cubicBezTo>
                  <a:cubicBezTo>
                    <a:pt x="66" y="144"/>
                    <a:pt x="66" y="144"/>
                    <a:pt x="66" y="144"/>
                  </a:cubicBezTo>
                  <a:cubicBezTo>
                    <a:pt x="29" y="144"/>
                    <a:pt x="0" y="114"/>
                    <a:pt x="0" y="7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29" y="0"/>
                    <a:pt x="66" y="0"/>
                  </a:cubicBezTo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ïṣ1iḍe">
              <a:extLst>
                <a:ext uri="{FF2B5EF4-FFF2-40B4-BE49-F238E27FC236}">
                  <a16:creationId xmlns:a16="http://schemas.microsoft.com/office/drawing/2014/main" id="{35D7D86C-DC1A-4782-A88D-DD2777FF3393}"/>
                </a:ext>
              </a:extLst>
            </p:cNvPr>
            <p:cNvSpPr/>
            <p:nvPr/>
          </p:nvSpPr>
          <p:spPr bwMode="auto">
            <a:xfrm>
              <a:off x="3387726" y="5381625"/>
              <a:ext cx="325438" cy="0"/>
            </a:xfrm>
            <a:custGeom>
              <a:avLst/>
              <a:gdLst>
                <a:gd name="T0" fmla="*/ 225 w 225"/>
                <a:gd name="T1" fmla="*/ 4 w 225"/>
                <a:gd name="T2" fmla="*/ 0 w 225"/>
                <a:gd name="T3" fmla="*/ 225 w 225"/>
                <a:gd name="T4" fmla="*/ 225 w 22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25">
                  <a:moveTo>
                    <a:pt x="2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5" y="0"/>
                    <a:pt x="225" y="0"/>
                    <a:pt x="225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sḷiḓè">
              <a:extLst>
                <a:ext uri="{FF2B5EF4-FFF2-40B4-BE49-F238E27FC236}">
                  <a16:creationId xmlns:a16="http://schemas.microsoft.com/office/drawing/2014/main" id="{9D049752-FAC3-43B6-AF41-4A32AA270E34}"/>
                </a:ext>
              </a:extLst>
            </p:cNvPr>
            <p:cNvSpPr/>
            <p:nvPr/>
          </p:nvSpPr>
          <p:spPr bwMode="auto">
            <a:xfrm>
              <a:off x="3294063" y="5381625"/>
              <a:ext cx="574675" cy="188913"/>
            </a:xfrm>
            <a:custGeom>
              <a:avLst/>
              <a:gdLst>
                <a:gd name="T0" fmla="*/ 396 w 396"/>
                <a:gd name="T1" fmla="*/ 114 h 130"/>
                <a:gd name="T2" fmla="*/ 290 w 396"/>
                <a:gd name="T3" fmla="*/ 125 h 130"/>
                <a:gd name="T4" fmla="*/ 327 w 396"/>
                <a:gd name="T5" fmla="*/ 130 h 130"/>
                <a:gd name="T6" fmla="*/ 388 w 396"/>
                <a:gd name="T7" fmla="*/ 123 h 130"/>
                <a:gd name="T8" fmla="*/ 396 w 396"/>
                <a:gd name="T9" fmla="*/ 114 h 130"/>
                <a:gd name="T10" fmla="*/ 289 w 396"/>
                <a:gd name="T11" fmla="*/ 0 h 130"/>
                <a:gd name="T12" fmla="*/ 64 w 396"/>
                <a:gd name="T13" fmla="*/ 0 h 130"/>
                <a:gd name="T14" fmla="*/ 0 w 396"/>
                <a:gd name="T15" fmla="*/ 46 h 130"/>
                <a:gd name="T16" fmla="*/ 96 w 396"/>
                <a:gd name="T17" fmla="*/ 87 h 130"/>
                <a:gd name="T18" fmla="*/ 96 w 396"/>
                <a:gd name="T19" fmla="*/ 88 h 130"/>
                <a:gd name="T20" fmla="*/ 108 w 396"/>
                <a:gd name="T21" fmla="*/ 86 h 130"/>
                <a:gd name="T22" fmla="*/ 109 w 396"/>
                <a:gd name="T23" fmla="*/ 86 h 130"/>
                <a:gd name="T24" fmla="*/ 111 w 396"/>
                <a:gd name="T25" fmla="*/ 86 h 130"/>
                <a:gd name="T26" fmla="*/ 169 w 396"/>
                <a:gd name="T27" fmla="*/ 79 h 130"/>
                <a:gd name="T28" fmla="*/ 168 w 396"/>
                <a:gd name="T29" fmla="*/ 66 h 130"/>
                <a:gd name="T30" fmla="*/ 203 w 396"/>
                <a:gd name="T31" fmla="*/ 59 h 130"/>
                <a:gd name="T32" fmla="*/ 207 w 396"/>
                <a:gd name="T33" fmla="*/ 60 h 130"/>
                <a:gd name="T34" fmla="*/ 207 w 396"/>
                <a:gd name="T35" fmla="*/ 61 h 130"/>
                <a:gd name="T36" fmla="*/ 209 w 396"/>
                <a:gd name="T37" fmla="*/ 61 h 130"/>
                <a:gd name="T38" fmla="*/ 286 w 396"/>
                <a:gd name="T39" fmla="*/ 31 h 130"/>
                <a:gd name="T40" fmla="*/ 289 w 396"/>
                <a:gd name="T41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6" h="130">
                  <a:moveTo>
                    <a:pt x="396" y="114"/>
                  </a:moveTo>
                  <a:cubicBezTo>
                    <a:pt x="368" y="117"/>
                    <a:pt x="322" y="121"/>
                    <a:pt x="290" y="125"/>
                  </a:cubicBezTo>
                  <a:cubicBezTo>
                    <a:pt x="327" y="130"/>
                    <a:pt x="327" y="130"/>
                    <a:pt x="327" y="130"/>
                  </a:cubicBezTo>
                  <a:cubicBezTo>
                    <a:pt x="327" y="130"/>
                    <a:pt x="357" y="124"/>
                    <a:pt x="388" y="123"/>
                  </a:cubicBezTo>
                  <a:cubicBezTo>
                    <a:pt x="391" y="120"/>
                    <a:pt x="394" y="117"/>
                    <a:pt x="396" y="114"/>
                  </a:cubicBezTo>
                  <a:moveTo>
                    <a:pt x="289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35" y="1"/>
                    <a:pt x="10" y="20"/>
                    <a:pt x="0" y="46"/>
                  </a:cubicBezTo>
                  <a:cubicBezTo>
                    <a:pt x="23" y="54"/>
                    <a:pt x="93" y="80"/>
                    <a:pt x="96" y="87"/>
                  </a:cubicBezTo>
                  <a:cubicBezTo>
                    <a:pt x="96" y="87"/>
                    <a:pt x="96" y="88"/>
                    <a:pt x="96" y="88"/>
                  </a:cubicBezTo>
                  <a:cubicBezTo>
                    <a:pt x="101" y="87"/>
                    <a:pt x="105" y="86"/>
                    <a:pt x="108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10" y="86"/>
                    <a:pt x="110" y="86"/>
                    <a:pt x="111" y="86"/>
                  </a:cubicBezTo>
                  <a:cubicBezTo>
                    <a:pt x="132" y="86"/>
                    <a:pt x="155" y="82"/>
                    <a:pt x="169" y="79"/>
                  </a:cubicBezTo>
                  <a:cubicBezTo>
                    <a:pt x="168" y="72"/>
                    <a:pt x="167" y="66"/>
                    <a:pt x="168" y="66"/>
                  </a:cubicBezTo>
                  <a:cubicBezTo>
                    <a:pt x="171" y="65"/>
                    <a:pt x="194" y="59"/>
                    <a:pt x="203" y="59"/>
                  </a:cubicBezTo>
                  <a:cubicBezTo>
                    <a:pt x="206" y="59"/>
                    <a:pt x="207" y="59"/>
                    <a:pt x="207" y="60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8" y="61"/>
                    <a:pt x="208" y="61"/>
                    <a:pt x="209" y="61"/>
                  </a:cubicBezTo>
                  <a:cubicBezTo>
                    <a:pt x="218" y="59"/>
                    <a:pt x="258" y="43"/>
                    <a:pt x="286" y="31"/>
                  </a:cubicBezTo>
                  <a:cubicBezTo>
                    <a:pt x="289" y="0"/>
                    <a:pt x="289" y="0"/>
                    <a:pt x="289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ṣ1iḓè">
              <a:extLst>
                <a:ext uri="{FF2B5EF4-FFF2-40B4-BE49-F238E27FC236}">
                  <a16:creationId xmlns:a16="http://schemas.microsoft.com/office/drawing/2014/main" id="{D3407A18-AF57-469F-A48A-38F1D1AA963A}"/>
                </a:ext>
              </a:extLst>
            </p:cNvPr>
            <p:cNvSpPr/>
            <p:nvPr/>
          </p:nvSpPr>
          <p:spPr bwMode="auto">
            <a:xfrm>
              <a:off x="3138488" y="5492750"/>
              <a:ext cx="447675" cy="185738"/>
            </a:xfrm>
            <a:custGeom>
              <a:avLst/>
              <a:gdLst>
                <a:gd name="T0" fmla="*/ 291 w 308"/>
                <a:gd name="T1" fmla="*/ 0 h 128"/>
                <a:gd name="T2" fmla="*/ 216 w 308"/>
                <a:gd name="T3" fmla="*/ 10 h 128"/>
                <a:gd name="T4" fmla="*/ 23 w 308"/>
                <a:gd name="T5" fmla="*/ 76 h 128"/>
                <a:gd name="T6" fmla="*/ 38 w 308"/>
                <a:gd name="T7" fmla="*/ 124 h 128"/>
                <a:gd name="T8" fmla="*/ 119 w 308"/>
                <a:gd name="T9" fmla="*/ 101 h 128"/>
                <a:gd name="T10" fmla="*/ 228 w 308"/>
                <a:gd name="T11" fmla="*/ 92 h 128"/>
                <a:gd name="T12" fmla="*/ 308 w 308"/>
                <a:gd name="T13" fmla="*/ 33 h 128"/>
                <a:gd name="T14" fmla="*/ 291 w 308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8" h="128">
                  <a:moveTo>
                    <a:pt x="291" y="0"/>
                  </a:moveTo>
                  <a:cubicBezTo>
                    <a:pt x="291" y="0"/>
                    <a:pt x="250" y="11"/>
                    <a:pt x="216" y="10"/>
                  </a:cubicBezTo>
                  <a:cubicBezTo>
                    <a:pt x="182" y="10"/>
                    <a:pt x="23" y="76"/>
                    <a:pt x="23" y="76"/>
                  </a:cubicBezTo>
                  <a:cubicBezTo>
                    <a:pt x="23" y="76"/>
                    <a:pt x="0" y="128"/>
                    <a:pt x="38" y="124"/>
                  </a:cubicBezTo>
                  <a:cubicBezTo>
                    <a:pt x="75" y="119"/>
                    <a:pt x="93" y="101"/>
                    <a:pt x="119" y="101"/>
                  </a:cubicBezTo>
                  <a:cubicBezTo>
                    <a:pt x="146" y="101"/>
                    <a:pt x="228" y="92"/>
                    <a:pt x="228" y="92"/>
                  </a:cubicBezTo>
                  <a:cubicBezTo>
                    <a:pt x="308" y="33"/>
                    <a:pt x="308" y="33"/>
                    <a:pt x="308" y="33"/>
                  </a:cubicBezTo>
                  <a:cubicBezTo>
                    <a:pt x="291" y="0"/>
                    <a:pt x="291" y="0"/>
                    <a:pt x="291" y="0"/>
                  </a:cubicBezTo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ís1ïďé">
              <a:extLst>
                <a:ext uri="{FF2B5EF4-FFF2-40B4-BE49-F238E27FC236}">
                  <a16:creationId xmlns:a16="http://schemas.microsoft.com/office/drawing/2014/main" id="{89CFE1D8-556D-4587-8F4D-174B9D5F4252}"/>
                </a:ext>
              </a:extLst>
            </p:cNvPr>
            <p:cNvSpPr/>
            <p:nvPr/>
          </p:nvSpPr>
          <p:spPr bwMode="auto">
            <a:xfrm>
              <a:off x="3316288" y="4510088"/>
              <a:ext cx="423863" cy="295275"/>
            </a:xfrm>
            <a:custGeom>
              <a:avLst/>
              <a:gdLst>
                <a:gd name="T0" fmla="*/ 195 w 293"/>
                <a:gd name="T1" fmla="*/ 187 h 203"/>
                <a:gd name="T2" fmla="*/ 121 w 293"/>
                <a:gd name="T3" fmla="*/ 202 h 203"/>
                <a:gd name="T4" fmla="*/ 116 w 293"/>
                <a:gd name="T5" fmla="*/ 203 h 203"/>
                <a:gd name="T6" fmla="*/ 55 w 293"/>
                <a:gd name="T7" fmla="*/ 186 h 203"/>
                <a:gd name="T8" fmla="*/ 0 w 293"/>
                <a:gd name="T9" fmla="*/ 112 h 203"/>
                <a:gd name="T10" fmla="*/ 48 w 293"/>
                <a:gd name="T11" fmla="*/ 100 h 203"/>
                <a:gd name="T12" fmla="*/ 50 w 293"/>
                <a:gd name="T13" fmla="*/ 99 h 203"/>
                <a:gd name="T14" fmla="*/ 70 w 293"/>
                <a:gd name="T15" fmla="*/ 74 h 203"/>
                <a:gd name="T16" fmla="*/ 71 w 293"/>
                <a:gd name="T17" fmla="*/ 71 h 203"/>
                <a:gd name="T18" fmla="*/ 71 w 293"/>
                <a:gd name="T19" fmla="*/ 39 h 203"/>
                <a:gd name="T20" fmla="*/ 102 w 293"/>
                <a:gd name="T21" fmla="*/ 1 h 203"/>
                <a:gd name="T22" fmla="*/ 178 w 293"/>
                <a:gd name="T23" fmla="*/ 22 h 203"/>
                <a:gd name="T24" fmla="*/ 185 w 293"/>
                <a:gd name="T25" fmla="*/ 52 h 203"/>
                <a:gd name="T26" fmla="*/ 186 w 293"/>
                <a:gd name="T27" fmla="*/ 54 h 203"/>
                <a:gd name="T28" fmla="*/ 226 w 293"/>
                <a:gd name="T29" fmla="*/ 96 h 203"/>
                <a:gd name="T30" fmla="*/ 228 w 293"/>
                <a:gd name="T31" fmla="*/ 97 h 203"/>
                <a:gd name="T32" fmla="*/ 236 w 293"/>
                <a:gd name="T33" fmla="*/ 100 h 203"/>
                <a:gd name="T34" fmla="*/ 195 w 293"/>
                <a:gd name="T35" fmla="*/ 187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3" h="203">
                  <a:moveTo>
                    <a:pt x="195" y="187"/>
                  </a:moveTo>
                  <a:cubicBezTo>
                    <a:pt x="121" y="202"/>
                    <a:pt x="121" y="202"/>
                    <a:pt x="121" y="202"/>
                  </a:cubicBezTo>
                  <a:cubicBezTo>
                    <a:pt x="116" y="203"/>
                    <a:pt x="116" y="203"/>
                    <a:pt x="116" y="203"/>
                  </a:cubicBezTo>
                  <a:cubicBezTo>
                    <a:pt x="116" y="203"/>
                    <a:pt x="57" y="187"/>
                    <a:pt x="55" y="186"/>
                  </a:cubicBezTo>
                  <a:cubicBezTo>
                    <a:pt x="53" y="184"/>
                    <a:pt x="0" y="112"/>
                    <a:pt x="0" y="112"/>
                  </a:cubicBezTo>
                  <a:cubicBezTo>
                    <a:pt x="0" y="112"/>
                    <a:pt x="27" y="112"/>
                    <a:pt x="48" y="100"/>
                  </a:cubicBezTo>
                  <a:cubicBezTo>
                    <a:pt x="49" y="100"/>
                    <a:pt x="49" y="99"/>
                    <a:pt x="50" y="99"/>
                  </a:cubicBezTo>
                  <a:cubicBezTo>
                    <a:pt x="59" y="93"/>
                    <a:pt x="67" y="84"/>
                    <a:pt x="70" y="74"/>
                  </a:cubicBezTo>
                  <a:cubicBezTo>
                    <a:pt x="71" y="73"/>
                    <a:pt x="71" y="72"/>
                    <a:pt x="71" y="71"/>
                  </a:cubicBezTo>
                  <a:cubicBezTo>
                    <a:pt x="74" y="60"/>
                    <a:pt x="73" y="49"/>
                    <a:pt x="71" y="39"/>
                  </a:cubicBezTo>
                  <a:cubicBezTo>
                    <a:pt x="63" y="8"/>
                    <a:pt x="80" y="0"/>
                    <a:pt x="102" y="1"/>
                  </a:cubicBezTo>
                  <a:cubicBezTo>
                    <a:pt x="134" y="2"/>
                    <a:pt x="178" y="22"/>
                    <a:pt x="178" y="22"/>
                  </a:cubicBezTo>
                  <a:cubicBezTo>
                    <a:pt x="179" y="32"/>
                    <a:pt x="181" y="42"/>
                    <a:pt x="185" y="52"/>
                  </a:cubicBezTo>
                  <a:cubicBezTo>
                    <a:pt x="186" y="53"/>
                    <a:pt x="186" y="53"/>
                    <a:pt x="186" y="54"/>
                  </a:cubicBezTo>
                  <a:cubicBezTo>
                    <a:pt x="194" y="72"/>
                    <a:pt x="208" y="87"/>
                    <a:pt x="226" y="96"/>
                  </a:cubicBezTo>
                  <a:cubicBezTo>
                    <a:pt x="228" y="97"/>
                    <a:pt x="228" y="97"/>
                    <a:pt x="228" y="97"/>
                  </a:cubicBezTo>
                  <a:cubicBezTo>
                    <a:pt x="231" y="98"/>
                    <a:pt x="233" y="99"/>
                    <a:pt x="236" y="100"/>
                  </a:cubicBezTo>
                  <a:cubicBezTo>
                    <a:pt x="293" y="122"/>
                    <a:pt x="195" y="187"/>
                    <a:pt x="195" y="187"/>
                  </a:cubicBezTo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ṩľíḋê">
              <a:extLst>
                <a:ext uri="{FF2B5EF4-FFF2-40B4-BE49-F238E27FC236}">
                  <a16:creationId xmlns:a16="http://schemas.microsoft.com/office/drawing/2014/main" id="{0FC24525-BEDE-4B83-A44D-260834B2CC2A}"/>
                </a:ext>
              </a:extLst>
            </p:cNvPr>
            <p:cNvSpPr/>
            <p:nvPr/>
          </p:nvSpPr>
          <p:spPr bwMode="auto">
            <a:xfrm>
              <a:off x="3584576" y="4586288"/>
              <a:ext cx="1588" cy="317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1 w 1"/>
                <a:gd name="T5" fmla="*/ 2 h 2"/>
                <a:gd name="T6" fmla="*/ 1 w 1"/>
                <a:gd name="T7" fmla="*/ 2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íṥliḍe">
              <a:extLst>
                <a:ext uri="{FF2B5EF4-FFF2-40B4-BE49-F238E27FC236}">
                  <a16:creationId xmlns:a16="http://schemas.microsoft.com/office/drawing/2014/main" id="{6D5ED82A-0186-4EB3-B6D8-168FDEC050FA}"/>
                </a:ext>
              </a:extLst>
            </p:cNvPr>
            <p:cNvSpPr/>
            <p:nvPr/>
          </p:nvSpPr>
          <p:spPr bwMode="auto">
            <a:xfrm>
              <a:off x="3490913" y="4586288"/>
              <a:ext cx="95250" cy="49213"/>
            </a:xfrm>
            <a:custGeom>
              <a:avLst/>
              <a:gdLst>
                <a:gd name="T0" fmla="*/ 64 w 65"/>
                <a:gd name="T1" fmla="*/ 0 h 34"/>
                <a:gd name="T2" fmla="*/ 1 w 65"/>
                <a:gd name="T3" fmla="*/ 30 h 34"/>
                <a:gd name="T4" fmla="*/ 0 w 65"/>
                <a:gd name="T5" fmla="*/ 30 h 34"/>
                <a:gd name="T6" fmla="*/ 0 w 65"/>
                <a:gd name="T7" fmla="*/ 34 h 34"/>
                <a:gd name="T8" fmla="*/ 65 w 65"/>
                <a:gd name="T9" fmla="*/ 2 h 34"/>
                <a:gd name="T10" fmla="*/ 64 w 65"/>
                <a:gd name="T1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4">
                  <a:moveTo>
                    <a:pt x="64" y="0"/>
                  </a:moveTo>
                  <a:cubicBezTo>
                    <a:pt x="48" y="17"/>
                    <a:pt x="26" y="28"/>
                    <a:pt x="1" y="30"/>
                  </a:cubicBezTo>
                  <a:cubicBezTo>
                    <a:pt x="1" y="30"/>
                    <a:pt x="0" y="30"/>
                    <a:pt x="0" y="30"/>
                  </a:cubicBezTo>
                  <a:cubicBezTo>
                    <a:pt x="0" y="31"/>
                    <a:pt x="0" y="33"/>
                    <a:pt x="0" y="34"/>
                  </a:cubicBezTo>
                  <a:cubicBezTo>
                    <a:pt x="24" y="33"/>
                    <a:pt x="48" y="22"/>
                    <a:pt x="65" y="2"/>
                  </a:cubicBezTo>
                  <a:cubicBezTo>
                    <a:pt x="65" y="1"/>
                    <a:pt x="65" y="1"/>
                    <a:pt x="64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išliḑè">
              <a:extLst>
                <a:ext uri="{FF2B5EF4-FFF2-40B4-BE49-F238E27FC236}">
                  <a16:creationId xmlns:a16="http://schemas.microsoft.com/office/drawing/2014/main" id="{3FA39243-EB60-4EFD-9FDC-B16442B61D03}"/>
                </a:ext>
              </a:extLst>
            </p:cNvPr>
            <p:cNvSpPr/>
            <p:nvPr/>
          </p:nvSpPr>
          <p:spPr bwMode="auto">
            <a:xfrm>
              <a:off x="3348038" y="4357688"/>
              <a:ext cx="273050" cy="271463"/>
            </a:xfrm>
            <a:custGeom>
              <a:avLst/>
              <a:gdLst>
                <a:gd name="T0" fmla="*/ 188 w 188"/>
                <a:gd name="T1" fmla="*/ 94 h 188"/>
                <a:gd name="T2" fmla="*/ 100 w 188"/>
                <a:gd name="T3" fmla="*/ 188 h 188"/>
                <a:gd name="T4" fmla="*/ 94 w 188"/>
                <a:gd name="T5" fmla="*/ 188 h 188"/>
                <a:gd name="T6" fmla="*/ 0 w 188"/>
                <a:gd name="T7" fmla="*/ 94 h 188"/>
                <a:gd name="T8" fmla="*/ 94 w 188"/>
                <a:gd name="T9" fmla="*/ 0 h 188"/>
                <a:gd name="T10" fmla="*/ 188 w 188"/>
                <a:gd name="T11" fmla="*/ 94 h 188"/>
                <a:gd name="T12" fmla="*/ 188 w 188"/>
                <a:gd name="T13" fmla="*/ 9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4"/>
                    <a:pt x="149" y="185"/>
                    <a:pt x="100" y="188"/>
                  </a:cubicBezTo>
                  <a:cubicBezTo>
                    <a:pt x="98" y="188"/>
                    <a:pt x="9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42"/>
                    <a:pt x="42" y="0"/>
                    <a:pt x="94" y="0"/>
                  </a:cubicBezTo>
                  <a:cubicBezTo>
                    <a:pt x="146" y="0"/>
                    <a:pt x="188" y="42"/>
                    <a:pt x="188" y="94"/>
                  </a:cubicBezTo>
                  <a:cubicBezTo>
                    <a:pt x="188" y="94"/>
                    <a:pt x="188" y="94"/>
                    <a:pt x="188" y="94"/>
                  </a:cubicBezTo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şḷiḍè">
              <a:extLst>
                <a:ext uri="{FF2B5EF4-FFF2-40B4-BE49-F238E27FC236}">
                  <a16:creationId xmlns:a16="http://schemas.microsoft.com/office/drawing/2014/main" id="{F8048236-8EDF-4A26-AACB-D5DF8B1B45B5}"/>
                </a:ext>
              </a:extLst>
            </p:cNvPr>
            <p:cNvSpPr/>
            <p:nvPr/>
          </p:nvSpPr>
          <p:spPr bwMode="auto">
            <a:xfrm>
              <a:off x="3481388" y="4649788"/>
              <a:ext cx="165100" cy="50800"/>
            </a:xfrm>
            <a:custGeom>
              <a:avLst/>
              <a:gdLst>
                <a:gd name="T0" fmla="*/ 112 w 114"/>
                <a:gd name="T1" fmla="*/ 0 h 35"/>
                <a:gd name="T2" fmla="*/ 45 w 114"/>
                <a:gd name="T3" fmla="*/ 26 h 35"/>
                <a:gd name="T4" fmla="*/ 13 w 114"/>
                <a:gd name="T5" fmla="*/ 30 h 35"/>
                <a:gd name="T6" fmla="*/ 0 w 114"/>
                <a:gd name="T7" fmla="*/ 31 h 35"/>
                <a:gd name="T8" fmla="*/ 1 w 114"/>
                <a:gd name="T9" fmla="*/ 35 h 35"/>
                <a:gd name="T10" fmla="*/ 13 w 114"/>
                <a:gd name="T11" fmla="*/ 34 h 35"/>
                <a:gd name="T12" fmla="*/ 45 w 114"/>
                <a:gd name="T13" fmla="*/ 30 h 35"/>
                <a:gd name="T14" fmla="*/ 114 w 114"/>
                <a:gd name="T15" fmla="*/ 1 h 35"/>
                <a:gd name="T16" fmla="*/ 112 w 114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35">
                  <a:moveTo>
                    <a:pt x="112" y="0"/>
                  </a:moveTo>
                  <a:cubicBezTo>
                    <a:pt x="96" y="18"/>
                    <a:pt x="65" y="24"/>
                    <a:pt x="45" y="26"/>
                  </a:cubicBezTo>
                  <a:cubicBezTo>
                    <a:pt x="34" y="27"/>
                    <a:pt x="24" y="28"/>
                    <a:pt x="13" y="30"/>
                  </a:cubicBezTo>
                  <a:cubicBezTo>
                    <a:pt x="9" y="30"/>
                    <a:pt x="4" y="31"/>
                    <a:pt x="0" y="31"/>
                  </a:cubicBezTo>
                  <a:cubicBezTo>
                    <a:pt x="0" y="32"/>
                    <a:pt x="1" y="33"/>
                    <a:pt x="1" y="35"/>
                  </a:cubicBezTo>
                  <a:cubicBezTo>
                    <a:pt x="5" y="35"/>
                    <a:pt x="9" y="34"/>
                    <a:pt x="13" y="34"/>
                  </a:cubicBezTo>
                  <a:cubicBezTo>
                    <a:pt x="24" y="32"/>
                    <a:pt x="34" y="31"/>
                    <a:pt x="45" y="30"/>
                  </a:cubicBezTo>
                  <a:cubicBezTo>
                    <a:pt x="66" y="28"/>
                    <a:pt x="99" y="21"/>
                    <a:pt x="114" y="1"/>
                  </a:cubicBezTo>
                  <a:cubicBezTo>
                    <a:pt x="112" y="0"/>
                    <a:pt x="112" y="0"/>
                    <a:pt x="112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iṣļiḑé">
              <a:extLst>
                <a:ext uri="{FF2B5EF4-FFF2-40B4-BE49-F238E27FC236}">
                  <a16:creationId xmlns:a16="http://schemas.microsoft.com/office/drawing/2014/main" id="{C7F304F2-6BE0-4A4B-A845-F507E0DB2B6B}"/>
                </a:ext>
              </a:extLst>
            </p:cNvPr>
            <p:cNvSpPr/>
            <p:nvPr/>
          </p:nvSpPr>
          <p:spPr bwMode="auto">
            <a:xfrm>
              <a:off x="3189288" y="4651375"/>
              <a:ext cx="644525" cy="660400"/>
            </a:xfrm>
            <a:custGeom>
              <a:avLst/>
              <a:gdLst>
                <a:gd name="T0" fmla="*/ 368 w 445"/>
                <a:gd name="T1" fmla="*/ 280 h 456"/>
                <a:gd name="T2" fmla="*/ 379 w 445"/>
                <a:gd name="T3" fmla="*/ 456 h 456"/>
                <a:gd name="T4" fmla="*/ 53 w 445"/>
                <a:gd name="T5" fmla="*/ 456 h 456"/>
                <a:gd name="T6" fmla="*/ 55 w 445"/>
                <a:gd name="T7" fmla="*/ 355 h 456"/>
                <a:gd name="T8" fmla="*/ 57 w 445"/>
                <a:gd name="T9" fmla="*/ 273 h 456"/>
                <a:gd name="T10" fmla="*/ 58 w 445"/>
                <a:gd name="T11" fmla="*/ 246 h 456"/>
                <a:gd name="T12" fmla="*/ 60 w 445"/>
                <a:gd name="T13" fmla="*/ 154 h 456"/>
                <a:gd name="T14" fmla="*/ 51 w 445"/>
                <a:gd name="T15" fmla="*/ 146 h 456"/>
                <a:gd name="T16" fmla="*/ 0 w 445"/>
                <a:gd name="T17" fmla="*/ 100 h 456"/>
                <a:gd name="T18" fmla="*/ 12 w 445"/>
                <a:gd name="T19" fmla="*/ 52 h 456"/>
                <a:gd name="T20" fmla="*/ 46 w 445"/>
                <a:gd name="T21" fmla="*/ 21 h 456"/>
                <a:gd name="T22" fmla="*/ 61 w 445"/>
                <a:gd name="T23" fmla="*/ 17 h 456"/>
                <a:gd name="T24" fmla="*/ 99 w 445"/>
                <a:gd name="T25" fmla="*/ 5 h 456"/>
                <a:gd name="T26" fmla="*/ 136 w 445"/>
                <a:gd name="T27" fmla="*/ 3 h 456"/>
                <a:gd name="T28" fmla="*/ 202 w 445"/>
                <a:gd name="T29" fmla="*/ 34 h 456"/>
                <a:gd name="T30" fmla="*/ 215 w 445"/>
                <a:gd name="T31" fmla="*/ 33 h 456"/>
                <a:gd name="T32" fmla="*/ 247 w 445"/>
                <a:gd name="T33" fmla="*/ 29 h 456"/>
                <a:gd name="T34" fmla="*/ 316 w 445"/>
                <a:gd name="T35" fmla="*/ 0 h 456"/>
                <a:gd name="T36" fmla="*/ 338 w 445"/>
                <a:gd name="T37" fmla="*/ 5 h 456"/>
                <a:gd name="T38" fmla="*/ 370 w 445"/>
                <a:gd name="T39" fmla="*/ 9 h 456"/>
                <a:gd name="T40" fmla="*/ 395 w 445"/>
                <a:gd name="T41" fmla="*/ 18 h 456"/>
                <a:gd name="T42" fmla="*/ 418 w 445"/>
                <a:gd name="T43" fmla="*/ 27 h 456"/>
                <a:gd name="T44" fmla="*/ 437 w 445"/>
                <a:gd name="T45" fmla="*/ 69 h 456"/>
                <a:gd name="T46" fmla="*/ 445 w 445"/>
                <a:gd name="T47" fmla="*/ 128 h 456"/>
                <a:gd name="T48" fmla="*/ 368 w 445"/>
                <a:gd name="T49" fmla="*/ 196 h 456"/>
                <a:gd name="T50" fmla="*/ 368 w 445"/>
                <a:gd name="T51" fmla="*/ 28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45" h="456">
                  <a:moveTo>
                    <a:pt x="368" y="280"/>
                  </a:moveTo>
                  <a:cubicBezTo>
                    <a:pt x="368" y="295"/>
                    <a:pt x="379" y="456"/>
                    <a:pt x="379" y="456"/>
                  </a:cubicBezTo>
                  <a:cubicBezTo>
                    <a:pt x="53" y="456"/>
                    <a:pt x="53" y="456"/>
                    <a:pt x="53" y="456"/>
                  </a:cubicBezTo>
                  <a:cubicBezTo>
                    <a:pt x="55" y="355"/>
                    <a:pt x="55" y="355"/>
                    <a:pt x="55" y="355"/>
                  </a:cubicBezTo>
                  <a:cubicBezTo>
                    <a:pt x="57" y="273"/>
                    <a:pt x="57" y="273"/>
                    <a:pt x="57" y="273"/>
                  </a:cubicBezTo>
                  <a:cubicBezTo>
                    <a:pt x="58" y="246"/>
                    <a:pt x="58" y="246"/>
                    <a:pt x="58" y="246"/>
                  </a:cubicBezTo>
                  <a:cubicBezTo>
                    <a:pt x="60" y="154"/>
                    <a:pt x="60" y="154"/>
                    <a:pt x="60" y="154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9"/>
                    <a:pt x="14" y="58"/>
                    <a:pt x="12" y="52"/>
                  </a:cubicBezTo>
                  <a:cubicBezTo>
                    <a:pt x="10" y="46"/>
                    <a:pt x="37" y="23"/>
                    <a:pt x="46" y="21"/>
                  </a:cubicBezTo>
                  <a:cubicBezTo>
                    <a:pt x="51" y="20"/>
                    <a:pt x="56" y="19"/>
                    <a:pt x="61" y="17"/>
                  </a:cubicBezTo>
                  <a:cubicBezTo>
                    <a:pt x="77" y="11"/>
                    <a:pt x="97" y="3"/>
                    <a:pt x="99" y="5"/>
                  </a:cubicBezTo>
                  <a:cubicBezTo>
                    <a:pt x="103" y="7"/>
                    <a:pt x="135" y="4"/>
                    <a:pt x="136" y="3"/>
                  </a:cubicBezTo>
                  <a:cubicBezTo>
                    <a:pt x="152" y="23"/>
                    <a:pt x="176" y="34"/>
                    <a:pt x="202" y="34"/>
                  </a:cubicBezTo>
                  <a:cubicBezTo>
                    <a:pt x="206" y="34"/>
                    <a:pt x="211" y="33"/>
                    <a:pt x="215" y="33"/>
                  </a:cubicBezTo>
                  <a:cubicBezTo>
                    <a:pt x="226" y="31"/>
                    <a:pt x="236" y="30"/>
                    <a:pt x="247" y="29"/>
                  </a:cubicBezTo>
                  <a:cubicBezTo>
                    <a:pt x="268" y="27"/>
                    <a:pt x="301" y="20"/>
                    <a:pt x="316" y="0"/>
                  </a:cubicBezTo>
                  <a:cubicBezTo>
                    <a:pt x="324" y="1"/>
                    <a:pt x="331" y="2"/>
                    <a:pt x="338" y="5"/>
                  </a:cubicBezTo>
                  <a:cubicBezTo>
                    <a:pt x="349" y="7"/>
                    <a:pt x="359" y="9"/>
                    <a:pt x="370" y="9"/>
                  </a:cubicBezTo>
                  <a:cubicBezTo>
                    <a:pt x="379" y="11"/>
                    <a:pt x="387" y="14"/>
                    <a:pt x="395" y="18"/>
                  </a:cubicBezTo>
                  <a:cubicBezTo>
                    <a:pt x="403" y="22"/>
                    <a:pt x="410" y="25"/>
                    <a:pt x="418" y="27"/>
                  </a:cubicBezTo>
                  <a:cubicBezTo>
                    <a:pt x="418" y="27"/>
                    <a:pt x="433" y="31"/>
                    <a:pt x="437" y="69"/>
                  </a:cubicBezTo>
                  <a:cubicBezTo>
                    <a:pt x="441" y="107"/>
                    <a:pt x="445" y="128"/>
                    <a:pt x="445" y="128"/>
                  </a:cubicBezTo>
                  <a:cubicBezTo>
                    <a:pt x="368" y="196"/>
                    <a:pt x="368" y="196"/>
                    <a:pt x="368" y="196"/>
                  </a:cubicBezTo>
                  <a:cubicBezTo>
                    <a:pt x="368" y="196"/>
                    <a:pt x="367" y="266"/>
                    <a:pt x="368" y="280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îšḷídê">
              <a:extLst>
                <a:ext uri="{FF2B5EF4-FFF2-40B4-BE49-F238E27FC236}">
                  <a16:creationId xmlns:a16="http://schemas.microsoft.com/office/drawing/2014/main" id="{98E81EFF-8D89-47E7-8021-7DA4881D4CC9}"/>
                </a:ext>
              </a:extLst>
            </p:cNvPr>
            <p:cNvSpPr/>
            <p:nvPr/>
          </p:nvSpPr>
          <p:spPr bwMode="auto">
            <a:xfrm>
              <a:off x="3171826" y="5140325"/>
              <a:ext cx="136525" cy="128588"/>
            </a:xfrm>
            <a:custGeom>
              <a:avLst/>
              <a:gdLst>
                <a:gd name="T0" fmla="*/ 11 w 86"/>
                <a:gd name="T1" fmla="*/ 50 h 81"/>
                <a:gd name="T2" fmla="*/ 21 w 86"/>
                <a:gd name="T3" fmla="*/ 68 h 81"/>
                <a:gd name="T4" fmla="*/ 60 w 86"/>
                <a:gd name="T5" fmla="*/ 81 h 81"/>
                <a:gd name="T6" fmla="*/ 86 w 86"/>
                <a:gd name="T7" fmla="*/ 32 h 81"/>
                <a:gd name="T8" fmla="*/ 62 w 86"/>
                <a:gd name="T9" fmla="*/ 16 h 81"/>
                <a:gd name="T10" fmla="*/ 22 w 86"/>
                <a:gd name="T11" fmla="*/ 0 h 81"/>
                <a:gd name="T12" fmla="*/ 0 w 86"/>
                <a:gd name="T13" fmla="*/ 13 h 81"/>
                <a:gd name="T14" fmla="*/ 11 w 86"/>
                <a:gd name="T15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81">
                  <a:moveTo>
                    <a:pt x="11" y="50"/>
                  </a:moveTo>
                  <a:lnTo>
                    <a:pt x="21" y="68"/>
                  </a:lnTo>
                  <a:lnTo>
                    <a:pt x="60" y="81"/>
                  </a:lnTo>
                  <a:lnTo>
                    <a:pt x="86" y="32"/>
                  </a:lnTo>
                  <a:lnTo>
                    <a:pt x="62" y="16"/>
                  </a:lnTo>
                  <a:lnTo>
                    <a:pt x="22" y="0"/>
                  </a:lnTo>
                  <a:lnTo>
                    <a:pt x="0" y="13"/>
                  </a:lnTo>
                  <a:lnTo>
                    <a:pt x="11" y="50"/>
                  </a:ln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ŝḻïḓè">
              <a:extLst>
                <a:ext uri="{FF2B5EF4-FFF2-40B4-BE49-F238E27FC236}">
                  <a16:creationId xmlns:a16="http://schemas.microsoft.com/office/drawing/2014/main" id="{D8CE7434-3F0F-4F23-896D-314A0694321D}"/>
                </a:ext>
              </a:extLst>
            </p:cNvPr>
            <p:cNvSpPr/>
            <p:nvPr/>
          </p:nvSpPr>
          <p:spPr bwMode="auto">
            <a:xfrm>
              <a:off x="3706813" y="5216525"/>
              <a:ext cx="479425" cy="244475"/>
            </a:xfrm>
            <a:custGeom>
              <a:avLst/>
              <a:gdLst>
                <a:gd name="T0" fmla="*/ 6 w 330"/>
                <a:gd name="T1" fmla="*/ 93 h 169"/>
                <a:gd name="T2" fmla="*/ 92 w 330"/>
                <a:gd name="T3" fmla="*/ 61 h 169"/>
                <a:gd name="T4" fmla="*/ 179 w 330"/>
                <a:gd name="T5" fmla="*/ 18 h 169"/>
                <a:gd name="T6" fmla="*/ 270 w 330"/>
                <a:gd name="T7" fmla="*/ 133 h 169"/>
                <a:gd name="T8" fmla="*/ 259 w 330"/>
                <a:gd name="T9" fmla="*/ 153 h 169"/>
                <a:gd name="T10" fmla="*/ 232 w 330"/>
                <a:gd name="T11" fmla="*/ 169 h 169"/>
                <a:gd name="T12" fmla="*/ 0 w 330"/>
                <a:gd name="T13" fmla="*/ 149 h 169"/>
                <a:gd name="T14" fmla="*/ 6 w 330"/>
                <a:gd name="T15" fmla="*/ 9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0" h="169">
                  <a:moveTo>
                    <a:pt x="6" y="93"/>
                  </a:moveTo>
                  <a:cubicBezTo>
                    <a:pt x="6" y="93"/>
                    <a:pt x="67" y="89"/>
                    <a:pt x="92" y="61"/>
                  </a:cubicBezTo>
                  <a:cubicBezTo>
                    <a:pt x="117" y="33"/>
                    <a:pt x="179" y="18"/>
                    <a:pt x="179" y="18"/>
                  </a:cubicBezTo>
                  <a:cubicBezTo>
                    <a:pt x="179" y="18"/>
                    <a:pt x="330" y="0"/>
                    <a:pt x="270" y="133"/>
                  </a:cubicBezTo>
                  <a:cubicBezTo>
                    <a:pt x="270" y="133"/>
                    <a:pt x="266" y="148"/>
                    <a:pt x="259" y="153"/>
                  </a:cubicBezTo>
                  <a:cubicBezTo>
                    <a:pt x="251" y="157"/>
                    <a:pt x="232" y="169"/>
                    <a:pt x="232" y="16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6" y="93"/>
                    <a:pt x="6" y="93"/>
                    <a:pt x="6" y="93"/>
                  </a:cubicBezTo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iṡlïďê">
              <a:extLst>
                <a:ext uri="{FF2B5EF4-FFF2-40B4-BE49-F238E27FC236}">
                  <a16:creationId xmlns:a16="http://schemas.microsoft.com/office/drawing/2014/main" id="{6D6FAD07-3318-464C-A67B-1C54A6CD6F52}"/>
                </a:ext>
              </a:extLst>
            </p:cNvPr>
            <p:cNvSpPr/>
            <p:nvPr/>
          </p:nvSpPr>
          <p:spPr bwMode="auto">
            <a:xfrm>
              <a:off x="3536951" y="5427663"/>
              <a:ext cx="173038" cy="69850"/>
            </a:xfrm>
            <a:custGeom>
              <a:avLst/>
              <a:gdLst>
                <a:gd name="T0" fmla="*/ 36 w 120"/>
                <a:gd name="T1" fmla="*/ 28 h 48"/>
                <a:gd name="T2" fmla="*/ 1 w 120"/>
                <a:gd name="T3" fmla="*/ 35 h 48"/>
                <a:gd name="T4" fmla="*/ 2 w 120"/>
                <a:gd name="T5" fmla="*/ 48 h 48"/>
                <a:gd name="T6" fmla="*/ 6 w 120"/>
                <a:gd name="T7" fmla="*/ 48 h 48"/>
                <a:gd name="T8" fmla="*/ 5 w 120"/>
                <a:gd name="T9" fmla="*/ 37 h 48"/>
                <a:gd name="T10" fmla="*/ 40 w 120"/>
                <a:gd name="T11" fmla="*/ 30 h 48"/>
                <a:gd name="T12" fmla="*/ 40 w 120"/>
                <a:gd name="T13" fmla="*/ 30 h 48"/>
                <a:gd name="T14" fmla="*/ 40 w 120"/>
                <a:gd name="T15" fmla="*/ 29 h 48"/>
                <a:gd name="T16" fmla="*/ 36 w 120"/>
                <a:gd name="T17" fmla="*/ 28 h 48"/>
                <a:gd name="T18" fmla="*/ 119 w 120"/>
                <a:gd name="T19" fmla="*/ 0 h 48"/>
                <a:gd name="T20" fmla="*/ 42 w 120"/>
                <a:gd name="T21" fmla="*/ 30 h 48"/>
                <a:gd name="T22" fmla="*/ 44 w 120"/>
                <a:gd name="T23" fmla="*/ 31 h 48"/>
                <a:gd name="T24" fmla="*/ 45 w 120"/>
                <a:gd name="T25" fmla="*/ 32 h 48"/>
                <a:gd name="T26" fmla="*/ 120 w 120"/>
                <a:gd name="T27" fmla="*/ 3 h 48"/>
                <a:gd name="T28" fmla="*/ 118 w 120"/>
                <a:gd name="T29" fmla="*/ 3 h 48"/>
                <a:gd name="T30" fmla="*/ 119 w 120"/>
                <a:gd name="T3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48">
                  <a:moveTo>
                    <a:pt x="36" y="28"/>
                  </a:moveTo>
                  <a:cubicBezTo>
                    <a:pt x="27" y="28"/>
                    <a:pt x="4" y="34"/>
                    <a:pt x="1" y="35"/>
                  </a:cubicBezTo>
                  <a:cubicBezTo>
                    <a:pt x="0" y="35"/>
                    <a:pt x="1" y="41"/>
                    <a:pt x="2" y="48"/>
                  </a:cubicBezTo>
                  <a:cubicBezTo>
                    <a:pt x="4" y="48"/>
                    <a:pt x="5" y="48"/>
                    <a:pt x="6" y="48"/>
                  </a:cubicBezTo>
                  <a:cubicBezTo>
                    <a:pt x="4" y="42"/>
                    <a:pt x="4" y="37"/>
                    <a:pt x="5" y="37"/>
                  </a:cubicBezTo>
                  <a:cubicBezTo>
                    <a:pt x="8" y="36"/>
                    <a:pt x="3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29"/>
                  </a:cubicBezTo>
                  <a:cubicBezTo>
                    <a:pt x="40" y="28"/>
                    <a:pt x="39" y="28"/>
                    <a:pt x="36" y="28"/>
                  </a:cubicBezTo>
                  <a:moveTo>
                    <a:pt x="119" y="0"/>
                  </a:moveTo>
                  <a:cubicBezTo>
                    <a:pt x="91" y="12"/>
                    <a:pt x="51" y="28"/>
                    <a:pt x="42" y="30"/>
                  </a:cubicBezTo>
                  <a:cubicBezTo>
                    <a:pt x="43" y="30"/>
                    <a:pt x="44" y="30"/>
                    <a:pt x="44" y="31"/>
                  </a:cubicBezTo>
                  <a:cubicBezTo>
                    <a:pt x="44" y="32"/>
                    <a:pt x="44" y="32"/>
                    <a:pt x="45" y="32"/>
                  </a:cubicBezTo>
                  <a:cubicBezTo>
                    <a:pt x="51" y="32"/>
                    <a:pt x="91" y="15"/>
                    <a:pt x="120" y="3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524E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ṡļîḍê">
              <a:extLst>
                <a:ext uri="{FF2B5EF4-FFF2-40B4-BE49-F238E27FC236}">
                  <a16:creationId xmlns:a16="http://schemas.microsoft.com/office/drawing/2014/main" id="{CBDB6AC6-DEFE-4707-8382-64B01D35DA5D}"/>
                </a:ext>
              </a:extLst>
            </p:cNvPr>
            <p:cNvSpPr/>
            <p:nvPr/>
          </p:nvSpPr>
          <p:spPr bwMode="auto">
            <a:xfrm>
              <a:off x="3540126" y="5497513"/>
              <a:ext cx="19050" cy="49213"/>
            </a:xfrm>
            <a:custGeom>
              <a:avLst/>
              <a:gdLst>
                <a:gd name="T0" fmla="*/ 4 w 14"/>
                <a:gd name="T1" fmla="*/ 0 h 35"/>
                <a:gd name="T2" fmla="*/ 0 w 14"/>
                <a:gd name="T3" fmla="*/ 0 h 35"/>
                <a:gd name="T4" fmla="*/ 1 w 14"/>
                <a:gd name="T5" fmla="*/ 1 h 35"/>
                <a:gd name="T6" fmla="*/ 10 w 14"/>
                <a:gd name="T7" fmla="*/ 35 h 35"/>
                <a:gd name="T8" fmla="*/ 14 w 14"/>
                <a:gd name="T9" fmla="*/ 35 h 35"/>
                <a:gd name="T10" fmla="*/ 4 w 14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35">
                  <a:moveTo>
                    <a:pt x="4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3" y="11"/>
                    <a:pt x="7" y="25"/>
                    <a:pt x="10" y="35"/>
                  </a:cubicBezTo>
                  <a:cubicBezTo>
                    <a:pt x="12" y="35"/>
                    <a:pt x="13" y="35"/>
                    <a:pt x="14" y="35"/>
                  </a:cubicBezTo>
                  <a:cubicBezTo>
                    <a:pt x="11" y="25"/>
                    <a:pt x="6" y="10"/>
                    <a:pt x="4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ïS1idé">
              <a:extLst>
                <a:ext uri="{FF2B5EF4-FFF2-40B4-BE49-F238E27FC236}">
                  <a16:creationId xmlns:a16="http://schemas.microsoft.com/office/drawing/2014/main" id="{B772F056-93AB-44C9-B0AB-6B510A9F3E06}"/>
                </a:ext>
              </a:extLst>
            </p:cNvPr>
            <p:cNvSpPr/>
            <p:nvPr/>
          </p:nvSpPr>
          <p:spPr bwMode="auto">
            <a:xfrm>
              <a:off x="3706813" y="5408613"/>
              <a:ext cx="44450" cy="23813"/>
            </a:xfrm>
            <a:custGeom>
              <a:avLst/>
              <a:gdLst>
                <a:gd name="T0" fmla="*/ 30 w 30"/>
                <a:gd name="T1" fmla="*/ 0 h 16"/>
                <a:gd name="T2" fmla="*/ 1 w 30"/>
                <a:gd name="T3" fmla="*/ 13 h 16"/>
                <a:gd name="T4" fmla="*/ 0 w 30"/>
                <a:gd name="T5" fmla="*/ 16 h 16"/>
                <a:gd name="T6" fmla="*/ 2 w 30"/>
                <a:gd name="T7" fmla="*/ 16 h 16"/>
                <a:gd name="T8" fmla="*/ 30 w 30"/>
                <a:gd name="T9" fmla="*/ 4 h 16"/>
                <a:gd name="T10" fmla="*/ 30 w 30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6">
                  <a:moveTo>
                    <a:pt x="30" y="0"/>
                  </a:moveTo>
                  <a:cubicBezTo>
                    <a:pt x="30" y="0"/>
                    <a:pt x="17" y="6"/>
                    <a:pt x="1" y="1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4" y="11"/>
                    <a:pt x="25" y="6"/>
                    <a:pt x="30" y="4"/>
                  </a:cubicBezTo>
                  <a:cubicBezTo>
                    <a:pt x="30" y="0"/>
                    <a:pt x="30" y="0"/>
                    <a:pt x="30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íśḻîḑé">
              <a:extLst>
                <a:ext uri="{FF2B5EF4-FFF2-40B4-BE49-F238E27FC236}">
                  <a16:creationId xmlns:a16="http://schemas.microsoft.com/office/drawing/2014/main" id="{06124FFF-B0C9-428C-965D-1547FE552F71}"/>
                </a:ext>
              </a:extLst>
            </p:cNvPr>
            <p:cNvSpPr/>
            <p:nvPr/>
          </p:nvSpPr>
          <p:spPr bwMode="auto">
            <a:xfrm>
              <a:off x="3538538" y="5411788"/>
              <a:ext cx="512763" cy="168275"/>
            </a:xfrm>
            <a:custGeom>
              <a:avLst/>
              <a:gdLst>
                <a:gd name="T0" fmla="*/ 354 w 354"/>
                <a:gd name="T1" fmla="*/ 17 h 117"/>
                <a:gd name="T2" fmla="*/ 349 w 354"/>
                <a:gd name="T3" fmla="*/ 34 h 117"/>
                <a:gd name="T4" fmla="*/ 312 w 354"/>
                <a:gd name="T5" fmla="*/ 63 h 117"/>
                <a:gd name="T6" fmla="*/ 253 w 354"/>
                <a:gd name="T7" fmla="*/ 92 h 117"/>
                <a:gd name="T8" fmla="*/ 91 w 354"/>
                <a:gd name="T9" fmla="*/ 110 h 117"/>
                <a:gd name="T10" fmla="*/ 18 w 354"/>
                <a:gd name="T11" fmla="*/ 105 h 117"/>
                <a:gd name="T12" fmla="*/ 4 w 354"/>
                <a:gd name="T13" fmla="*/ 48 h 117"/>
                <a:gd name="T14" fmla="*/ 43 w 354"/>
                <a:gd name="T15" fmla="*/ 42 h 117"/>
                <a:gd name="T16" fmla="*/ 151 w 354"/>
                <a:gd name="T17" fmla="*/ 0 h 117"/>
                <a:gd name="T18" fmla="*/ 354 w 354"/>
                <a:gd name="T19" fmla="*/ 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117">
                  <a:moveTo>
                    <a:pt x="354" y="17"/>
                  </a:moveTo>
                  <a:cubicBezTo>
                    <a:pt x="349" y="34"/>
                    <a:pt x="349" y="34"/>
                    <a:pt x="349" y="34"/>
                  </a:cubicBezTo>
                  <a:cubicBezTo>
                    <a:pt x="339" y="46"/>
                    <a:pt x="326" y="55"/>
                    <a:pt x="312" y="63"/>
                  </a:cubicBezTo>
                  <a:cubicBezTo>
                    <a:pt x="291" y="74"/>
                    <a:pt x="253" y="92"/>
                    <a:pt x="253" y="92"/>
                  </a:cubicBezTo>
                  <a:cubicBezTo>
                    <a:pt x="253" y="92"/>
                    <a:pt x="114" y="104"/>
                    <a:pt x="91" y="110"/>
                  </a:cubicBezTo>
                  <a:cubicBezTo>
                    <a:pt x="67" y="117"/>
                    <a:pt x="18" y="105"/>
                    <a:pt x="18" y="105"/>
                  </a:cubicBezTo>
                  <a:cubicBezTo>
                    <a:pt x="18" y="105"/>
                    <a:pt x="0" y="49"/>
                    <a:pt x="4" y="48"/>
                  </a:cubicBezTo>
                  <a:cubicBezTo>
                    <a:pt x="8" y="47"/>
                    <a:pt x="44" y="37"/>
                    <a:pt x="43" y="42"/>
                  </a:cubicBezTo>
                  <a:cubicBezTo>
                    <a:pt x="42" y="48"/>
                    <a:pt x="151" y="0"/>
                    <a:pt x="151" y="0"/>
                  </a:cubicBezTo>
                  <a:cubicBezTo>
                    <a:pt x="354" y="17"/>
                    <a:pt x="354" y="17"/>
                    <a:pt x="354" y="17"/>
                  </a:cubicBezTo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îŝḷíḍê">
              <a:extLst>
                <a:ext uri="{FF2B5EF4-FFF2-40B4-BE49-F238E27FC236}">
                  <a16:creationId xmlns:a16="http://schemas.microsoft.com/office/drawing/2014/main" id="{86180D0A-B9DE-49FD-8C0E-505CE1CD393F}"/>
                </a:ext>
              </a:extLst>
            </p:cNvPr>
            <p:cNvSpPr/>
            <p:nvPr/>
          </p:nvSpPr>
          <p:spPr bwMode="auto">
            <a:xfrm>
              <a:off x="3489326" y="5553075"/>
              <a:ext cx="485775" cy="127000"/>
            </a:xfrm>
            <a:custGeom>
              <a:avLst/>
              <a:gdLst>
                <a:gd name="T0" fmla="*/ 0 w 334"/>
                <a:gd name="T1" fmla="*/ 65 h 88"/>
                <a:gd name="T2" fmla="*/ 84 w 334"/>
                <a:gd name="T3" fmla="*/ 76 h 88"/>
                <a:gd name="T4" fmla="*/ 216 w 334"/>
                <a:gd name="T5" fmla="*/ 74 h 88"/>
                <a:gd name="T6" fmla="*/ 313 w 334"/>
                <a:gd name="T7" fmla="*/ 82 h 88"/>
                <a:gd name="T8" fmla="*/ 287 w 334"/>
                <a:gd name="T9" fmla="*/ 8 h 88"/>
                <a:gd name="T10" fmla="*/ 192 w 334"/>
                <a:gd name="T11" fmla="*/ 12 h 88"/>
                <a:gd name="T12" fmla="*/ 121 w 334"/>
                <a:gd name="T13" fmla="*/ 3 h 88"/>
                <a:gd name="T14" fmla="*/ 63 w 334"/>
                <a:gd name="T15" fmla="*/ 3 h 88"/>
                <a:gd name="T16" fmla="*/ 0 w 334"/>
                <a:gd name="T17" fmla="*/ 6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4" h="88">
                  <a:moveTo>
                    <a:pt x="0" y="65"/>
                  </a:moveTo>
                  <a:cubicBezTo>
                    <a:pt x="0" y="65"/>
                    <a:pt x="68" y="70"/>
                    <a:pt x="84" y="76"/>
                  </a:cubicBezTo>
                  <a:cubicBezTo>
                    <a:pt x="100" y="82"/>
                    <a:pt x="216" y="74"/>
                    <a:pt x="216" y="74"/>
                  </a:cubicBezTo>
                  <a:cubicBezTo>
                    <a:pt x="216" y="74"/>
                    <a:pt x="291" y="75"/>
                    <a:pt x="313" y="82"/>
                  </a:cubicBezTo>
                  <a:cubicBezTo>
                    <a:pt x="334" y="88"/>
                    <a:pt x="327" y="16"/>
                    <a:pt x="287" y="8"/>
                  </a:cubicBezTo>
                  <a:cubicBezTo>
                    <a:pt x="248" y="0"/>
                    <a:pt x="192" y="12"/>
                    <a:pt x="192" y="12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13" y="2"/>
                    <a:pt x="63" y="3"/>
                    <a:pt x="63" y="3"/>
                  </a:cubicBezTo>
                  <a:cubicBezTo>
                    <a:pt x="0" y="65"/>
                    <a:pt x="0" y="65"/>
                    <a:pt x="0" y="65"/>
                  </a:cubicBezTo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íŝlîďe">
              <a:extLst>
                <a:ext uri="{FF2B5EF4-FFF2-40B4-BE49-F238E27FC236}">
                  <a16:creationId xmlns:a16="http://schemas.microsoft.com/office/drawing/2014/main" id="{8F4DA41A-3DDC-44F1-B0F4-6F3C59C08E68}"/>
                </a:ext>
              </a:extLst>
            </p:cNvPr>
            <p:cNvSpPr/>
            <p:nvPr/>
          </p:nvSpPr>
          <p:spPr bwMode="auto">
            <a:xfrm>
              <a:off x="3100388" y="5386388"/>
              <a:ext cx="166688" cy="33338"/>
            </a:xfrm>
            <a:custGeom>
              <a:avLst/>
              <a:gdLst>
                <a:gd name="T0" fmla="*/ 0 w 115"/>
                <a:gd name="T1" fmla="*/ 0 h 23"/>
                <a:gd name="T2" fmla="*/ 115 w 115"/>
                <a:gd name="T3" fmla="*/ 23 h 23"/>
                <a:gd name="T4" fmla="*/ 0 w 115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5" h="23">
                  <a:moveTo>
                    <a:pt x="0" y="0"/>
                  </a:moveTo>
                  <a:cubicBezTo>
                    <a:pt x="115" y="23"/>
                    <a:pt x="115" y="23"/>
                    <a:pt x="115" y="23"/>
                  </a:cubicBezTo>
                  <a:cubicBezTo>
                    <a:pt x="91" y="8"/>
                    <a:pt x="0" y="0"/>
                    <a:pt x="0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ṡḷîḓe">
              <a:extLst>
                <a:ext uri="{FF2B5EF4-FFF2-40B4-BE49-F238E27FC236}">
                  <a16:creationId xmlns:a16="http://schemas.microsoft.com/office/drawing/2014/main" id="{E86D4DD1-73AD-4814-AA77-21BFDEBCE3A3}"/>
                </a:ext>
              </a:extLst>
            </p:cNvPr>
            <p:cNvSpPr/>
            <p:nvPr/>
          </p:nvSpPr>
          <p:spPr bwMode="auto">
            <a:xfrm>
              <a:off x="3773488" y="5300663"/>
              <a:ext cx="142875" cy="63500"/>
            </a:xfrm>
            <a:custGeom>
              <a:avLst/>
              <a:gdLst>
                <a:gd name="T0" fmla="*/ 98 w 98"/>
                <a:gd name="T1" fmla="*/ 0 h 43"/>
                <a:gd name="T2" fmla="*/ 0 w 98"/>
                <a:gd name="T3" fmla="*/ 43 h 43"/>
                <a:gd name="T4" fmla="*/ 98 w 98"/>
                <a:gd name="T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" h="43">
                  <a:moveTo>
                    <a:pt x="98" y="0"/>
                  </a:moveTo>
                  <a:cubicBezTo>
                    <a:pt x="98" y="0"/>
                    <a:pt x="28" y="17"/>
                    <a:pt x="0" y="43"/>
                  </a:cubicBezTo>
                  <a:cubicBezTo>
                    <a:pt x="98" y="0"/>
                    <a:pt x="98" y="0"/>
                    <a:pt x="98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šľîḓe">
              <a:extLst>
                <a:ext uri="{FF2B5EF4-FFF2-40B4-BE49-F238E27FC236}">
                  <a16:creationId xmlns:a16="http://schemas.microsoft.com/office/drawing/2014/main" id="{9E3CD148-E163-436D-9872-3DF4316DCC9A}"/>
                </a:ext>
              </a:extLst>
            </p:cNvPr>
            <p:cNvSpPr/>
            <p:nvPr/>
          </p:nvSpPr>
          <p:spPr bwMode="auto">
            <a:xfrm>
              <a:off x="3106738" y="5357813"/>
              <a:ext cx="61913" cy="14288"/>
            </a:xfrm>
            <a:custGeom>
              <a:avLst/>
              <a:gdLst>
                <a:gd name="T0" fmla="*/ 0 w 42"/>
                <a:gd name="T1" fmla="*/ 0 h 10"/>
                <a:gd name="T2" fmla="*/ 39 w 42"/>
                <a:gd name="T3" fmla="*/ 10 h 10"/>
                <a:gd name="T4" fmla="*/ 41 w 42"/>
                <a:gd name="T5" fmla="*/ 9 h 10"/>
                <a:gd name="T6" fmla="*/ 0 w 4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10">
                  <a:moveTo>
                    <a:pt x="0" y="0"/>
                  </a:moveTo>
                  <a:cubicBezTo>
                    <a:pt x="0" y="0"/>
                    <a:pt x="31" y="10"/>
                    <a:pt x="39" y="10"/>
                  </a:cubicBezTo>
                  <a:cubicBezTo>
                    <a:pt x="40" y="10"/>
                    <a:pt x="41" y="10"/>
                    <a:pt x="41" y="9"/>
                  </a:cubicBezTo>
                  <a:cubicBezTo>
                    <a:pt x="42" y="5"/>
                    <a:pt x="2" y="0"/>
                    <a:pt x="0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ïŝḷíḑè">
              <a:extLst>
                <a:ext uri="{FF2B5EF4-FFF2-40B4-BE49-F238E27FC236}">
                  <a16:creationId xmlns:a16="http://schemas.microsoft.com/office/drawing/2014/main" id="{35E4A4E3-6A91-4B59-BBAC-0D84E6866968}"/>
                </a:ext>
              </a:extLst>
            </p:cNvPr>
            <p:cNvSpPr/>
            <p:nvPr/>
          </p:nvSpPr>
          <p:spPr bwMode="auto">
            <a:xfrm>
              <a:off x="3027363" y="5445125"/>
              <a:ext cx="279400" cy="153988"/>
            </a:xfrm>
            <a:custGeom>
              <a:avLst/>
              <a:gdLst>
                <a:gd name="T0" fmla="*/ 177 w 192"/>
                <a:gd name="T1" fmla="*/ 0 h 107"/>
                <a:gd name="T2" fmla="*/ 118 w 192"/>
                <a:gd name="T3" fmla="*/ 1 h 107"/>
                <a:gd name="T4" fmla="*/ 78 w 192"/>
                <a:gd name="T5" fmla="*/ 14 h 107"/>
                <a:gd name="T6" fmla="*/ 0 w 192"/>
                <a:gd name="T7" fmla="*/ 61 h 107"/>
                <a:gd name="T8" fmla="*/ 12 w 192"/>
                <a:gd name="T9" fmla="*/ 74 h 107"/>
                <a:gd name="T10" fmla="*/ 30 w 192"/>
                <a:gd name="T11" fmla="*/ 79 h 107"/>
                <a:gd name="T12" fmla="*/ 49 w 192"/>
                <a:gd name="T13" fmla="*/ 91 h 107"/>
                <a:gd name="T14" fmla="*/ 105 w 192"/>
                <a:gd name="T15" fmla="*/ 107 h 107"/>
                <a:gd name="T16" fmla="*/ 192 w 192"/>
                <a:gd name="T17" fmla="*/ 73 h 107"/>
                <a:gd name="T18" fmla="*/ 180 w 192"/>
                <a:gd name="T19" fmla="*/ 35 h 107"/>
                <a:gd name="T20" fmla="*/ 180 w 192"/>
                <a:gd name="T21" fmla="*/ 31 h 107"/>
                <a:gd name="T22" fmla="*/ 180 w 192"/>
                <a:gd name="T23" fmla="*/ 29 h 107"/>
                <a:gd name="T24" fmla="*/ 180 w 192"/>
                <a:gd name="T25" fmla="*/ 27 h 107"/>
                <a:gd name="T26" fmla="*/ 180 w 192"/>
                <a:gd name="T27" fmla="*/ 23 h 107"/>
                <a:gd name="T28" fmla="*/ 183 w 192"/>
                <a:gd name="T29" fmla="*/ 3 h 107"/>
                <a:gd name="T30" fmla="*/ 177 w 192"/>
                <a:gd name="T3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2" h="107">
                  <a:moveTo>
                    <a:pt x="177" y="0"/>
                  </a:moveTo>
                  <a:cubicBezTo>
                    <a:pt x="118" y="1"/>
                    <a:pt x="118" y="1"/>
                    <a:pt x="118" y="1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49" y="34"/>
                    <a:pt x="14" y="57"/>
                    <a:pt x="0" y="61"/>
                  </a:cubicBezTo>
                  <a:cubicBezTo>
                    <a:pt x="3" y="64"/>
                    <a:pt x="10" y="70"/>
                    <a:pt x="12" y="74"/>
                  </a:cubicBezTo>
                  <a:cubicBezTo>
                    <a:pt x="15" y="78"/>
                    <a:pt x="30" y="79"/>
                    <a:pt x="30" y="79"/>
                  </a:cubicBezTo>
                  <a:cubicBezTo>
                    <a:pt x="30" y="79"/>
                    <a:pt x="45" y="87"/>
                    <a:pt x="49" y="91"/>
                  </a:cubicBezTo>
                  <a:cubicBezTo>
                    <a:pt x="52" y="94"/>
                    <a:pt x="76" y="101"/>
                    <a:pt x="105" y="107"/>
                  </a:cubicBezTo>
                  <a:cubicBezTo>
                    <a:pt x="117" y="102"/>
                    <a:pt x="154" y="87"/>
                    <a:pt x="192" y="73"/>
                  </a:cubicBezTo>
                  <a:cubicBezTo>
                    <a:pt x="184" y="62"/>
                    <a:pt x="180" y="49"/>
                    <a:pt x="180" y="35"/>
                  </a:cubicBezTo>
                  <a:cubicBezTo>
                    <a:pt x="180" y="31"/>
                    <a:pt x="180" y="31"/>
                    <a:pt x="180" y="31"/>
                  </a:cubicBezTo>
                  <a:cubicBezTo>
                    <a:pt x="180" y="30"/>
                    <a:pt x="180" y="29"/>
                    <a:pt x="180" y="29"/>
                  </a:cubicBezTo>
                  <a:cubicBezTo>
                    <a:pt x="180" y="28"/>
                    <a:pt x="180" y="28"/>
                    <a:pt x="180" y="27"/>
                  </a:cubicBezTo>
                  <a:cubicBezTo>
                    <a:pt x="180" y="23"/>
                    <a:pt x="180" y="23"/>
                    <a:pt x="180" y="23"/>
                  </a:cubicBezTo>
                  <a:cubicBezTo>
                    <a:pt x="180" y="16"/>
                    <a:pt x="181" y="9"/>
                    <a:pt x="183" y="3"/>
                  </a:cubicBezTo>
                  <a:cubicBezTo>
                    <a:pt x="177" y="0"/>
                    <a:pt x="177" y="0"/>
                    <a:pt x="177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íṩḷîḍe">
              <a:extLst>
                <a:ext uri="{FF2B5EF4-FFF2-40B4-BE49-F238E27FC236}">
                  <a16:creationId xmlns:a16="http://schemas.microsoft.com/office/drawing/2014/main" id="{44FB1E85-0AF8-40E2-88AA-148CFCF26B33}"/>
                </a:ext>
              </a:extLst>
            </p:cNvPr>
            <p:cNvSpPr/>
            <p:nvPr/>
          </p:nvSpPr>
          <p:spPr bwMode="auto">
            <a:xfrm>
              <a:off x="3016251" y="5445125"/>
              <a:ext cx="276225" cy="87313"/>
            </a:xfrm>
            <a:custGeom>
              <a:avLst/>
              <a:gdLst>
                <a:gd name="T0" fmla="*/ 86 w 191"/>
                <a:gd name="T1" fmla="*/ 14 h 61"/>
                <a:gd name="T2" fmla="*/ 0 w 191"/>
                <a:gd name="T3" fmla="*/ 40 h 61"/>
                <a:gd name="T4" fmla="*/ 6 w 191"/>
                <a:gd name="T5" fmla="*/ 60 h 61"/>
                <a:gd name="T6" fmla="*/ 8 w 191"/>
                <a:gd name="T7" fmla="*/ 61 h 61"/>
                <a:gd name="T8" fmla="*/ 86 w 191"/>
                <a:gd name="T9" fmla="*/ 14 h 61"/>
                <a:gd name="T10" fmla="*/ 185 w 191"/>
                <a:gd name="T11" fmla="*/ 0 h 61"/>
                <a:gd name="T12" fmla="*/ 185 w 191"/>
                <a:gd name="T13" fmla="*/ 0 h 61"/>
                <a:gd name="T14" fmla="*/ 191 w 191"/>
                <a:gd name="T15" fmla="*/ 3 h 61"/>
                <a:gd name="T16" fmla="*/ 191 w 191"/>
                <a:gd name="T17" fmla="*/ 2 h 61"/>
                <a:gd name="T18" fmla="*/ 185 w 191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61">
                  <a:moveTo>
                    <a:pt x="86" y="14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1"/>
                    <a:pt x="8" y="61"/>
                  </a:cubicBezTo>
                  <a:cubicBezTo>
                    <a:pt x="22" y="57"/>
                    <a:pt x="57" y="34"/>
                    <a:pt x="86" y="14"/>
                  </a:cubicBezTo>
                  <a:moveTo>
                    <a:pt x="185" y="0"/>
                  </a:moveTo>
                  <a:cubicBezTo>
                    <a:pt x="185" y="0"/>
                    <a:pt x="185" y="0"/>
                    <a:pt x="185" y="0"/>
                  </a:cubicBezTo>
                  <a:cubicBezTo>
                    <a:pt x="191" y="3"/>
                    <a:pt x="191" y="3"/>
                    <a:pt x="191" y="3"/>
                  </a:cubicBezTo>
                  <a:cubicBezTo>
                    <a:pt x="191" y="2"/>
                    <a:pt x="191" y="2"/>
                    <a:pt x="191" y="2"/>
                  </a:cubicBezTo>
                  <a:cubicBezTo>
                    <a:pt x="187" y="1"/>
                    <a:pt x="185" y="0"/>
                    <a:pt x="185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S1îḋé">
              <a:extLst>
                <a:ext uri="{FF2B5EF4-FFF2-40B4-BE49-F238E27FC236}">
                  <a16:creationId xmlns:a16="http://schemas.microsoft.com/office/drawing/2014/main" id="{4E05809D-989E-4C85-96FB-F87979DF0667}"/>
                </a:ext>
              </a:extLst>
            </p:cNvPr>
            <p:cNvSpPr/>
            <p:nvPr/>
          </p:nvSpPr>
          <p:spPr bwMode="auto">
            <a:xfrm>
              <a:off x="3289301" y="5448300"/>
              <a:ext cx="19050" cy="101600"/>
            </a:xfrm>
            <a:custGeom>
              <a:avLst/>
              <a:gdLst>
                <a:gd name="T0" fmla="*/ 0 w 14"/>
                <a:gd name="T1" fmla="*/ 29 h 71"/>
                <a:gd name="T2" fmla="*/ 0 w 14"/>
                <a:gd name="T3" fmla="*/ 33 h 71"/>
                <a:gd name="T4" fmla="*/ 12 w 14"/>
                <a:gd name="T5" fmla="*/ 71 h 71"/>
                <a:gd name="T6" fmla="*/ 14 w 14"/>
                <a:gd name="T7" fmla="*/ 70 h 71"/>
                <a:gd name="T8" fmla="*/ 0 w 14"/>
                <a:gd name="T9" fmla="*/ 29 h 71"/>
                <a:gd name="T10" fmla="*/ 3 w 14"/>
                <a:gd name="T11" fmla="*/ 0 h 71"/>
                <a:gd name="T12" fmla="*/ 3 w 14"/>
                <a:gd name="T13" fmla="*/ 1 h 71"/>
                <a:gd name="T14" fmla="*/ 0 w 14"/>
                <a:gd name="T15" fmla="*/ 21 h 71"/>
                <a:gd name="T16" fmla="*/ 0 w 14"/>
                <a:gd name="T17" fmla="*/ 25 h 71"/>
                <a:gd name="T18" fmla="*/ 4 w 14"/>
                <a:gd name="T19" fmla="*/ 1 h 71"/>
                <a:gd name="T20" fmla="*/ 3 w 14"/>
                <a:gd name="T2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71">
                  <a:moveTo>
                    <a:pt x="0" y="29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47"/>
                    <a:pt x="4" y="60"/>
                    <a:pt x="12" y="71"/>
                  </a:cubicBezTo>
                  <a:cubicBezTo>
                    <a:pt x="12" y="71"/>
                    <a:pt x="13" y="70"/>
                    <a:pt x="14" y="70"/>
                  </a:cubicBezTo>
                  <a:cubicBezTo>
                    <a:pt x="5" y="58"/>
                    <a:pt x="0" y="44"/>
                    <a:pt x="0" y="29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1" y="7"/>
                    <a:pt x="0" y="14"/>
                    <a:pt x="0" y="2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7"/>
                    <a:pt x="1" y="8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î$1iḓé">
              <a:extLst>
                <a:ext uri="{FF2B5EF4-FFF2-40B4-BE49-F238E27FC236}">
                  <a16:creationId xmlns:a16="http://schemas.microsoft.com/office/drawing/2014/main" id="{CB50E89B-EF11-4830-9F8B-8B1D66DC80EF}"/>
                </a:ext>
              </a:extLst>
            </p:cNvPr>
            <p:cNvSpPr/>
            <p:nvPr/>
          </p:nvSpPr>
          <p:spPr bwMode="auto">
            <a:xfrm>
              <a:off x="3289301" y="5483225"/>
              <a:ext cx="0" cy="6350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ïṣļïḍé">
              <a:extLst>
                <a:ext uri="{FF2B5EF4-FFF2-40B4-BE49-F238E27FC236}">
                  <a16:creationId xmlns:a16="http://schemas.microsoft.com/office/drawing/2014/main" id="{1A32B20B-3AF6-4BEB-941E-15EC3BC43BD5}"/>
                </a:ext>
              </a:extLst>
            </p:cNvPr>
            <p:cNvSpPr/>
            <p:nvPr/>
          </p:nvSpPr>
          <p:spPr bwMode="auto">
            <a:xfrm>
              <a:off x="3289301" y="5448300"/>
              <a:ext cx="144463" cy="100013"/>
            </a:xfrm>
            <a:custGeom>
              <a:avLst/>
              <a:gdLst>
                <a:gd name="T0" fmla="*/ 4 w 100"/>
                <a:gd name="T1" fmla="*/ 0 h 69"/>
                <a:gd name="T2" fmla="*/ 0 w 100"/>
                <a:gd name="T3" fmla="*/ 24 h 69"/>
                <a:gd name="T4" fmla="*/ 0 w 100"/>
                <a:gd name="T5" fmla="*/ 28 h 69"/>
                <a:gd name="T6" fmla="*/ 14 w 100"/>
                <a:gd name="T7" fmla="*/ 69 h 69"/>
                <a:gd name="T8" fmla="*/ 100 w 100"/>
                <a:gd name="T9" fmla="*/ 42 h 69"/>
                <a:gd name="T10" fmla="*/ 100 w 100"/>
                <a:gd name="T11" fmla="*/ 41 h 69"/>
                <a:gd name="T12" fmla="*/ 4 w 100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69">
                  <a:moveTo>
                    <a:pt x="4" y="0"/>
                  </a:moveTo>
                  <a:cubicBezTo>
                    <a:pt x="1" y="7"/>
                    <a:pt x="0" y="16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43"/>
                    <a:pt x="5" y="57"/>
                    <a:pt x="14" y="69"/>
                  </a:cubicBezTo>
                  <a:cubicBezTo>
                    <a:pt x="47" y="57"/>
                    <a:pt x="80" y="46"/>
                    <a:pt x="100" y="42"/>
                  </a:cubicBezTo>
                  <a:cubicBezTo>
                    <a:pt x="100" y="42"/>
                    <a:pt x="100" y="41"/>
                    <a:pt x="100" y="41"/>
                  </a:cubicBezTo>
                  <a:cubicBezTo>
                    <a:pt x="97" y="34"/>
                    <a:pt x="27" y="8"/>
                    <a:pt x="4" y="0"/>
                  </a:cubicBezTo>
                </a:path>
              </a:pathLst>
            </a:custGeom>
            <a:solidFill>
              <a:srgbClr val="524E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ṧ1îḍé">
              <a:extLst>
                <a:ext uri="{FF2B5EF4-FFF2-40B4-BE49-F238E27FC236}">
                  <a16:creationId xmlns:a16="http://schemas.microsoft.com/office/drawing/2014/main" id="{43F401B6-A6FC-442C-96E9-D2CF103CC5EE}"/>
                </a:ext>
              </a:extLst>
            </p:cNvPr>
            <p:cNvSpPr/>
            <p:nvPr/>
          </p:nvSpPr>
          <p:spPr bwMode="auto">
            <a:xfrm>
              <a:off x="3398838" y="5591175"/>
              <a:ext cx="149225" cy="73025"/>
            </a:xfrm>
            <a:custGeom>
              <a:avLst/>
              <a:gdLst>
                <a:gd name="T0" fmla="*/ 103 w 103"/>
                <a:gd name="T1" fmla="*/ 0 h 51"/>
                <a:gd name="T2" fmla="*/ 82 w 103"/>
                <a:gd name="T3" fmla="*/ 0 h 51"/>
                <a:gd name="T4" fmla="*/ 49 w 103"/>
                <a:gd name="T5" fmla="*/ 24 h 51"/>
                <a:gd name="T6" fmla="*/ 0 w 103"/>
                <a:gd name="T7" fmla="*/ 29 h 51"/>
                <a:gd name="T8" fmla="*/ 9 w 103"/>
                <a:gd name="T9" fmla="*/ 31 h 51"/>
                <a:gd name="T10" fmla="*/ 42 w 103"/>
                <a:gd name="T11" fmla="*/ 38 h 51"/>
                <a:gd name="T12" fmla="*/ 82 w 103"/>
                <a:gd name="T13" fmla="*/ 51 h 51"/>
                <a:gd name="T14" fmla="*/ 87 w 103"/>
                <a:gd name="T15" fmla="*/ 50 h 51"/>
                <a:gd name="T16" fmla="*/ 97 w 103"/>
                <a:gd name="T17" fmla="*/ 42 h 51"/>
                <a:gd name="T18" fmla="*/ 63 w 103"/>
                <a:gd name="T19" fmla="*/ 39 h 51"/>
                <a:gd name="T20" fmla="*/ 103 w 103"/>
                <a:gd name="T2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51">
                  <a:moveTo>
                    <a:pt x="103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26" y="27"/>
                    <a:pt x="0" y="29"/>
                  </a:cubicBezTo>
                  <a:cubicBezTo>
                    <a:pt x="4" y="30"/>
                    <a:pt x="7" y="30"/>
                    <a:pt x="9" y="31"/>
                  </a:cubicBezTo>
                  <a:cubicBezTo>
                    <a:pt x="20" y="35"/>
                    <a:pt x="31" y="37"/>
                    <a:pt x="42" y="38"/>
                  </a:cubicBezTo>
                  <a:cubicBezTo>
                    <a:pt x="42" y="38"/>
                    <a:pt x="66" y="51"/>
                    <a:pt x="82" y="51"/>
                  </a:cubicBezTo>
                  <a:cubicBezTo>
                    <a:pt x="84" y="51"/>
                    <a:pt x="86" y="50"/>
                    <a:pt x="87" y="50"/>
                  </a:cubicBezTo>
                  <a:cubicBezTo>
                    <a:pt x="90" y="49"/>
                    <a:pt x="93" y="46"/>
                    <a:pt x="97" y="42"/>
                  </a:cubicBezTo>
                  <a:cubicBezTo>
                    <a:pt x="78" y="40"/>
                    <a:pt x="63" y="39"/>
                    <a:pt x="63" y="39"/>
                  </a:cubicBezTo>
                  <a:cubicBezTo>
                    <a:pt x="103" y="0"/>
                    <a:pt x="103" y="0"/>
                    <a:pt x="10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i$1îḋé">
              <a:extLst>
                <a:ext uri="{FF2B5EF4-FFF2-40B4-BE49-F238E27FC236}">
                  <a16:creationId xmlns:a16="http://schemas.microsoft.com/office/drawing/2014/main" id="{193CED65-60FA-42C8-9F48-7B7F7FBDF895}"/>
                </a:ext>
              </a:extLst>
            </p:cNvPr>
            <p:cNvSpPr/>
            <p:nvPr/>
          </p:nvSpPr>
          <p:spPr bwMode="auto">
            <a:xfrm>
              <a:off x="3517901" y="5591175"/>
              <a:ext cx="30163" cy="1588"/>
            </a:xfrm>
            <a:prstGeom prst="rect">
              <a:avLst/>
            </a:pr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ṥ1îḑé">
              <a:extLst>
                <a:ext uri="{FF2B5EF4-FFF2-40B4-BE49-F238E27FC236}">
                  <a16:creationId xmlns:a16="http://schemas.microsoft.com/office/drawing/2014/main" id="{0262C16E-CA0A-4289-9E7D-61AD5157E20D}"/>
                </a:ext>
              </a:extLst>
            </p:cNvPr>
            <p:cNvSpPr/>
            <p:nvPr/>
          </p:nvSpPr>
          <p:spPr bwMode="auto">
            <a:xfrm>
              <a:off x="3517901" y="5591175"/>
              <a:ext cx="3016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iṥḷïďè">
              <a:extLst>
                <a:ext uri="{FF2B5EF4-FFF2-40B4-BE49-F238E27FC236}">
                  <a16:creationId xmlns:a16="http://schemas.microsoft.com/office/drawing/2014/main" id="{6EEDB0C5-93A7-4A29-AA0C-80F26384C0B4}"/>
                </a:ext>
              </a:extLst>
            </p:cNvPr>
            <p:cNvSpPr/>
            <p:nvPr/>
          </p:nvSpPr>
          <p:spPr bwMode="auto">
            <a:xfrm>
              <a:off x="3517901" y="5561013"/>
              <a:ext cx="55563" cy="30163"/>
            </a:xfrm>
            <a:custGeom>
              <a:avLst/>
              <a:gdLst>
                <a:gd name="T0" fmla="*/ 29 w 39"/>
                <a:gd name="T1" fmla="*/ 0 h 21"/>
                <a:gd name="T2" fmla="*/ 29 w 39"/>
                <a:gd name="T3" fmla="*/ 0 h 21"/>
                <a:gd name="T4" fmla="*/ 0 w 39"/>
                <a:gd name="T5" fmla="*/ 21 h 21"/>
                <a:gd name="T6" fmla="*/ 21 w 39"/>
                <a:gd name="T7" fmla="*/ 21 h 21"/>
                <a:gd name="T8" fmla="*/ 39 w 39"/>
                <a:gd name="T9" fmla="*/ 3 h 21"/>
                <a:gd name="T10" fmla="*/ 32 w 39"/>
                <a:gd name="T11" fmla="*/ 2 h 21"/>
                <a:gd name="T12" fmla="*/ 32 w 39"/>
                <a:gd name="T13" fmla="*/ 0 h 21"/>
                <a:gd name="T14" fmla="*/ 29 w 39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21"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5" y="2"/>
                    <a:pt x="32" y="2"/>
                    <a:pt x="32" y="2"/>
                  </a:cubicBezTo>
                  <a:cubicBezTo>
                    <a:pt x="32" y="2"/>
                    <a:pt x="32" y="1"/>
                    <a:pt x="32" y="0"/>
                  </a:cubicBezTo>
                  <a:cubicBezTo>
                    <a:pt x="30" y="0"/>
                    <a:pt x="29" y="0"/>
                    <a:pt x="29" y="0"/>
                  </a:cubicBezTo>
                </a:path>
              </a:pathLst>
            </a:custGeom>
            <a:solidFill>
              <a:srgbClr val="524E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išḻiḍe">
              <a:extLst>
                <a:ext uri="{FF2B5EF4-FFF2-40B4-BE49-F238E27FC236}">
                  <a16:creationId xmlns:a16="http://schemas.microsoft.com/office/drawing/2014/main" id="{4C919685-46D7-459B-A196-B639FEB70E49}"/>
                </a:ext>
              </a:extLst>
            </p:cNvPr>
            <p:cNvSpPr/>
            <p:nvPr/>
          </p:nvSpPr>
          <p:spPr bwMode="auto">
            <a:xfrm>
              <a:off x="3179763" y="5510213"/>
              <a:ext cx="379413" cy="122238"/>
            </a:xfrm>
            <a:custGeom>
              <a:avLst/>
              <a:gdLst>
                <a:gd name="T0" fmla="*/ 175 w 262"/>
                <a:gd name="T1" fmla="*/ 0 h 85"/>
                <a:gd name="T2" fmla="*/ 89 w 262"/>
                <a:gd name="T3" fmla="*/ 27 h 85"/>
                <a:gd name="T4" fmla="*/ 87 w 262"/>
                <a:gd name="T5" fmla="*/ 28 h 85"/>
                <a:gd name="T6" fmla="*/ 0 w 262"/>
                <a:gd name="T7" fmla="*/ 62 h 85"/>
                <a:gd name="T8" fmla="*/ 30 w 262"/>
                <a:gd name="T9" fmla="*/ 67 h 85"/>
                <a:gd name="T10" fmla="*/ 151 w 262"/>
                <a:gd name="T11" fmla="*/ 85 h 85"/>
                <a:gd name="T12" fmla="*/ 200 w 262"/>
                <a:gd name="T13" fmla="*/ 80 h 85"/>
                <a:gd name="T14" fmla="*/ 233 w 262"/>
                <a:gd name="T15" fmla="*/ 56 h 85"/>
                <a:gd name="T16" fmla="*/ 233 w 262"/>
                <a:gd name="T17" fmla="*/ 56 h 85"/>
                <a:gd name="T18" fmla="*/ 262 w 262"/>
                <a:gd name="T19" fmla="*/ 35 h 85"/>
                <a:gd name="T20" fmla="*/ 261 w 262"/>
                <a:gd name="T21" fmla="*/ 35 h 85"/>
                <a:gd name="T22" fmla="*/ 258 w 262"/>
                <a:gd name="T23" fmla="*/ 26 h 85"/>
                <a:gd name="T24" fmla="*/ 175 w 262"/>
                <a:gd name="T2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2" h="85">
                  <a:moveTo>
                    <a:pt x="175" y="0"/>
                  </a:moveTo>
                  <a:cubicBezTo>
                    <a:pt x="155" y="4"/>
                    <a:pt x="122" y="15"/>
                    <a:pt x="89" y="27"/>
                  </a:cubicBezTo>
                  <a:cubicBezTo>
                    <a:pt x="88" y="27"/>
                    <a:pt x="87" y="28"/>
                    <a:pt x="87" y="28"/>
                  </a:cubicBezTo>
                  <a:cubicBezTo>
                    <a:pt x="49" y="42"/>
                    <a:pt x="12" y="57"/>
                    <a:pt x="0" y="62"/>
                  </a:cubicBezTo>
                  <a:cubicBezTo>
                    <a:pt x="10" y="64"/>
                    <a:pt x="20" y="66"/>
                    <a:pt x="30" y="67"/>
                  </a:cubicBezTo>
                  <a:cubicBezTo>
                    <a:pt x="65" y="72"/>
                    <a:pt x="126" y="80"/>
                    <a:pt x="151" y="85"/>
                  </a:cubicBezTo>
                  <a:cubicBezTo>
                    <a:pt x="177" y="83"/>
                    <a:pt x="200" y="80"/>
                    <a:pt x="200" y="80"/>
                  </a:cubicBezTo>
                  <a:cubicBezTo>
                    <a:pt x="233" y="56"/>
                    <a:pt x="233" y="56"/>
                    <a:pt x="233" y="56"/>
                  </a:cubicBezTo>
                  <a:cubicBezTo>
                    <a:pt x="233" y="56"/>
                    <a:pt x="233" y="56"/>
                    <a:pt x="233" y="56"/>
                  </a:cubicBezTo>
                  <a:cubicBezTo>
                    <a:pt x="262" y="35"/>
                    <a:pt x="262" y="35"/>
                    <a:pt x="262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35"/>
                    <a:pt x="260" y="31"/>
                    <a:pt x="258" y="26"/>
                  </a:cubicBezTo>
                  <a:cubicBezTo>
                    <a:pt x="229" y="18"/>
                    <a:pt x="181" y="6"/>
                    <a:pt x="175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ṩḻiḑé">
              <a:extLst>
                <a:ext uri="{FF2B5EF4-FFF2-40B4-BE49-F238E27FC236}">
                  <a16:creationId xmlns:a16="http://schemas.microsoft.com/office/drawing/2014/main" id="{3562EC73-AD7E-495E-A00C-5C9AD2801CF5}"/>
                </a:ext>
              </a:extLst>
            </p:cNvPr>
            <p:cNvSpPr/>
            <p:nvPr/>
          </p:nvSpPr>
          <p:spPr bwMode="auto">
            <a:xfrm>
              <a:off x="3559176" y="5557838"/>
              <a:ext cx="4763" cy="3175"/>
            </a:xfrm>
            <a:custGeom>
              <a:avLst/>
              <a:gdLst>
                <a:gd name="T0" fmla="*/ 2 w 3"/>
                <a:gd name="T1" fmla="*/ 0 h 2"/>
                <a:gd name="T2" fmla="*/ 0 w 3"/>
                <a:gd name="T3" fmla="*/ 2 h 2"/>
                <a:gd name="T4" fmla="*/ 0 w 3"/>
                <a:gd name="T5" fmla="*/ 2 h 2"/>
                <a:gd name="T6" fmla="*/ 3 w 3"/>
                <a:gd name="T7" fmla="*/ 2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3" y="2"/>
                  </a:cubicBezTo>
                  <a:cubicBezTo>
                    <a:pt x="3" y="2"/>
                    <a:pt x="2" y="1"/>
                    <a:pt x="2" y="0"/>
                  </a:cubicBezTo>
                </a:path>
              </a:pathLst>
            </a:custGeom>
            <a:solidFill>
              <a:srgbClr val="4A4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śļíḍê">
              <a:extLst>
                <a:ext uri="{FF2B5EF4-FFF2-40B4-BE49-F238E27FC236}">
                  <a16:creationId xmlns:a16="http://schemas.microsoft.com/office/drawing/2014/main" id="{307C1961-B0B1-4D6E-B065-9A89BAD539AB}"/>
                </a:ext>
              </a:extLst>
            </p:cNvPr>
            <p:cNvSpPr/>
            <p:nvPr/>
          </p:nvSpPr>
          <p:spPr bwMode="auto">
            <a:xfrm>
              <a:off x="3554413" y="5546725"/>
              <a:ext cx="7938" cy="14288"/>
            </a:xfrm>
            <a:custGeom>
              <a:avLst/>
              <a:gdLst>
                <a:gd name="T0" fmla="*/ 0 w 6"/>
                <a:gd name="T1" fmla="*/ 0 h 9"/>
                <a:gd name="T2" fmla="*/ 3 w 6"/>
                <a:gd name="T3" fmla="*/ 9 h 9"/>
                <a:gd name="T4" fmla="*/ 4 w 6"/>
                <a:gd name="T5" fmla="*/ 9 h 9"/>
                <a:gd name="T6" fmla="*/ 6 w 6"/>
                <a:gd name="T7" fmla="*/ 7 h 9"/>
                <a:gd name="T8" fmla="*/ 4 w 6"/>
                <a:gd name="T9" fmla="*/ 0 h 9"/>
                <a:gd name="T10" fmla="*/ 0 w 6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">
                  <a:moveTo>
                    <a:pt x="0" y="0"/>
                  </a:moveTo>
                  <a:cubicBezTo>
                    <a:pt x="2" y="5"/>
                    <a:pt x="3" y="9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5"/>
                    <a:pt x="5" y="3"/>
                    <a:pt x="4" y="0"/>
                  </a:cubicBezTo>
                  <a:cubicBezTo>
                    <a:pt x="3" y="0"/>
                    <a:pt x="2" y="0"/>
                    <a:pt x="0" y="0"/>
                  </a:cubicBezTo>
                </a:path>
              </a:pathLst>
            </a:custGeom>
            <a:solidFill>
              <a:srgbClr val="C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îSḻîḓè">
              <a:extLst>
                <a:ext uri="{FF2B5EF4-FFF2-40B4-BE49-F238E27FC236}">
                  <a16:creationId xmlns:a16="http://schemas.microsoft.com/office/drawing/2014/main" id="{35250647-D231-47AA-BC72-AD80DE8AF623}"/>
                </a:ext>
              </a:extLst>
            </p:cNvPr>
            <p:cNvSpPr/>
            <p:nvPr/>
          </p:nvSpPr>
          <p:spPr bwMode="auto">
            <a:xfrm>
              <a:off x="3559176" y="5546725"/>
              <a:ext cx="28575" cy="17463"/>
            </a:xfrm>
            <a:custGeom>
              <a:avLst/>
              <a:gdLst>
                <a:gd name="T0" fmla="*/ 0 w 19"/>
                <a:gd name="T1" fmla="*/ 0 h 12"/>
                <a:gd name="T2" fmla="*/ 2 w 19"/>
                <a:gd name="T3" fmla="*/ 7 h 12"/>
                <a:gd name="T4" fmla="*/ 3 w 19"/>
                <a:gd name="T5" fmla="*/ 9 h 12"/>
                <a:gd name="T6" fmla="*/ 3 w 19"/>
                <a:gd name="T7" fmla="*/ 11 h 12"/>
                <a:gd name="T8" fmla="*/ 10 w 19"/>
                <a:gd name="T9" fmla="*/ 12 h 12"/>
                <a:gd name="T10" fmla="*/ 15 w 19"/>
                <a:gd name="T11" fmla="*/ 7 h 12"/>
                <a:gd name="T12" fmla="*/ 18 w 19"/>
                <a:gd name="T13" fmla="*/ 7 h 12"/>
                <a:gd name="T14" fmla="*/ 19 w 19"/>
                <a:gd name="T15" fmla="*/ 5 h 12"/>
                <a:gd name="T16" fmla="*/ 0 w 1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cubicBezTo>
                    <a:pt x="1" y="3"/>
                    <a:pt x="1" y="5"/>
                    <a:pt x="2" y="7"/>
                  </a:cubicBezTo>
                  <a:cubicBezTo>
                    <a:pt x="2" y="8"/>
                    <a:pt x="3" y="9"/>
                    <a:pt x="3" y="9"/>
                  </a:cubicBezTo>
                  <a:cubicBezTo>
                    <a:pt x="3" y="10"/>
                    <a:pt x="3" y="11"/>
                    <a:pt x="3" y="11"/>
                  </a:cubicBezTo>
                  <a:cubicBezTo>
                    <a:pt x="3" y="11"/>
                    <a:pt x="6" y="11"/>
                    <a:pt x="10" y="12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6" y="7"/>
                    <a:pt x="18" y="7"/>
                  </a:cubicBezTo>
                  <a:cubicBezTo>
                    <a:pt x="19" y="6"/>
                    <a:pt x="19" y="5"/>
                    <a:pt x="19" y="5"/>
                  </a:cubicBezTo>
                  <a:cubicBezTo>
                    <a:pt x="19" y="5"/>
                    <a:pt x="11" y="3"/>
                    <a:pt x="0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îsḻïḓê">
              <a:extLst>
                <a:ext uri="{FF2B5EF4-FFF2-40B4-BE49-F238E27FC236}">
                  <a16:creationId xmlns:a16="http://schemas.microsoft.com/office/drawing/2014/main" id="{B5DCB738-210D-470C-B667-70A561027EF4}"/>
                </a:ext>
              </a:extLst>
            </p:cNvPr>
            <p:cNvSpPr/>
            <p:nvPr/>
          </p:nvSpPr>
          <p:spPr bwMode="auto">
            <a:xfrm>
              <a:off x="3489326" y="5557838"/>
              <a:ext cx="96838" cy="93663"/>
            </a:xfrm>
            <a:custGeom>
              <a:avLst/>
              <a:gdLst>
                <a:gd name="T0" fmla="*/ 66 w 66"/>
                <a:gd name="T1" fmla="*/ 0 h 65"/>
                <a:gd name="T2" fmla="*/ 63 w 66"/>
                <a:gd name="T3" fmla="*/ 0 h 65"/>
                <a:gd name="T4" fmla="*/ 58 w 66"/>
                <a:gd name="T5" fmla="*/ 5 h 65"/>
                <a:gd name="T6" fmla="*/ 40 w 66"/>
                <a:gd name="T7" fmla="*/ 23 h 65"/>
                <a:gd name="T8" fmla="*/ 40 w 66"/>
                <a:gd name="T9" fmla="*/ 23 h 65"/>
                <a:gd name="T10" fmla="*/ 0 w 66"/>
                <a:gd name="T11" fmla="*/ 62 h 65"/>
                <a:gd name="T12" fmla="*/ 34 w 66"/>
                <a:gd name="T13" fmla="*/ 65 h 65"/>
                <a:gd name="T14" fmla="*/ 66 w 66"/>
                <a:gd name="T1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65">
                  <a:moveTo>
                    <a:pt x="66" y="0"/>
                  </a:moveTo>
                  <a:cubicBezTo>
                    <a:pt x="64" y="0"/>
                    <a:pt x="63" y="0"/>
                    <a:pt x="63" y="0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2"/>
                    <a:pt x="15" y="63"/>
                    <a:pt x="34" y="65"/>
                  </a:cubicBezTo>
                  <a:cubicBezTo>
                    <a:pt x="47" y="48"/>
                    <a:pt x="63" y="9"/>
                    <a:pt x="66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ï$ḻîḓé">
              <a:extLst>
                <a:ext uri="{FF2B5EF4-FFF2-40B4-BE49-F238E27FC236}">
                  <a16:creationId xmlns:a16="http://schemas.microsoft.com/office/drawing/2014/main" id="{8E277F3E-A9E6-4B37-9746-A369D55598E8}"/>
                </a:ext>
              </a:extLst>
            </p:cNvPr>
            <p:cNvSpPr/>
            <p:nvPr/>
          </p:nvSpPr>
          <p:spPr bwMode="auto">
            <a:xfrm>
              <a:off x="3011488" y="5399088"/>
              <a:ext cx="569913" cy="273050"/>
            </a:xfrm>
            <a:custGeom>
              <a:avLst/>
              <a:gdLst>
                <a:gd name="T0" fmla="*/ 0 w 393"/>
                <a:gd name="T1" fmla="*/ 73 h 188"/>
                <a:gd name="T2" fmla="*/ 5 w 393"/>
                <a:gd name="T3" fmla="*/ 93 h 188"/>
                <a:gd name="T4" fmla="*/ 19 w 393"/>
                <a:gd name="T5" fmla="*/ 107 h 188"/>
                <a:gd name="T6" fmla="*/ 37 w 393"/>
                <a:gd name="T7" fmla="*/ 112 h 188"/>
                <a:gd name="T8" fmla="*/ 56 w 393"/>
                <a:gd name="T9" fmla="*/ 124 h 188"/>
                <a:gd name="T10" fmla="*/ 142 w 393"/>
                <a:gd name="T11" fmla="*/ 145 h 188"/>
                <a:gd name="T12" fmla="*/ 272 w 393"/>
                <a:gd name="T13" fmla="*/ 165 h 188"/>
                <a:gd name="T14" fmla="*/ 306 w 393"/>
                <a:gd name="T15" fmla="*/ 172 h 188"/>
                <a:gd name="T16" fmla="*/ 351 w 393"/>
                <a:gd name="T17" fmla="*/ 184 h 188"/>
                <a:gd name="T18" fmla="*/ 393 w 393"/>
                <a:gd name="T19" fmla="*/ 109 h 188"/>
                <a:gd name="T20" fmla="*/ 287 w 393"/>
                <a:gd name="T21" fmla="*/ 77 h 188"/>
                <a:gd name="T22" fmla="*/ 138 w 393"/>
                <a:gd name="T23" fmla="*/ 10 h 188"/>
                <a:gd name="T24" fmla="*/ 92 w 393"/>
                <a:gd name="T25" fmla="*/ 0 h 188"/>
                <a:gd name="T26" fmla="*/ 0 w 393"/>
                <a:gd name="T27" fmla="*/ 73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3" h="188">
                  <a:moveTo>
                    <a:pt x="0" y="73"/>
                  </a:moveTo>
                  <a:cubicBezTo>
                    <a:pt x="5" y="93"/>
                    <a:pt x="5" y="93"/>
                    <a:pt x="5" y="93"/>
                  </a:cubicBezTo>
                  <a:cubicBezTo>
                    <a:pt x="10" y="97"/>
                    <a:pt x="15" y="101"/>
                    <a:pt x="19" y="107"/>
                  </a:cubicBezTo>
                  <a:cubicBezTo>
                    <a:pt x="22" y="111"/>
                    <a:pt x="37" y="112"/>
                    <a:pt x="37" y="112"/>
                  </a:cubicBezTo>
                  <a:cubicBezTo>
                    <a:pt x="37" y="112"/>
                    <a:pt x="52" y="120"/>
                    <a:pt x="56" y="124"/>
                  </a:cubicBezTo>
                  <a:cubicBezTo>
                    <a:pt x="60" y="127"/>
                    <a:pt x="103" y="140"/>
                    <a:pt x="142" y="145"/>
                  </a:cubicBezTo>
                  <a:cubicBezTo>
                    <a:pt x="182" y="150"/>
                    <a:pt x="256" y="160"/>
                    <a:pt x="272" y="165"/>
                  </a:cubicBezTo>
                  <a:cubicBezTo>
                    <a:pt x="283" y="169"/>
                    <a:pt x="294" y="171"/>
                    <a:pt x="306" y="172"/>
                  </a:cubicBezTo>
                  <a:cubicBezTo>
                    <a:pt x="306" y="172"/>
                    <a:pt x="335" y="188"/>
                    <a:pt x="351" y="184"/>
                  </a:cubicBezTo>
                  <a:cubicBezTo>
                    <a:pt x="366" y="180"/>
                    <a:pt x="393" y="109"/>
                    <a:pt x="393" y="109"/>
                  </a:cubicBezTo>
                  <a:cubicBezTo>
                    <a:pt x="393" y="109"/>
                    <a:pt x="290" y="85"/>
                    <a:pt x="287" y="77"/>
                  </a:cubicBezTo>
                  <a:cubicBezTo>
                    <a:pt x="283" y="69"/>
                    <a:pt x="138" y="10"/>
                    <a:pt x="138" y="1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ïsḷiḓê">
              <a:extLst>
                <a:ext uri="{FF2B5EF4-FFF2-40B4-BE49-F238E27FC236}">
                  <a16:creationId xmlns:a16="http://schemas.microsoft.com/office/drawing/2014/main" id="{8097A3C9-2366-4306-A660-B8CD17C0A2EC}"/>
                </a:ext>
              </a:extLst>
            </p:cNvPr>
            <p:cNvSpPr/>
            <p:nvPr/>
          </p:nvSpPr>
          <p:spPr bwMode="auto">
            <a:xfrm>
              <a:off x="3108326" y="4787900"/>
              <a:ext cx="180975" cy="460375"/>
            </a:xfrm>
            <a:custGeom>
              <a:avLst/>
              <a:gdLst>
                <a:gd name="T0" fmla="*/ 66 w 125"/>
                <a:gd name="T1" fmla="*/ 0 h 318"/>
                <a:gd name="T2" fmla="*/ 55 w 125"/>
                <a:gd name="T3" fmla="*/ 6 h 318"/>
                <a:gd name="T4" fmla="*/ 33 w 125"/>
                <a:gd name="T5" fmla="*/ 156 h 318"/>
                <a:gd name="T6" fmla="*/ 25 w 125"/>
                <a:gd name="T7" fmla="*/ 175 h 318"/>
                <a:gd name="T8" fmla="*/ 24 w 125"/>
                <a:gd name="T9" fmla="*/ 194 h 318"/>
                <a:gd name="T10" fmla="*/ 9 w 125"/>
                <a:gd name="T11" fmla="*/ 208 h 318"/>
                <a:gd name="T12" fmla="*/ 8 w 125"/>
                <a:gd name="T13" fmla="*/ 229 h 318"/>
                <a:gd name="T14" fmla="*/ 8 w 125"/>
                <a:gd name="T15" fmla="*/ 250 h 318"/>
                <a:gd name="T16" fmla="*/ 9 w 125"/>
                <a:gd name="T17" fmla="*/ 277 h 318"/>
                <a:gd name="T18" fmla="*/ 35 w 125"/>
                <a:gd name="T19" fmla="*/ 290 h 318"/>
                <a:gd name="T20" fmla="*/ 66 w 125"/>
                <a:gd name="T21" fmla="*/ 318 h 318"/>
                <a:gd name="T22" fmla="*/ 111 w 125"/>
                <a:gd name="T23" fmla="*/ 261 h 318"/>
                <a:gd name="T24" fmla="*/ 118 w 125"/>
                <a:gd name="T25" fmla="*/ 224 h 318"/>
                <a:gd name="T26" fmla="*/ 118 w 125"/>
                <a:gd name="T27" fmla="*/ 196 h 318"/>
                <a:gd name="T28" fmla="*/ 120 w 125"/>
                <a:gd name="T29" fmla="*/ 159 h 318"/>
                <a:gd name="T30" fmla="*/ 121 w 125"/>
                <a:gd name="T31" fmla="*/ 24 h 318"/>
                <a:gd name="T32" fmla="*/ 66 w 125"/>
                <a:gd name="T3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318">
                  <a:moveTo>
                    <a:pt x="66" y="0"/>
                  </a:moveTo>
                  <a:cubicBezTo>
                    <a:pt x="55" y="6"/>
                    <a:pt x="55" y="6"/>
                    <a:pt x="55" y="6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21" y="167"/>
                    <a:pt x="25" y="175"/>
                  </a:cubicBezTo>
                  <a:cubicBezTo>
                    <a:pt x="28" y="182"/>
                    <a:pt x="24" y="194"/>
                    <a:pt x="24" y="194"/>
                  </a:cubicBezTo>
                  <a:cubicBezTo>
                    <a:pt x="24" y="194"/>
                    <a:pt x="4" y="203"/>
                    <a:pt x="9" y="208"/>
                  </a:cubicBezTo>
                  <a:cubicBezTo>
                    <a:pt x="13" y="213"/>
                    <a:pt x="11" y="223"/>
                    <a:pt x="8" y="229"/>
                  </a:cubicBezTo>
                  <a:cubicBezTo>
                    <a:pt x="5" y="236"/>
                    <a:pt x="0" y="248"/>
                    <a:pt x="8" y="250"/>
                  </a:cubicBezTo>
                  <a:cubicBezTo>
                    <a:pt x="16" y="252"/>
                    <a:pt x="9" y="277"/>
                    <a:pt x="9" y="277"/>
                  </a:cubicBezTo>
                  <a:cubicBezTo>
                    <a:pt x="9" y="277"/>
                    <a:pt x="37" y="274"/>
                    <a:pt x="35" y="290"/>
                  </a:cubicBezTo>
                  <a:cubicBezTo>
                    <a:pt x="34" y="297"/>
                    <a:pt x="66" y="318"/>
                    <a:pt x="66" y="318"/>
                  </a:cubicBezTo>
                  <a:cubicBezTo>
                    <a:pt x="66" y="318"/>
                    <a:pt x="30" y="252"/>
                    <a:pt x="111" y="261"/>
                  </a:cubicBezTo>
                  <a:cubicBezTo>
                    <a:pt x="118" y="224"/>
                    <a:pt x="118" y="224"/>
                    <a:pt x="118" y="224"/>
                  </a:cubicBezTo>
                  <a:cubicBezTo>
                    <a:pt x="118" y="224"/>
                    <a:pt x="125" y="203"/>
                    <a:pt x="118" y="196"/>
                  </a:cubicBezTo>
                  <a:cubicBezTo>
                    <a:pt x="111" y="190"/>
                    <a:pt x="120" y="159"/>
                    <a:pt x="120" y="159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66" y="0"/>
                    <a:pt x="66" y="0"/>
                    <a:pt x="66" y="0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îSḻîḑè">
              <a:extLst>
                <a:ext uri="{FF2B5EF4-FFF2-40B4-BE49-F238E27FC236}">
                  <a16:creationId xmlns:a16="http://schemas.microsoft.com/office/drawing/2014/main" id="{BC87D780-2DD6-47AE-913C-EB6928D73FE3}"/>
                </a:ext>
              </a:extLst>
            </p:cNvPr>
            <p:cNvSpPr/>
            <p:nvPr/>
          </p:nvSpPr>
          <p:spPr bwMode="auto">
            <a:xfrm>
              <a:off x="3178176" y="5068888"/>
              <a:ext cx="71438" cy="22225"/>
            </a:xfrm>
            <a:custGeom>
              <a:avLst/>
              <a:gdLst>
                <a:gd name="T0" fmla="*/ 2 w 49"/>
                <a:gd name="T1" fmla="*/ 1 h 16"/>
                <a:gd name="T2" fmla="*/ 47 w 49"/>
                <a:gd name="T3" fmla="*/ 16 h 16"/>
                <a:gd name="T4" fmla="*/ 48 w 49"/>
                <a:gd name="T5" fmla="*/ 15 h 16"/>
                <a:gd name="T6" fmla="*/ 2 w 49"/>
                <a:gd name="T7" fmla="*/ 1 h 16"/>
                <a:gd name="T8" fmla="*/ 0 w 49"/>
                <a:gd name="T9" fmla="*/ 0 h 16"/>
                <a:gd name="T10" fmla="*/ 2 w 49"/>
                <a:gd name="T11" fmla="*/ 1 h 16"/>
                <a:gd name="T12" fmla="*/ 0 w 49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6">
                  <a:moveTo>
                    <a:pt x="2" y="1"/>
                  </a:moveTo>
                  <a:cubicBezTo>
                    <a:pt x="10" y="4"/>
                    <a:pt x="39" y="16"/>
                    <a:pt x="47" y="16"/>
                  </a:cubicBezTo>
                  <a:cubicBezTo>
                    <a:pt x="48" y="16"/>
                    <a:pt x="49" y="16"/>
                    <a:pt x="48" y="15"/>
                  </a:cubicBezTo>
                  <a:cubicBezTo>
                    <a:pt x="46" y="8"/>
                    <a:pt x="11" y="3"/>
                    <a:pt x="2" y="1"/>
                  </a:cubicBezTo>
                  <a:moveTo>
                    <a:pt x="0" y="0"/>
                  </a:moveTo>
                  <a:cubicBezTo>
                    <a:pt x="0" y="0"/>
                    <a:pt x="1" y="0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iŝ1îḋê">
              <a:extLst>
                <a:ext uri="{FF2B5EF4-FFF2-40B4-BE49-F238E27FC236}">
                  <a16:creationId xmlns:a16="http://schemas.microsoft.com/office/drawing/2014/main" id="{7B33EFFC-D0D8-443C-A752-4A1F3D8DBD04}"/>
                </a:ext>
              </a:extLst>
            </p:cNvPr>
            <p:cNvSpPr/>
            <p:nvPr/>
          </p:nvSpPr>
          <p:spPr bwMode="auto">
            <a:xfrm>
              <a:off x="3157538" y="5099050"/>
              <a:ext cx="49213" cy="22225"/>
            </a:xfrm>
            <a:custGeom>
              <a:avLst/>
              <a:gdLst>
                <a:gd name="T0" fmla="*/ 17 w 34"/>
                <a:gd name="T1" fmla="*/ 0 h 16"/>
                <a:gd name="T2" fmla="*/ 0 w 34"/>
                <a:gd name="T3" fmla="*/ 16 h 16"/>
                <a:gd name="T4" fmla="*/ 20 w 34"/>
                <a:gd name="T5" fmla="*/ 1 h 16"/>
                <a:gd name="T6" fmla="*/ 17 w 34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16">
                  <a:moveTo>
                    <a:pt x="17" y="0"/>
                  </a:moveTo>
                  <a:cubicBezTo>
                    <a:pt x="5" y="0"/>
                    <a:pt x="0" y="16"/>
                    <a:pt x="0" y="16"/>
                  </a:cubicBezTo>
                  <a:cubicBezTo>
                    <a:pt x="0" y="16"/>
                    <a:pt x="34" y="4"/>
                    <a:pt x="20" y="1"/>
                  </a:cubicBezTo>
                  <a:cubicBezTo>
                    <a:pt x="19" y="0"/>
                    <a:pt x="18" y="0"/>
                    <a:pt x="17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ṩ1îḍè">
              <a:extLst>
                <a:ext uri="{FF2B5EF4-FFF2-40B4-BE49-F238E27FC236}">
                  <a16:creationId xmlns:a16="http://schemas.microsoft.com/office/drawing/2014/main" id="{A2E75110-2DB8-46BE-BE92-A2C880253A22}"/>
                </a:ext>
              </a:extLst>
            </p:cNvPr>
            <p:cNvSpPr/>
            <p:nvPr/>
          </p:nvSpPr>
          <p:spPr bwMode="auto">
            <a:xfrm>
              <a:off x="3148013" y="5127625"/>
              <a:ext cx="57150" cy="33338"/>
            </a:xfrm>
            <a:custGeom>
              <a:avLst/>
              <a:gdLst>
                <a:gd name="T0" fmla="*/ 23 w 39"/>
                <a:gd name="T1" fmla="*/ 0 h 23"/>
                <a:gd name="T2" fmla="*/ 0 w 39"/>
                <a:gd name="T3" fmla="*/ 23 h 23"/>
                <a:gd name="T4" fmla="*/ 25 w 39"/>
                <a:gd name="T5" fmla="*/ 0 h 23"/>
                <a:gd name="T6" fmla="*/ 23 w 39"/>
                <a:gd name="T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3">
                  <a:moveTo>
                    <a:pt x="23" y="0"/>
                  </a:moveTo>
                  <a:cubicBezTo>
                    <a:pt x="9" y="0"/>
                    <a:pt x="0" y="23"/>
                    <a:pt x="0" y="23"/>
                  </a:cubicBezTo>
                  <a:cubicBezTo>
                    <a:pt x="0" y="23"/>
                    <a:pt x="39" y="2"/>
                    <a:pt x="25" y="0"/>
                  </a:cubicBezTo>
                  <a:cubicBezTo>
                    <a:pt x="24" y="0"/>
                    <a:pt x="24" y="0"/>
                    <a:pt x="23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iSḷiḋè">
              <a:extLst>
                <a:ext uri="{FF2B5EF4-FFF2-40B4-BE49-F238E27FC236}">
                  <a16:creationId xmlns:a16="http://schemas.microsoft.com/office/drawing/2014/main" id="{DCE77520-9746-4FDB-B867-FD6A658DF01A}"/>
                </a:ext>
              </a:extLst>
            </p:cNvPr>
            <p:cNvSpPr/>
            <p:nvPr/>
          </p:nvSpPr>
          <p:spPr bwMode="auto">
            <a:xfrm>
              <a:off x="3656013" y="5116513"/>
              <a:ext cx="184150" cy="212725"/>
            </a:xfrm>
            <a:custGeom>
              <a:avLst/>
              <a:gdLst>
                <a:gd name="T0" fmla="*/ 128 w 128"/>
                <a:gd name="T1" fmla="*/ 31 h 147"/>
                <a:gd name="T2" fmla="*/ 123 w 128"/>
                <a:gd name="T3" fmla="*/ 58 h 147"/>
                <a:gd name="T4" fmla="*/ 68 w 128"/>
                <a:gd name="T5" fmla="*/ 145 h 147"/>
                <a:gd name="T6" fmla="*/ 13 w 128"/>
                <a:gd name="T7" fmla="*/ 88 h 147"/>
                <a:gd name="T8" fmla="*/ 0 w 128"/>
                <a:gd name="T9" fmla="*/ 31 h 147"/>
                <a:gd name="T10" fmla="*/ 49 w 128"/>
                <a:gd name="T11" fmla="*/ 21 h 147"/>
                <a:gd name="T12" fmla="*/ 71 w 128"/>
                <a:gd name="T13" fmla="*/ 0 h 147"/>
                <a:gd name="T14" fmla="*/ 128 w 128"/>
                <a:gd name="T15" fmla="*/ 3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47">
                  <a:moveTo>
                    <a:pt x="128" y="31"/>
                  </a:moveTo>
                  <a:cubicBezTo>
                    <a:pt x="123" y="58"/>
                    <a:pt x="123" y="58"/>
                    <a:pt x="123" y="58"/>
                  </a:cubicBezTo>
                  <a:cubicBezTo>
                    <a:pt x="123" y="58"/>
                    <a:pt x="76" y="144"/>
                    <a:pt x="68" y="145"/>
                  </a:cubicBezTo>
                  <a:cubicBezTo>
                    <a:pt x="59" y="147"/>
                    <a:pt x="13" y="88"/>
                    <a:pt x="13" y="88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126" y="5"/>
                    <a:pt x="128" y="31"/>
                  </a:cubicBez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îṥļiḑè">
              <a:extLst>
                <a:ext uri="{FF2B5EF4-FFF2-40B4-BE49-F238E27FC236}">
                  <a16:creationId xmlns:a16="http://schemas.microsoft.com/office/drawing/2014/main" id="{F404BEC7-2483-4FEC-BAC7-8B638C127AD5}"/>
                </a:ext>
              </a:extLst>
            </p:cNvPr>
            <p:cNvSpPr/>
            <p:nvPr/>
          </p:nvSpPr>
          <p:spPr bwMode="auto">
            <a:xfrm>
              <a:off x="3703638" y="4759325"/>
              <a:ext cx="155575" cy="441325"/>
            </a:xfrm>
            <a:custGeom>
              <a:avLst/>
              <a:gdLst>
                <a:gd name="T0" fmla="*/ 73 w 108"/>
                <a:gd name="T1" fmla="*/ 41 h 304"/>
                <a:gd name="T2" fmla="*/ 90 w 108"/>
                <a:gd name="T3" fmla="*/ 53 h 304"/>
                <a:gd name="T4" fmla="*/ 90 w 108"/>
                <a:gd name="T5" fmla="*/ 119 h 304"/>
                <a:gd name="T6" fmla="*/ 101 w 108"/>
                <a:gd name="T7" fmla="*/ 125 h 304"/>
                <a:gd name="T8" fmla="*/ 97 w 108"/>
                <a:gd name="T9" fmla="*/ 143 h 304"/>
                <a:gd name="T10" fmla="*/ 96 w 108"/>
                <a:gd name="T11" fmla="*/ 163 h 304"/>
                <a:gd name="T12" fmla="*/ 90 w 108"/>
                <a:gd name="T13" fmla="*/ 173 h 304"/>
                <a:gd name="T14" fmla="*/ 104 w 108"/>
                <a:gd name="T15" fmla="*/ 186 h 304"/>
                <a:gd name="T16" fmla="*/ 101 w 108"/>
                <a:gd name="T17" fmla="*/ 200 h 304"/>
                <a:gd name="T18" fmla="*/ 99 w 108"/>
                <a:gd name="T19" fmla="*/ 219 h 304"/>
                <a:gd name="T20" fmla="*/ 95 w 108"/>
                <a:gd name="T21" fmla="*/ 243 h 304"/>
                <a:gd name="T22" fmla="*/ 96 w 108"/>
                <a:gd name="T23" fmla="*/ 284 h 304"/>
                <a:gd name="T24" fmla="*/ 90 w 108"/>
                <a:gd name="T25" fmla="*/ 304 h 304"/>
                <a:gd name="T26" fmla="*/ 16 w 108"/>
                <a:gd name="T27" fmla="*/ 267 h 304"/>
                <a:gd name="T28" fmla="*/ 14 w 108"/>
                <a:gd name="T29" fmla="*/ 234 h 304"/>
                <a:gd name="T30" fmla="*/ 17 w 108"/>
                <a:gd name="T31" fmla="*/ 217 h 304"/>
                <a:gd name="T32" fmla="*/ 7 w 108"/>
                <a:gd name="T33" fmla="*/ 196 h 304"/>
                <a:gd name="T34" fmla="*/ 8 w 108"/>
                <a:gd name="T35" fmla="*/ 182 h 304"/>
                <a:gd name="T36" fmla="*/ 6 w 108"/>
                <a:gd name="T37" fmla="*/ 172 h 304"/>
                <a:gd name="T38" fmla="*/ 12 w 108"/>
                <a:gd name="T39" fmla="*/ 159 h 304"/>
                <a:gd name="T40" fmla="*/ 7 w 108"/>
                <a:gd name="T41" fmla="*/ 144 h 304"/>
                <a:gd name="T42" fmla="*/ 12 w 108"/>
                <a:gd name="T43" fmla="*/ 83 h 304"/>
                <a:gd name="T44" fmla="*/ 73 w 108"/>
                <a:gd name="T45" fmla="*/ 4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304">
                  <a:moveTo>
                    <a:pt x="73" y="41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119"/>
                    <a:pt x="90" y="119"/>
                    <a:pt x="90" y="119"/>
                  </a:cubicBezTo>
                  <a:cubicBezTo>
                    <a:pt x="90" y="119"/>
                    <a:pt x="104" y="118"/>
                    <a:pt x="101" y="125"/>
                  </a:cubicBezTo>
                  <a:cubicBezTo>
                    <a:pt x="97" y="132"/>
                    <a:pt x="91" y="136"/>
                    <a:pt x="97" y="143"/>
                  </a:cubicBezTo>
                  <a:cubicBezTo>
                    <a:pt x="102" y="149"/>
                    <a:pt x="101" y="162"/>
                    <a:pt x="96" y="163"/>
                  </a:cubicBezTo>
                  <a:cubicBezTo>
                    <a:pt x="91" y="164"/>
                    <a:pt x="82" y="170"/>
                    <a:pt x="90" y="173"/>
                  </a:cubicBezTo>
                  <a:cubicBezTo>
                    <a:pt x="99" y="176"/>
                    <a:pt x="104" y="182"/>
                    <a:pt x="104" y="186"/>
                  </a:cubicBezTo>
                  <a:cubicBezTo>
                    <a:pt x="104" y="191"/>
                    <a:pt x="103" y="196"/>
                    <a:pt x="101" y="200"/>
                  </a:cubicBezTo>
                  <a:cubicBezTo>
                    <a:pt x="98" y="205"/>
                    <a:pt x="95" y="215"/>
                    <a:pt x="99" y="219"/>
                  </a:cubicBezTo>
                  <a:cubicBezTo>
                    <a:pt x="102" y="223"/>
                    <a:pt x="95" y="243"/>
                    <a:pt x="95" y="243"/>
                  </a:cubicBezTo>
                  <a:cubicBezTo>
                    <a:pt x="95" y="243"/>
                    <a:pt x="108" y="275"/>
                    <a:pt x="96" y="284"/>
                  </a:cubicBezTo>
                  <a:cubicBezTo>
                    <a:pt x="96" y="284"/>
                    <a:pt x="91" y="302"/>
                    <a:pt x="90" y="304"/>
                  </a:cubicBezTo>
                  <a:cubicBezTo>
                    <a:pt x="90" y="304"/>
                    <a:pt x="98" y="240"/>
                    <a:pt x="16" y="267"/>
                  </a:cubicBezTo>
                  <a:cubicBezTo>
                    <a:pt x="14" y="234"/>
                    <a:pt x="14" y="234"/>
                    <a:pt x="14" y="234"/>
                  </a:cubicBezTo>
                  <a:cubicBezTo>
                    <a:pt x="14" y="225"/>
                    <a:pt x="21" y="222"/>
                    <a:pt x="17" y="217"/>
                  </a:cubicBezTo>
                  <a:cubicBezTo>
                    <a:pt x="13" y="212"/>
                    <a:pt x="2" y="199"/>
                    <a:pt x="7" y="196"/>
                  </a:cubicBezTo>
                  <a:cubicBezTo>
                    <a:pt x="12" y="193"/>
                    <a:pt x="10" y="187"/>
                    <a:pt x="8" y="182"/>
                  </a:cubicBezTo>
                  <a:cubicBezTo>
                    <a:pt x="7" y="178"/>
                    <a:pt x="0" y="178"/>
                    <a:pt x="6" y="172"/>
                  </a:cubicBezTo>
                  <a:cubicBezTo>
                    <a:pt x="12" y="167"/>
                    <a:pt x="16" y="162"/>
                    <a:pt x="12" y="159"/>
                  </a:cubicBezTo>
                  <a:cubicBezTo>
                    <a:pt x="8" y="156"/>
                    <a:pt x="2" y="148"/>
                    <a:pt x="7" y="144"/>
                  </a:cubicBezTo>
                  <a:cubicBezTo>
                    <a:pt x="12" y="140"/>
                    <a:pt x="12" y="83"/>
                    <a:pt x="12" y="83"/>
                  </a:cubicBezTo>
                  <a:cubicBezTo>
                    <a:pt x="12" y="83"/>
                    <a:pt x="33" y="0"/>
                    <a:pt x="73" y="41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iṩlidê">
              <a:extLst>
                <a:ext uri="{FF2B5EF4-FFF2-40B4-BE49-F238E27FC236}">
                  <a16:creationId xmlns:a16="http://schemas.microsoft.com/office/drawing/2014/main" id="{A936F7EA-E3CA-4B08-8E5B-2B0E25B14213}"/>
                </a:ext>
              </a:extLst>
            </p:cNvPr>
            <p:cNvSpPr/>
            <p:nvPr/>
          </p:nvSpPr>
          <p:spPr bwMode="auto">
            <a:xfrm>
              <a:off x="3795713" y="4976813"/>
              <a:ext cx="38100" cy="9525"/>
            </a:xfrm>
            <a:custGeom>
              <a:avLst/>
              <a:gdLst>
                <a:gd name="T0" fmla="*/ 19 w 26"/>
                <a:gd name="T1" fmla="*/ 0 h 6"/>
                <a:gd name="T2" fmla="*/ 0 w 26"/>
                <a:gd name="T3" fmla="*/ 3 h 6"/>
                <a:gd name="T4" fmla="*/ 20 w 26"/>
                <a:gd name="T5" fmla="*/ 6 h 6"/>
                <a:gd name="T6" fmla="*/ 26 w 26"/>
                <a:gd name="T7" fmla="*/ 3 h 6"/>
                <a:gd name="T8" fmla="*/ 19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19" y="0"/>
                  </a:moveTo>
                  <a:cubicBezTo>
                    <a:pt x="11" y="0"/>
                    <a:pt x="0" y="3"/>
                    <a:pt x="0" y="3"/>
                  </a:cubicBezTo>
                  <a:cubicBezTo>
                    <a:pt x="0" y="3"/>
                    <a:pt x="12" y="6"/>
                    <a:pt x="20" y="6"/>
                  </a:cubicBezTo>
                  <a:cubicBezTo>
                    <a:pt x="24" y="6"/>
                    <a:pt x="26" y="6"/>
                    <a:pt x="26" y="3"/>
                  </a:cubicBezTo>
                  <a:cubicBezTo>
                    <a:pt x="26" y="1"/>
                    <a:pt x="23" y="0"/>
                    <a:pt x="19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sļîḓe">
              <a:extLst>
                <a:ext uri="{FF2B5EF4-FFF2-40B4-BE49-F238E27FC236}">
                  <a16:creationId xmlns:a16="http://schemas.microsoft.com/office/drawing/2014/main" id="{F46A1444-4EE2-43DC-A648-464BB9B59CB2}"/>
                </a:ext>
              </a:extLst>
            </p:cNvPr>
            <p:cNvSpPr/>
            <p:nvPr/>
          </p:nvSpPr>
          <p:spPr bwMode="auto">
            <a:xfrm>
              <a:off x="3756026" y="5003800"/>
              <a:ext cx="57150" cy="7938"/>
            </a:xfrm>
            <a:custGeom>
              <a:avLst/>
              <a:gdLst>
                <a:gd name="T0" fmla="*/ 29 w 40"/>
                <a:gd name="T1" fmla="*/ 0 h 6"/>
                <a:gd name="T2" fmla="*/ 0 w 40"/>
                <a:gd name="T3" fmla="*/ 4 h 6"/>
                <a:gd name="T4" fmla="*/ 26 w 40"/>
                <a:gd name="T5" fmla="*/ 6 h 6"/>
                <a:gd name="T6" fmla="*/ 39 w 40"/>
                <a:gd name="T7" fmla="*/ 2 h 6"/>
                <a:gd name="T8" fmla="*/ 29 w 40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6">
                  <a:moveTo>
                    <a:pt x="29" y="0"/>
                  </a:moveTo>
                  <a:cubicBezTo>
                    <a:pt x="18" y="0"/>
                    <a:pt x="0" y="4"/>
                    <a:pt x="0" y="4"/>
                  </a:cubicBezTo>
                  <a:cubicBezTo>
                    <a:pt x="0" y="4"/>
                    <a:pt x="15" y="6"/>
                    <a:pt x="26" y="6"/>
                  </a:cubicBezTo>
                  <a:cubicBezTo>
                    <a:pt x="34" y="6"/>
                    <a:pt x="40" y="5"/>
                    <a:pt x="39" y="2"/>
                  </a:cubicBezTo>
                  <a:cubicBezTo>
                    <a:pt x="38" y="0"/>
                    <a:pt x="34" y="0"/>
                    <a:pt x="29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ïśḻïdè">
              <a:extLst>
                <a:ext uri="{FF2B5EF4-FFF2-40B4-BE49-F238E27FC236}">
                  <a16:creationId xmlns:a16="http://schemas.microsoft.com/office/drawing/2014/main" id="{39D5869D-3330-43EB-ADDF-01BE23A82782}"/>
                </a:ext>
              </a:extLst>
            </p:cNvPr>
            <p:cNvSpPr/>
            <p:nvPr/>
          </p:nvSpPr>
          <p:spPr bwMode="auto">
            <a:xfrm>
              <a:off x="3743326" y="5032375"/>
              <a:ext cx="80963" cy="12700"/>
            </a:xfrm>
            <a:custGeom>
              <a:avLst/>
              <a:gdLst>
                <a:gd name="T0" fmla="*/ 33 w 56"/>
                <a:gd name="T1" fmla="*/ 0 h 9"/>
                <a:gd name="T2" fmla="*/ 0 w 56"/>
                <a:gd name="T3" fmla="*/ 2 h 9"/>
                <a:gd name="T4" fmla="*/ 47 w 56"/>
                <a:gd name="T5" fmla="*/ 9 h 9"/>
                <a:gd name="T6" fmla="*/ 55 w 56"/>
                <a:gd name="T7" fmla="*/ 5 h 9"/>
                <a:gd name="T8" fmla="*/ 33 w 56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9">
                  <a:moveTo>
                    <a:pt x="33" y="0"/>
                  </a:moveTo>
                  <a:cubicBezTo>
                    <a:pt x="18" y="0"/>
                    <a:pt x="0" y="2"/>
                    <a:pt x="0" y="2"/>
                  </a:cubicBezTo>
                  <a:cubicBezTo>
                    <a:pt x="0" y="2"/>
                    <a:pt x="31" y="9"/>
                    <a:pt x="47" y="9"/>
                  </a:cubicBezTo>
                  <a:cubicBezTo>
                    <a:pt x="52" y="9"/>
                    <a:pt x="56" y="8"/>
                    <a:pt x="55" y="5"/>
                  </a:cubicBezTo>
                  <a:cubicBezTo>
                    <a:pt x="54" y="1"/>
                    <a:pt x="44" y="0"/>
                    <a:pt x="33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í$ḷídé">
              <a:extLst>
                <a:ext uri="{FF2B5EF4-FFF2-40B4-BE49-F238E27FC236}">
                  <a16:creationId xmlns:a16="http://schemas.microsoft.com/office/drawing/2014/main" id="{DD70F47E-A619-4E4C-88BC-B5560038A0E4}"/>
                </a:ext>
              </a:extLst>
            </p:cNvPr>
            <p:cNvSpPr/>
            <p:nvPr/>
          </p:nvSpPr>
          <p:spPr bwMode="auto">
            <a:xfrm>
              <a:off x="3756026" y="5068888"/>
              <a:ext cx="73025" cy="20638"/>
            </a:xfrm>
            <a:custGeom>
              <a:avLst/>
              <a:gdLst>
                <a:gd name="T0" fmla="*/ 0 w 51"/>
                <a:gd name="T1" fmla="*/ 0 h 15"/>
                <a:gd name="T2" fmla="*/ 47 w 51"/>
                <a:gd name="T3" fmla="*/ 15 h 15"/>
                <a:gd name="T4" fmla="*/ 51 w 51"/>
                <a:gd name="T5" fmla="*/ 12 h 15"/>
                <a:gd name="T6" fmla="*/ 0 w 51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15">
                  <a:moveTo>
                    <a:pt x="0" y="0"/>
                  </a:moveTo>
                  <a:cubicBezTo>
                    <a:pt x="0" y="0"/>
                    <a:pt x="36" y="15"/>
                    <a:pt x="47" y="15"/>
                  </a:cubicBezTo>
                  <a:cubicBezTo>
                    <a:pt x="49" y="15"/>
                    <a:pt x="51" y="14"/>
                    <a:pt x="51" y="12"/>
                  </a:cubicBezTo>
                  <a:cubicBezTo>
                    <a:pt x="50" y="4"/>
                    <a:pt x="2" y="0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iṩḻíḓê">
              <a:extLst>
                <a:ext uri="{FF2B5EF4-FFF2-40B4-BE49-F238E27FC236}">
                  <a16:creationId xmlns:a16="http://schemas.microsoft.com/office/drawing/2014/main" id="{FEF49D00-81FA-41AC-B523-CC812F175F8F}"/>
                </a:ext>
              </a:extLst>
            </p:cNvPr>
            <p:cNvSpPr/>
            <p:nvPr/>
          </p:nvSpPr>
          <p:spPr bwMode="auto">
            <a:xfrm>
              <a:off x="3198813" y="5110163"/>
              <a:ext cx="592138" cy="336550"/>
            </a:xfrm>
            <a:custGeom>
              <a:avLst/>
              <a:gdLst>
                <a:gd name="T0" fmla="*/ 42 w 409"/>
                <a:gd name="T1" fmla="*/ 0 h 232"/>
                <a:gd name="T2" fmla="*/ 367 w 409"/>
                <a:gd name="T3" fmla="*/ 0 h 232"/>
                <a:gd name="T4" fmla="*/ 409 w 409"/>
                <a:gd name="T5" fmla="*/ 42 h 232"/>
                <a:gd name="T6" fmla="*/ 409 w 409"/>
                <a:gd name="T7" fmla="*/ 190 h 232"/>
                <a:gd name="T8" fmla="*/ 367 w 409"/>
                <a:gd name="T9" fmla="*/ 232 h 232"/>
                <a:gd name="T10" fmla="*/ 42 w 409"/>
                <a:gd name="T11" fmla="*/ 232 h 232"/>
                <a:gd name="T12" fmla="*/ 0 w 409"/>
                <a:gd name="T13" fmla="*/ 190 h 232"/>
                <a:gd name="T14" fmla="*/ 0 w 409"/>
                <a:gd name="T15" fmla="*/ 42 h 232"/>
                <a:gd name="T16" fmla="*/ 42 w 409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9" h="232">
                  <a:moveTo>
                    <a:pt x="42" y="0"/>
                  </a:moveTo>
                  <a:cubicBezTo>
                    <a:pt x="367" y="0"/>
                    <a:pt x="367" y="0"/>
                    <a:pt x="367" y="0"/>
                  </a:cubicBezTo>
                  <a:cubicBezTo>
                    <a:pt x="391" y="0"/>
                    <a:pt x="409" y="19"/>
                    <a:pt x="409" y="42"/>
                  </a:cubicBezTo>
                  <a:cubicBezTo>
                    <a:pt x="409" y="190"/>
                    <a:pt x="409" y="190"/>
                    <a:pt x="409" y="190"/>
                  </a:cubicBezTo>
                  <a:cubicBezTo>
                    <a:pt x="409" y="214"/>
                    <a:pt x="391" y="232"/>
                    <a:pt x="367" y="232"/>
                  </a:cubicBezTo>
                  <a:cubicBezTo>
                    <a:pt x="42" y="232"/>
                    <a:pt x="42" y="232"/>
                    <a:pt x="42" y="232"/>
                  </a:cubicBezTo>
                  <a:cubicBezTo>
                    <a:pt x="19" y="232"/>
                    <a:pt x="0" y="214"/>
                    <a:pt x="0" y="19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îş1îḑê">
              <a:extLst>
                <a:ext uri="{FF2B5EF4-FFF2-40B4-BE49-F238E27FC236}">
                  <a16:creationId xmlns:a16="http://schemas.microsoft.com/office/drawing/2014/main" id="{D5B93ED9-FB5A-4056-9E58-E16C11CD2AA9}"/>
                </a:ext>
              </a:extLst>
            </p:cNvPr>
            <p:cNvSpPr/>
            <p:nvPr/>
          </p:nvSpPr>
          <p:spPr bwMode="auto">
            <a:xfrm>
              <a:off x="3473451" y="5256213"/>
              <a:ext cx="44450" cy="44450"/>
            </a:xfrm>
            <a:prstGeom prst="ellipse">
              <a:avLst/>
            </a:prstGeom>
            <a:solidFill>
              <a:srgbClr val="E7E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îśľíḋè">
              <a:extLst>
                <a:ext uri="{FF2B5EF4-FFF2-40B4-BE49-F238E27FC236}">
                  <a16:creationId xmlns:a16="http://schemas.microsoft.com/office/drawing/2014/main" id="{302D5F28-E6EA-4443-BE1C-22A3EEA7C338}"/>
                </a:ext>
              </a:extLst>
            </p:cNvPr>
            <p:cNvSpPr/>
            <p:nvPr/>
          </p:nvSpPr>
          <p:spPr bwMode="auto">
            <a:xfrm>
              <a:off x="3349626" y="4914900"/>
              <a:ext cx="26988" cy="11113"/>
            </a:xfrm>
            <a:custGeom>
              <a:avLst/>
              <a:gdLst>
                <a:gd name="T0" fmla="*/ 19 w 19"/>
                <a:gd name="T1" fmla="*/ 0 h 8"/>
                <a:gd name="T2" fmla="*/ 11 w 19"/>
                <a:gd name="T3" fmla="*/ 1 h 8"/>
                <a:gd name="T4" fmla="*/ 5 w 19"/>
                <a:gd name="T5" fmla="*/ 1 h 8"/>
                <a:gd name="T6" fmla="*/ 0 w 19"/>
                <a:gd name="T7" fmla="*/ 8 h 8"/>
                <a:gd name="T8" fmla="*/ 8 w 19"/>
                <a:gd name="T9" fmla="*/ 8 h 8"/>
                <a:gd name="T10" fmla="*/ 17 w 19"/>
                <a:gd name="T11" fmla="*/ 8 h 8"/>
                <a:gd name="T12" fmla="*/ 19 w 19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8">
                  <a:moveTo>
                    <a:pt x="19" y="0"/>
                  </a:moveTo>
                  <a:cubicBezTo>
                    <a:pt x="17" y="1"/>
                    <a:pt x="14" y="1"/>
                    <a:pt x="11" y="1"/>
                  </a:cubicBezTo>
                  <a:cubicBezTo>
                    <a:pt x="9" y="1"/>
                    <a:pt x="7" y="1"/>
                    <a:pt x="5" y="1"/>
                  </a:cubicBezTo>
                  <a:cubicBezTo>
                    <a:pt x="3" y="3"/>
                    <a:pt x="2" y="5"/>
                    <a:pt x="0" y="8"/>
                  </a:cubicBezTo>
                  <a:cubicBezTo>
                    <a:pt x="3" y="8"/>
                    <a:pt x="5" y="8"/>
                    <a:pt x="8" y="8"/>
                  </a:cubicBezTo>
                  <a:cubicBezTo>
                    <a:pt x="11" y="8"/>
                    <a:pt x="14" y="8"/>
                    <a:pt x="17" y="8"/>
                  </a:cubicBezTo>
                  <a:cubicBezTo>
                    <a:pt x="17" y="5"/>
                    <a:pt x="18" y="3"/>
                    <a:pt x="19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ïṡlïḋê">
              <a:extLst>
                <a:ext uri="{FF2B5EF4-FFF2-40B4-BE49-F238E27FC236}">
                  <a16:creationId xmlns:a16="http://schemas.microsoft.com/office/drawing/2014/main" id="{743287B7-FCEF-4762-8D38-42C286BC2620}"/>
                </a:ext>
              </a:extLst>
            </p:cNvPr>
            <p:cNvSpPr/>
            <p:nvPr/>
          </p:nvSpPr>
          <p:spPr bwMode="auto">
            <a:xfrm>
              <a:off x="3586163" y="4916488"/>
              <a:ext cx="101600" cy="20638"/>
            </a:xfrm>
            <a:custGeom>
              <a:avLst/>
              <a:gdLst>
                <a:gd name="T0" fmla="*/ 0 w 70"/>
                <a:gd name="T1" fmla="*/ 0 h 15"/>
                <a:gd name="T2" fmla="*/ 44 w 70"/>
                <a:gd name="T3" fmla="*/ 15 h 15"/>
                <a:gd name="T4" fmla="*/ 70 w 70"/>
                <a:gd name="T5" fmla="*/ 7 h 15"/>
                <a:gd name="T6" fmla="*/ 47 w 70"/>
                <a:gd name="T7" fmla="*/ 8 h 15"/>
                <a:gd name="T8" fmla="*/ 0 w 7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5">
                  <a:moveTo>
                    <a:pt x="0" y="0"/>
                  </a:moveTo>
                  <a:cubicBezTo>
                    <a:pt x="0" y="0"/>
                    <a:pt x="21" y="15"/>
                    <a:pt x="44" y="15"/>
                  </a:cubicBezTo>
                  <a:cubicBezTo>
                    <a:pt x="52" y="15"/>
                    <a:pt x="62" y="13"/>
                    <a:pt x="70" y="7"/>
                  </a:cubicBezTo>
                  <a:cubicBezTo>
                    <a:pt x="70" y="7"/>
                    <a:pt x="60" y="8"/>
                    <a:pt x="47" y="8"/>
                  </a:cubicBezTo>
                  <a:cubicBezTo>
                    <a:pt x="31" y="8"/>
                    <a:pt x="11" y="6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îṧľíḓè">
              <a:extLst>
                <a:ext uri="{FF2B5EF4-FFF2-40B4-BE49-F238E27FC236}">
                  <a16:creationId xmlns:a16="http://schemas.microsoft.com/office/drawing/2014/main" id="{D7E01764-C988-4963-8D39-F33F39E12ED8}"/>
                </a:ext>
              </a:extLst>
            </p:cNvPr>
            <p:cNvSpPr/>
            <p:nvPr/>
          </p:nvSpPr>
          <p:spPr bwMode="auto">
            <a:xfrm>
              <a:off x="3433763" y="4384675"/>
              <a:ext cx="163513" cy="180975"/>
            </a:xfrm>
            <a:custGeom>
              <a:avLst/>
              <a:gdLst>
                <a:gd name="T0" fmla="*/ 22 w 113"/>
                <a:gd name="T1" fmla="*/ 77 h 125"/>
                <a:gd name="T2" fmla="*/ 20 w 113"/>
                <a:gd name="T3" fmla="*/ 90 h 125"/>
                <a:gd name="T4" fmla="*/ 12 w 113"/>
                <a:gd name="T5" fmla="*/ 121 h 125"/>
                <a:gd name="T6" fmla="*/ 12 w 113"/>
                <a:gd name="T7" fmla="*/ 121 h 125"/>
                <a:gd name="T8" fmla="*/ 12 w 113"/>
                <a:gd name="T9" fmla="*/ 125 h 125"/>
                <a:gd name="T10" fmla="*/ 20 w 113"/>
                <a:gd name="T11" fmla="*/ 94 h 125"/>
                <a:gd name="T12" fmla="*/ 21 w 113"/>
                <a:gd name="T13" fmla="*/ 88 h 125"/>
                <a:gd name="T14" fmla="*/ 22 w 113"/>
                <a:gd name="T15" fmla="*/ 77 h 125"/>
                <a:gd name="T16" fmla="*/ 22 w 113"/>
                <a:gd name="T17" fmla="*/ 73 h 125"/>
                <a:gd name="T18" fmla="*/ 22 w 113"/>
                <a:gd name="T19" fmla="*/ 73 h 125"/>
                <a:gd name="T20" fmla="*/ 22 w 113"/>
                <a:gd name="T21" fmla="*/ 73 h 125"/>
                <a:gd name="T22" fmla="*/ 22 w 113"/>
                <a:gd name="T23" fmla="*/ 73 h 125"/>
                <a:gd name="T24" fmla="*/ 23 w 113"/>
                <a:gd name="T25" fmla="*/ 0 h 125"/>
                <a:gd name="T26" fmla="*/ 13 w 113"/>
                <a:gd name="T27" fmla="*/ 2 h 125"/>
                <a:gd name="T28" fmla="*/ 9 w 113"/>
                <a:gd name="T29" fmla="*/ 4 h 125"/>
                <a:gd name="T30" fmla="*/ 2 w 113"/>
                <a:gd name="T31" fmla="*/ 14 h 125"/>
                <a:gd name="T32" fmla="*/ 1 w 113"/>
                <a:gd name="T33" fmla="*/ 15 h 125"/>
                <a:gd name="T34" fmla="*/ 1 w 113"/>
                <a:gd name="T35" fmla="*/ 15 h 125"/>
                <a:gd name="T36" fmla="*/ 1 w 113"/>
                <a:gd name="T37" fmla="*/ 22 h 125"/>
                <a:gd name="T38" fmla="*/ 2 w 113"/>
                <a:gd name="T39" fmla="*/ 18 h 125"/>
                <a:gd name="T40" fmla="*/ 14 w 113"/>
                <a:gd name="T41" fmla="*/ 5 h 125"/>
                <a:gd name="T42" fmla="*/ 24 w 113"/>
                <a:gd name="T43" fmla="*/ 4 h 125"/>
                <a:gd name="T44" fmla="*/ 94 w 113"/>
                <a:gd name="T45" fmla="*/ 51 h 125"/>
                <a:gd name="T46" fmla="*/ 113 w 113"/>
                <a:gd name="T47" fmla="*/ 101 h 125"/>
                <a:gd name="T48" fmla="*/ 93 w 113"/>
                <a:gd name="T49" fmla="*/ 47 h 125"/>
                <a:gd name="T50" fmla="*/ 23 w 113"/>
                <a:gd name="T5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125">
                  <a:moveTo>
                    <a:pt x="22" y="77"/>
                  </a:moveTo>
                  <a:cubicBezTo>
                    <a:pt x="22" y="81"/>
                    <a:pt x="21" y="86"/>
                    <a:pt x="20" y="90"/>
                  </a:cubicBezTo>
                  <a:cubicBezTo>
                    <a:pt x="17" y="100"/>
                    <a:pt x="13" y="111"/>
                    <a:pt x="12" y="121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2"/>
                    <a:pt x="12" y="124"/>
                    <a:pt x="12" y="125"/>
                  </a:cubicBezTo>
                  <a:cubicBezTo>
                    <a:pt x="12" y="115"/>
                    <a:pt x="17" y="104"/>
                    <a:pt x="20" y="94"/>
                  </a:cubicBezTo>
                  <a:cubicBezTo>
                    <a:pt x="21" y="92"/>
                    <a:pt x="21" y="90"/>
                    <a:pt x="21" y="88"/>
                  </a:cubicBezTo>
                  <a:cubicBezTo>
                    <a:pt x="22" y="84"/>
                    <a:pt x="22" y="80"/>
                    <a:pt x="22" y="77"/>
                  </a:cubicBezTo>
                  <a:moveTo>
                    <a:pt x="22" y="73"/>
                  </a:moveTo>
                  <a:cubicBezTo>
                    <a:pt x="22" y="73"/>
                    <a:pt x="22" y="73"/>
                    <a:pt x="22" y="73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22" y="73"/>
                    <a:pt x="22" y="73"/>
                    <a:pt x="22" y="73"/>
                  </a:cubicBezTo>
                  <a:moveTo>
                    <a:pt x="23" y="0"/>
                  </a:moveTo>
                  <a:cubicBezTo>
                    <a:pt x="20" y="0"/>
                    <a:pt x="16" y="1"/>
                    <a:pt x="13" y="2"/>
                  </a:cubicBezTo>
                  <a:cubicBezTo>
                    <a:pt x="12" y="2"/>
                    <a:pt x="10" y="3"/>
                    <a:pt x="9" y="4"/>
                  </a:cubicBezTo>
                  <a:cubicBezTo>
                    <a:pt x="5" y="6"/>
                    <a:pt x="3" y="10"/>
                    <a:pt x="2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7"/>
                    <a:pt x="1" y="20"/>
                    <a:pt x="1" y="22"/>
                  </a:cubicBezTo>
                  <a:cubicBezTo>
                    <a:pt x="1" y="21"/>
                    <a:pt x="1" y="19"/>
                    <a:pt x="2" y="18"/>
                  </a:cubicBezTo>
                  <a:cubicBezTo>
                    <a:pt x="3" y="12"/>
                    <a:pt x="8" y="7"/>
                    <a:pt x="14" y="5"/>
                  </a:cubicBezTo>
                  <a:cubicBezTo>
                    <a:pt x="17" y="4"/>
                    <a:pt x="20" y="4"/>
                    <a:pt x="24" y="4"/>
                  </a:cubicBezTo>
                  <a:cubicBezTo>
                    <a:pt x="50" y="4"/>
                    <a:pt x="82" y="33"/>
                    <a:pt x="94" y="51"/>
                  </a:cubicBezTo>
                  <a:cubicBezTo>
                    <a:pt x="103" y="66"/>
                    <a:pt x="109" y="83"/>
                    <a:pt x="113" y="101"/>
                  </a:cubicBezTo>
                  <a:cubicBezTo>
                    <a:pt x="110" y="82"/>
                    <a:pt x="104" y="63"/>
                    <a:pt x="93" y="47"/>
                  </a:cubicBezTo>
                  <a:cubicBezTo>
                    <a:pt x="82" y="29"/>
                    <a:pt x="50" y="0"/>
                    <a:pt x="23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îṧľíḋé">
              <a:extLst>
                <a:ext uri="{FF2B5EF4-FFF2-40B4-BE49-F238E27FC236}">
                  <a16:creationId xmlns:a16="http://schemas.microsoft.com/office/drawing/2014/main" id="{660180B3-A56F-4296-9B63-6C1C8EAC6FE9}"/>
                </a:ext>
              </a:extLst>
            </p:cNvPr>
            <p:cNvSpPr/>
            <p:nvPr/>
          </p:nvSpPr>
          <p:spPr bwMode="auto">
            <a:xfrm>
              <a:off x="3475038" y="4635500"/>
              <a:ext cx="15875" cy="34925"/>
            </a:xfrm>
            <a:custGeom>
              <a:avLst/>
              <a:gdLst>
                <a:gd name="T0" fmla="*/ 11 w 11"/>
                <a:gd name="T1" fmla="*/ 0 h 24"/>
                <a:gd name="T2" fmla="*/ 9 w 11"/>
                <a:gd name="T3" fmla="*/ 0 h 24"/>
                <a:gd name="T4" fmla="*/ 2 w 11"/>
                <a:gd name="T5" fmla="*/ 14 h 24"/>
                <a:gd name="T6" fmla="*/ 0 w 11"/>
                <a:gd name="T7" fmla="*/ 21 h 24"/>
                <a:gd name="T8" fmla="*/ 0 w 11"/>
                <a:gd name="T9" fmla="*/ 20 h 24"/>
                <a:gd name="T10" fmla="*/ 0 w 11"/>
                <a:gd name="T11" fmla="*/ 24 h 24"/>
                <a:gd name="T12" fmla="*/ 1 w 11"/>
                <a:gd name="T13" fmla="*/ 18 h 24"/>
                <a:gd name="T14" fmla="*/ 11 w 11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4">
                  <a:moveTo>
                    <a:pt x="11" y="0"/>
                  </a:moveTo>
                  <a:cubicBezTo>
                    <a:pt x="10" y="0"/>
                    <a:pt x="10" y="0"/>
                    <a:pt x="9" y="0"/>
                  </a:cubicBezTo>
                  <a:cubicBezTo>
                    <a:pt x="7" y="5"/>
                    <a:pt x="4" y="9"/>
                    <a:pt x="2" y="14"/>
                  </a:cubicBezTo>
                  <a:cubicBezTo>
                    <a:pt x="1" y="16"/>
                    <a:pt x="0" y="19"/>
                    <a:pt x="0" y="21"/>
                  </a:cubicBezTo>
                  <a:cubicBezTo>
                    <a:pt x="0" y="21"/>
                    <a:pt x="0" y="20"/>
                    <a:pt x="0" y="20"/>
                  </a:cubicBezTo>
                  <a:cubicBezTo>
                    <a:pt x="0" y="21"/>
                    <a:pt x="0" y="22"/>
                    <a:pt x="0" y="24"/>
                  </a:cubicBezTo>
                  <a:cubicBezTo>
                    <a:pt x="0" y="22"/>
                    <a:pt x="1" y="20"/>
                    <a:pt x="1" y="18"/>
                  </a:cubicBezTo>
                  <a:cubicBezTo>
                    <a:pt x="4" y="12"/>
                    <a:pt x="9" y="6"/>
                    <a:pt x="11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ïšlîďê">
              <a:extLst>
                <a:ext uri="{FF2B5EF4-FFF2-40B4-BE49-F238E27FC236}">
                  <a16:creationId xmlns:a16="http://schemas.microsoft.com/office/drawing/2014/main" id="{D3E592F8-80D1-47E4-B232-A29C4AE0B69D}"/>
                </a:ext>
              </a:extLst>
            </p:cNvPr>
            <p:cNvSpPr/>
            <p:nvPr/>
          </p:nvSpPr>
          <p:spPr bwMode="auto">
            <a:xfrm>
              <a:off x="3489326" y="4629150"/>
              <a:ext cx="1588" cy="6350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0 h 4"/>
                <a:gd name="T4" fmla="*/ 0 w 2"/>
                <a:gd name="T5" fmla="*/ 4 h 4"/>
                <a:gd name="T6" fmla="*/ 2 w 2"/>
                <a:gd name="T7" fmla="*/ 4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1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3"/>
                    <a:pt x="2" y="1"/>
                    <a:pt x="2" y="0"/>
                  </a:cubicBezTo>
                </a:path>
              </a:pathLst>
            </a:custGeom>
            <a:solidFill>
              <a:srgbClr val="C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ï$ḷidê">
              <a:extLst>
                <a:ext uri="{FF2B5EF4-FFF2-40B4-BE49-F238E27FC236}">
                  <a16:creationId xmlns:a16="http://schemas.microsoft.com/office/drawing/2014/main" id="{F81BAD81-6B3E-4031-AEC1-0CB1A8AC22B9}"/>
                </a:ext>
              </a:extLst>
            </p:cNvPr>
            <p:cNvSpPr/>
            <p:nvPr/>
          </p:nvSpPr>
          <p:spPr bwMode="auto">
            <a:xfrm>
              <a:off x="3490913" y="4625975"/>
              <a:ext cx="0" cy="3175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2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ïsḻíḑé">
              <a:extLst>
                <a:ext uri="{FF2B5EF4-FFF2-40B4-BE49-F238E27FC236}">
                  <a16:creationId xmlns:a16="http://schemas.microsoft.com/office/drawing/2014/main" id="{D9A5CD4D-D5C7-4A8E-B4A9-D41E129E516C}"/>
                </a:ext>
              </a:extLst>
            </p:cNvPr>
            <p:cNvSpPr/>
            <p:nvPr/>
          </p:nvSpPr>
          <p:spPr bwMode="auto">
            <a:xfrm>
              <a:off x="3225801" y="4762500"/>
              <a:ext cx="274638" cy="92075"/>
            </a:xfrm>
            <a:custGeom>
              <a:avLst/>
              <a:gdLst>
                <a:gd name="T0" fmla="*/ 0 w 189"/>
                <a:gd name="T1" fmla="*/ 10 h 64"/>
                <a:gd name="T2" fmla="*/ 3 w 189"/>
                <a:gd name="T3" fmla="*/ 25 h 64"/>
                <a:gd name="T4" fmla="*/ 3 w 189"/>
                <a:gd name="T5" fmla="*/ 25 h 64"/>
                <a:gd name="T6" fmla="*/ 5 w 189"/>
                <a:gd name="T7" fmla="*/ 26 h 64"/>
                <a:gd name="T8" fmla="*/ 3 w 189"/>
                <a:gd name="T9" fmla="*/ 21 h 64"/>
                <a:gd name="T10" fmla="*/ 0 w 189"/>
                <a:gd name="T11" fmla="*/ 10 h 64"/>
                <a:gd name="T12" fmla="*/ 189 w 189"/>
                <a:gd name="T13" fmla="*/ 0 h 64"/>
                <a:gd name="T14" fmla="*/ 172 w 189"/>
                <a:gd name="T15" fmla="*/ 57 h 64"/>
                <a:gd name="T16" fmla="*/ 171 w 189"/>
                <a:gd name="T17" fmla="*/ 64 h 64"/>
                <a:gd name="T18" fmla="*/ 172 w 189"/>
                <a:gd name="T19" fmla="*/ 61 h 64"/>
                <a:gd name="T20" fmla="*/ 182 w 189"/>
                <a:gd name="T21" fmla="*/ 28 h 64"/>
                <a:gd name="T22" fmla="*/ 189 w 189"/>
                <a:gd name="T2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9" h="64">
                  <a:moveTo>
                    <a:pt x="0" y="10"/>
                  </a:moveTo>
                  <a:cubicBezTo>
                    <a:pt x="0" y="15"/>
                    <a:pt x="1" y="20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4" y="24"/>
                    <a:pt x="4" y="22"/>
                    <a:pt x="3" y="21"/>
                  </a:cubicBezTo>
                  <a:cubicBezTo>
                    <a:pt x="2" y="17"/>
                    <a:pt x="1" y="14"/>
                    <a:pt x="0" y="10"/>
                  </a:cubicBezTo>
                  <a:moveTo>
                    <a:pt x="189" y="0"/>
                  </a:moveTo>
                  <a:cubicBezTo>
                    <a:pt x="187" y="19"/>
                    <a:pt x="175" y="37"/>
                    <a:pt x="172" y="57"/>
                  </a:cubicBezTo>
                  <a:cubicBezTo>
                    <a:pt x="172" y="59"/>
                    <a:pt x="171" y="61"/>
                    <a:pt x="171" y="64"/>
                  </a:cubicBezTo>
                  <a:cubicBezTo>
                    <a:pt x="171" y="63"/>
                    <a:pt x="172" y="62"/>
                    <a:pt x="172" y="61"/>
                  </a:cubicBezTo>
                  <a:cubicBezTo>
                    <a:pt x="174" y="49"/>
                    <a:pt x="178" y="38"/>
                    <a:pt x="182" y="28"/>
                  </a:cubicBezTo>
                  <a:cubicBezTo>
                    <a:pt x="186" y="18"/>
                    <a:pt x="189" y="9"/>
                    <a:pt x="189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í$lïďê">
              <a:extLst>
                <a:ext uri="{FF2B5EF4-FFF2-40B4-BE49-F238E27FC236}">
                  <a16:creationId xmlns:a16="http://schemas.microsoft.com/office/drawing/2014/main" id="{2B9DEA39-29E1-4A65-8405-39B469EC4754}"/>
                </a:ext>
              </a:extLst>
            </p:cNvPr>
            <p:cNvSpPr/>
            <p:nvPr/>
          </p:nvSpPr>
          <p:spPr bwMode="auto">
            <a:xfrm>
              <a:off x="3230563" y="4799013"/>
              <a:ext cx="36513" cy="88900"/>
            </a:xfrm>
            <a:custGeom>
              <a:avLst/>
              <a:gdLst>
                <a:gd name="T0" fmla="*/ 0 w 25"/>
                <a:gd name="T1" fmla="*/ 0 h 61"/>
                <a:gd name="T2" fmla="*/ 0 w 25"/>
                <a:gd name="T3" fmla="*/ 0 h 61"/>
                <a:gd name="T4" fmla="*/ 21 w 25"/>
                <a:gd name="T5" fmla="*/ 44 h 61"/>
                <a:gd name="T6" fmla="*/ 25 w 25"/>
                <a:gd name="T7" fmla="*/ 60 h 61"/>
                <a:gd name="T8" fmla="*/ 25 w 25"/>
                <a:gd name="T9" fmla="*/ 61 h 61"/>
                <a:gd name="T10" fmla="*/ 25 w 25"/>
                <a:gd name="T11" fmla="*/ 56 h 61"/>
                <a:gd name="T12" fmla="*/ 2 w 25"/>
                <a:gd name="T13" fmla="*/ 1 h 61"/>
                <a:gd name="T14" fmla="*/ 0 w 25"/>
                <a:gd name="T1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6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15"/>
                    <a:pt x="16" y="29"/>
                    <a:pt x="21" y="44"/>
                  </a:cubicBezTo>
                  <a:cubicBezTo>
                    <a:pt x="23" y="49"/>
                    <a:pt x="25" y="55"/>
                    <a:pt x="25" y="60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0"/>
                    <a:pt x="25" y="58"/>
                    <a:pt x="25" y="56"/>
                  </a:cubicBezTo>
                  <a:cubicBezTo>
                    <a:pt x="24" y="36"/>
                    <a:pt x="10" y="19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îṡlîdé">
              <a:extLst>
                <a:ext uri="{FF2B5EF4-FFF2-40B4-BE49-F238E27FC236}">
                  <a16:creationId xmlns:a16="http://schemas.microsoft.com/office/drawing/2014/main" id="{F01F4179-2DAB-45E1-B453-096231436048}"/>
                </a:ext>
              </a:extLst>
            </p:cNvPr>
            <p:cNvSpPr/>
            <p:nvPr/>
          </p:nvSpPr>
          <p:spPr bwMode="auto">
            <a:xfrm>
              <a:off x="3306763" y="4875213"/>
              <a:ext cx="90488" cy="138113"/>
            </a:xfrm>
            <a:custGeom>
              <a:avLst/>
              <a:gdLst>
                <a:gd name="T0" fmla="*/ 27 w 62"/>
                <a:gd name="T1" fmla="*/ 34 h 95"/>
                <a:gd name="T2" fmla="*/ 19 w 62"/>
                <a:gd name="T3" fmla="*/ 48 h 95"/>
                <a:gd name="T4" fmla="*/ 14 w 62"/>
                <a:gd name="T5" fmla="*/ 58 h 95"/>
                <a:gd name="T6" fmla="*/ 11 w 62"/>
                <a:gd name="T7" fmla="*/ 62 h 95"/>
                <a:gd name="T8" fmla="*/ 1 w 62"/>
                <a:gd name="T9" fmla="*/ 93 h 95"/>
                <a:gd name="T10" fmla="*/ 1 w 62"/>
                <a:gd name="T11" fmla="*/ 93 h 95"/>
                <a:gd name="T12" fmla="*/ 0 w 62"/>
                <a:gd name="T13" fmla="*/ 95 h 95"/>
                <a:gd name="T14" fmla="*/ 13 w 62"/>
                <a:gd name="T15" fmla="*/ 62 h 95"/>
                <a:gd name="T16" fmla="*/ 29 w 62"/>
                <a:gd name="T17" fmla="*/ 35 h 95"/>
                <a:gd name="T18" fmla="*/ 27 w 62"/>
                <a:gd name="T19" fmla="*/ 34 h 95"/>
                <a:gd name="T20" fmla="*/ 62 w 62"/>
                <a:gd name="T21" fmla="*/ 0 h 95"/>
                <a:gd name="T22" fmla="*/ 57 w 62"/>
                <a:gd name="T23" fmla="*/ 3 h 95"/>
                <a:gd name="T24" fmla="*/ 57 w 62"/>
                <a:gd name="T25" fmla="*/ 3 h 95"/>
                <a:gd name="T26" fmla="*/ 32 w 62"/>
                <a:gd name="T27" fmla="*/ 27 h 95"/>
                <a:gd name="T28" fmla="*/ 34 w 62"/>
                <a:gd name="T29" fmla="*/ 28 h 95"/>
                <a:gd name="T30" fmla="*/ 59 w 62"/>
                <a:gd name="T31" fmla="*/ 6 h 95"/>
                <a:gd name="T32" fmla="*/ 62 w 62"/>
                <a:gd name="T3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2" h="95">
                  <a:moveTo>
                    <a:pt x="27" y="34"/>
                  </a:moveTo>
                  <a:cubicBezTo>
                    <a:pt x="24" y="39"/>
                    <a:pt x="21" y="43"/>
                    <a:pt x="19" y="48"/>
                  </a:cubicBezTo>
                  <a:cubicBezTo>
                    <a:pt x="17" y="51"/>
                    <a:pt x="15" y="54"/>
                    <a:pt x="14" y="58"/>
                  </a:cubicBezTo>
                  <a:cubicBezTo>
                    <a:pt x="13" y="59"/>
                    <a:pt x="12" y="61"/>
                    <a:pt x="11" y="62"/>
                  </a:cubicBezTo>
                  <a:cubicBezTo>
                    <a:pt x="6" y="72"/>
                    <a:pt x="1" y="83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4"/>
                    <a:pt x="0" y="95"/>
                    <a:pt x="0" y="95"/>
                  </a:cubicBezTo>
                  <a:cubicBezTo>
                    <a:pt x="2" y="84"/>
                    <a:pt x="8" y="72"/>
                    <a:pt x="13" y="62"/>
                  </a:cubicBezTo>
                  <a:cubicBezTo>
                    <a:pt x="18" y="53"/>
                    <a:pt x="23" y="43"/>
                    <a:pt x="29" y="35"/>
                  </a:cubicBezTo>
                  <a:cubicBezTo>
                    <a:pt x="28" y="35"/>
                    <a:pt x="28" y="34"/>
                    <a:pt x="27" y="34"/>
                  </a:cubicBezTo>
                  <a:moveTo>
                    <a:pt x="62" y="0"/>
                  </a:moveTo>
                  <a:cubicBezTo>
                    <a:pt x="60" y="1"/>
                    <a:pt x="59" y="2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47" y="9"/>
                    <a:pt x="39" y="18"/>
                    <a:pt x="32" y="27"/>
                  </a:cubicBezTo>
                  <a:cubicBezTo>
                    <a:pt x="32" y="27"/>
                    <a:pt x="33" y="27"/>
                    <a:pt x="34" y="28"/>
                  </a:cubicBezTo>
                  <a:cubicBezTo>
                    <a:pt x="41" y="19"/>
                    <a:pt x="49" y="11"/>
                    <a:pt x="59" y="6"/>
                  </a:cubicBezTo>
                  <a:cubicBezTo>
                    <a:pt x="60" y="4"/>
                    <a:pt x="61" y="2"/>
                    <a:pt x="62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íś1ïḍè">
              <a:extLst>
                <a:ext uri="{FF2B5EF4-FFF2-40B4-BE49-F238E27FC236}">
                  <a16:creationId xmlns:a16="http://schemas.microsoft.com/office/drawing/2014/main" id="{22B78857-7985-478F-9347-273A6FE9D4D6}"/>
                </a:ext>
              </a:extLst>
            </p:cNvPr>
            <p:cNvSpPr/>
            <p:nvPr/>
          </p:nvSpPr>
          <p:spPr bwMode="auto">
            <a:xfrm>
              <a:off x="3346451" y="4914900"/>
              <a:ext cx="9525" cy="11113"/>
            </a:xfrm>
            <a:custGeom>
              <a:avLst/>
              <a:gdLst>
                <a:gd name="T0" fmla="*/ 5 w 7"/>
                <a:gd name="T1" fmla="*/ 0 h 8"/>
                <a:gd name="T2" fmla="*/ 0 w 7"/>
                <a:gd name="T3" fmla="*/ 7 h 8"/>
                <a:gd name="T4" fmla="*/ 2 w 7"/>
                <a:gd name="T5" fmla="*/ 8 h 8"/>
                <a:gd name="T6" fmla="*/ 7 w 7"/>
                <a:gd name="T7" fmla="*/ 1 h 8"/>
                <a:gd name="T8" fmla="*/ 5 w 7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5" y="0"/>
                  </a:moveTo>
                  <a:cubicBezTo>
                    <a:pt x="3" y="3"/>
                    <a:pt x="1" y="5"/>
                    <a:pt x="0" y="7"/>
                  </a:cubicBezTo>
                  <a:cubicBezTo>
                    <a:pt x="1" y="7"/>
                    <a:pt x="1" y="8"/>
                    <a:pt x="2" y="8"/>
                  </a:cubicBezTo>
                  <a:cubicBezTo>
                    <a:pt x="4" y="5"/>
                    <a:pt x="5" y="3"/>
                    <a:pt x="7" y="1"/>
                  </a:cubicBezTo>
                  <a:cubicBezTo>
                    <a:pt x="6" y="0"/>
                    <a:pt x="5" y="0"/>
                    <a:pt x="5" y="0"/>
                  </a:cubicBezTo>
                </a:path>
              </a:pathLst>
            </a:custGeom>
            <a:solidFill>
              <a:srgbClr val="356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i$ľíďê">
              <a:extLst>
                <a:ext uri="{FF2B5EF4-FFF2-40B4-BE49-F238E27FC236}">
                  <a16:creationId xmlns:a16="http://schemas.microsoft.com/office/drawing/2014/main" id="{77DC2136-2EEB-4B4D-97C8-A280B2E9FD8B}"/>
                </a:ext>
              </a:extLst>
            </p:cNvPr>
            <p:cNvSpPr/>
            <p:nvPr/>
          </p:nvSpPr>
          <p:spPr bwMode="auto">
            <a:xfrm>
              <a:off x="3275013" y="4908550"/>
              <a:ext cx="198438" cy="174625"/>
            </a:xfrm>
            <a:custGeom>
              <a:avLst/>
              <a:gdLst>
                <a:gd name="T0" fmla="*/ 0 w 137"/>
                <a:gd name="T1" fmla="*/ 104 h 120"/>
                <a:gd name="T2" fmla="*/ 3 w 137"/>
                <a:gd name="T3" fmla="*/ 112 h 120"/>
                <a:gd name="T4" fmla="*/ 5 w 137"/>
                <a:gd name="T5" fmla="*/ 115 h 120"/>
                <a:gd name="T6" fmla="*/ 15 w 137"/>
                <a:gd name="T7" fmla="*/ 120 h 120"/>
                <a:gd name="T8" fmla="*/ 19 w 137"/>
                <a:gd name="T9" fmla="*/ 119 h 120"/>
                <a:gd name="T10" fmla="*/ 27 w 137"/>
                <a:gd name="T11" fmla="*/ 105 h 120"/>
                <a:gd name="T12" fmla="*/ 20 w 137"/>
                <a:gd name="T13" fmla="*/ 115 h 120"/>
                <a:gd name="T14" fmla="*/ 15 w 137"/>
                <a:gd name="T15" fmla="*/ 116 h 120"/>
                <a:gd name="T16" fmla="*/ 13 w 137"/>
                <a:gd name="T17" fmla="*/ 116 h 120"/>
                <a:gd name="T18" fmla="*/ 4 w 137"/>
                <a:gd name="T19" fmla="*/ 110 h 120"/>
                <a:gd name="T20" fmla="*/ 0 w 137"/>
                <a:gd name="T21" fmla="*/ 104 h 120"/>
                <a:gd name="T22" fmla="*/ 109 w 137"/>
                <a:gd name="T23" fmla="*/ 22 h 120"/>
                <a:gd name="T24" fmla="*/ 109 w 137"/>
                <a:gd name="T25" fmla="*/ 24 h 120"/>
                <a:gd name="T26" fmla="*/ 107 w 137"/>
                <a:gd name="T27" fmla="*/ 30 h 120"/>
                <a:gd name="T28" fmla="*/ 107 w 137"/>
                <a:gd name="T29" fmla="*/ 31 h 120"/>
                <a:gd name="T30" fmla="*/ 88 w 137"/>
                <a:gd name="T31" fmla="*/ 46 h 120"/>
                <a:gd name="T32" fmla="*/ 88 w 137"/>
                <a:gd name="T33" fmla="*/ 46 h 120"/>
                <a:gd name="T34" fmla="*/ 88 w 137"/>
                <a:gd name="T35" fmla="*/ 46 h 120"/>
                <a:gd name="T36" fmla="*/ 86 w 137"/>
                <a:gd name="T37" fmla="*/ 45 h 120"/>
                <a:gd name="T38" fmla="*/ 83 w 137"/>
                <a:gd name="T39" fmla="*/ 25 h 120"/>
                <a:gd name="T40" fmla="*/ 62 w 137"/>
                <a:gd name="T41" fmla="*/ 38 h 120"/>
                <a:gd name="T42" fmla="*/ 61 w 137"/>
                <a:gd name="T43" fmla="*/ 42 h 120"/>
                <a:gd name="T44" fmla="*/ 83 w 137"/>
                <a:gd name="T45" fmla="*/ 29 h 120"/>
                <a:gd name="T46" fmla="*/ 86 w 137"/>
                <a:gd name="T47" fmla="*/ 49 h 120"/>
                <a:gd name="T48" fmla="*/ 88 w 137"/>
                <a:gd name="T49" fmla="*/ 50 h 120"/>
                <a:gd name="T50" fmla="*/ 107 w 137"/>
                <a:gd name="T51" fmla="*/ 35 h 120"/>
                <a:gd name="T52" fmla="*/ 109 w 137"/>
                <a:gd name="T53" fmla="*/ 22 h 120"/>
                <a:gd name="T54" fmla="*/ 137 w 137"/>
                <a:gd name="T55" fmla="*/ 0 h 120"/>
                <a:gd name="T56" fmla="*/ 129 w 137"/>
                <a:gd name="T57" fmla="*/ 20 h 120"/>
                <a:gd name="T58" fmla="*/ 123 w 137"/>
                <a:gd name="T59" fmla="*/ 24 h 120"/>
                <a:gd name="T60" fmla="*/ 122 w 137"/>
                <a:gd name="T61" fmla="*/ 24 h 120"/>
                <a:gd name="T62" fmla="*/ 109 w 137"/>
                <a:gd name="T63" fmla="*/ 4 h 120"/>
                <a:gd name="T64" fmla="*/ 109 w 137"/>
                <a:gd name="T65" fmla="*/ 4 h 120"/>
                <a:gd name="T66" fmla="*/ 109 w 137"/>
                <a:gd name="T67" fmla="*/ 4 h 120"/>
                <a:gd name="T68" fmla="*/ 109 w 137"/>
                <a:gd name="T69" fmla="*/ 8 h 120"/>
                <a:gd name="T70" fmla="*/ 122 w 137"/>
                <a:gd name="T71" fmla="*/ 28 h 120"/>
                <a:gd name="T72" fmla="*/ 123 w 137"/>
                <a:gd name="T73" fmla="*/ 28 h 120"/>
                <a:gd name="T74" fmla="*/ 129 w 137"/>
                <a:gd name="T75" fmla="*/ 24 h 120"/>
                <a:gd name="T76" fmla="*/ 137 w 137"/>
                <a:gd name="T7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7" h="120">
                  <a:moveTo>
                    <a:pt x="0" y="104"/>
                  </a:moveTo>
                  <a:cubicBezTo>
                    <a:pt x="0" y="107"/>
                    <a:pt x="1" y="111"/>
                    <a:pt x="3" y="112"/>
                  </a:cubicBezTo>
                  <a:cubicBezTo>
                    <a:pt x="4" y="113"/>
                    <a:pt x="5" y="114"/>
                    <a:pt x="5" y="115"/>
                  </a:cubicBezTo>
                  <a:cubicBezTo>
                    <a:pt x="8" y="118"/>
                    <a:pt x="11" y="120"/>
                    <a:pt x="15" y="120"/>
                  </a:cubicBezTo>
                  <a:cubicBezTo>
                    <a:pt x="17" y="120"/>
                    <a:pt x="18" y="120"/>
                    <a:pt x="19" y="119"/>
                  </a:cubicBezTo>
                  <a:cubicBezTo>
                    <a:pt x="25" y="117"/>
                    <a:pt x="27" y="111"/>
                    <a:pt x="27" y="105"/>
                  </a:cubicBezTo>
                  <a:cubicBezTo>
                    <a:pt x="26" y="109"/>
                    <a:pt x="24" y="114"/>
                    <a:pt x="20" y="115"/>
                  </a:cubicBezTo>
                  <a:cubicBezTo>
                    <a:pt x="18" y="116"/>
                    <a:pt x="17" y="116"/>
                    <a:pt x="15" y="116"/>
                  </a:cubicBezTo>
                  <a:cubicBezTo>
                    <a:pt x="14" y="116"/>
                    <a:pt x="14" y="116"/>
                    <a:pt x="13" y="116"/>
                  </a:cubicBezTo>
                  <a:cubicBezTo>
                    <a:pt x="9" y="115"/>
                    <a:pt x="6" y="113"/>
                    <a:pt x="4" y="110"/>
                  </a:cubicBezTo>
                  <a:cubicBezTo>
                    <a:pt x="2" y="108"/>
                    <a:pt x="1" y="106"/>
                    <a:pt x="0" y="104"/>
                  </a:cubicBezTo>
                  <a:moveTo>
                    <a:pt x="109" y="22"/>
                  </a:moveTo>
                  <a:cubicBezTo>
                    <a:pt x="109" y="23"/>
                    <a:pt x="109" y="24"/>
                    <a:pt x="109" y="24"/>
                  </a:cubicBezTo>
                  <a:cubicBezTo>
                    <a:pt x="109" y="26"/>
                    <a:pt x="108" y="28"/>
                    <a:pt x="107" y="30"/>
                  </a:cubicBezTo>
                  <a:cubicBezTo>
                    <a:pt x="107" y="30"/>
                    <a:pt x="107" y="31"/>
                    <a:pt x="107" y="31"/>
                  </a:cubicBezTo>
                  <a:cubicBezTo>
                    <a:pt x="104" y="39"/>
                    <a:pt x="97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7" y="46"/>
                    <a:pt x="86" y="45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77" y="31"/>
                    <a:pt x="70" y="35"/>
                    <a:pt x="62" y="38"/>
                  </a:cubicBezTo>
                  <a:cubicBezTo>
                    <a:pt x="61" y="40"/>
                    <a:pt x="61" y="41"/>
                    <a:pt x="61" y="42"/>
                  </a:cubicBezTo>
                  <a:cubicBezTo>
                    <a:pt x="69" y="40"/>
                    <a:pt x="76" y="35"/>
                    <a:pt x="83" y="29"/>
                  </a:cubicBezTo>
                  <a:cubicBezTo>
                    <a:pt x="84" y="36"/>
                    <a:pt x="85" y="43"/>
                    <a:pt x="86" y="49"/>
                  </a:cubicBezTo>
                  <a:cubicBezTo>
                    <a:pt x="86" y="50"/>
                    <a:pt x="87" y="50"/>
                    <a:pt x="88" y="50"/>
                  </a:cubicBezTo>
                  <a:cubicBezTo>
                    <a:pt x="96" y="50"/>
                    <a:pt x="104" y="43"/>
                    <a:pt x="107" y="35"/>
                  </a:cubicBezTo>
                  <a:cubicBezTo>
                    <a:pt x="108" y="31"/>
                    <a:pt x="109" y="27"/>
                    <a:pt x="109" y="22"/>
                  </a:cubicBezTo>
                  <a:moveTo>
                    <a:pt x="137" y="0"/>
                  </a:moveTo>
                  <a:cubicBezTo>
                    <a:pt x="136" y="8"/>
                    <a:pt x="134" y="14"/>
                    <a:pt x="129" y="20"/>
                  </a:cubicBezTo>
                  <a:cubicBezTo>
                    <a:pt x="128" y="22"/>
                    <a:pt x="126" y="23"/>
                    <a:pt x="123" y="24"/>
                  </a:cubicBezTo>
                  <a:cubicBezTo>
                    <a:pt x="123" y="24"/>
                    <a:pt x="123" y="24"/>
                    <a:pt x="122" y="24"/>
                  </a:cubicBezTo>
                  <a:cubicBezTo>
                    <a:pt x="115" y="24"/>
                    <a:pt x="116" y="10"/>
                    <a:pt x="109" y="4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9" y="5"/>
                    <a:pt x="109" y="7"/>
                    <a:pt x="109" y="8"/>
                  </a:cubicBezTo>
                  <a:cubicBezTo>
                    <a:pt x="115" y="14"/>
                    <a:pt x="114" y="28"/>
                    <a:pt x="122" y="28"/>
                  </a:cubicBezTo>
                  <a:cubicBezTo>
                    <a:pt x="122" y="28"/>
                    <a:pt x="123" y="28"/>
                    <a:pt x="123" y="28"/>
                  </a:cubicBezTo>
                  <a:cubicBezTo>
                    <a:pt x="125" y="27"/>
                    <a:pt x="127" y="26"/>
                    <a:pt x="129" y="24"/>
                  </a:cubicBezTo>
                  <a:cubicBezTo>
                    <a:pt x="134" y="17"/>
                    <a:pt x="136" y="9"/>
                    <a:pt x="137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iṩļîḍé">
              <a:extLst>
                <a:ext uri="{FF2B5EF4-FFF2-40B4-BE49-F238E27FC236}">
                  <a16:creationId xmlns:a16="http://schemas.microsoft.com/office/drawing/2014/main" id="{7623E90D-429F-416A-B8BE-E950EB828788}"/>
                </a:ext>
              </a:extLst>
            </p:cNvPr>
            <p:cNvSpPr/>
            <p:nvPr/>
          </p:nvSpPr>
          <p:spPr bwMode="auto">
            <a:xfrm>
              <a:off x="3255963" y="4951413"/>
              <a:ext cx="26988" cy="123825"/>
            </a:xfrm>
            <a:custGeom>
              <a:avLst/>
              <a:gdLst>
                <a:gd name="T0" fmla="*/ 1 w 18"/>
                <a:gd name="T1" fmla="*/ 0 h 86"/>
                <a:gd name="T2" fmla="*/ 10 w 18"/>
                <a:gd name="T3" fmla="*/ 66 h 86"/>
                <a:gd name="T4" fmla="*/ 10 w 18"/>
                <a:gd name="T5" fmla="*/ 68 h 86"/>
                <a:gd name="T6" fmla="*/ 14 w 18"/>
                <a:gd name="T7" fmla="*/ 80 h 86"/>
                <a:gd name="T8" fmla="*/ 16 w 18"/>
                <a:gd name="T9" fmla="*/ 83 h 86"/>
                <a:gd name="T10" fmla="*/ 17 w 18"/>
                <a:gd name="T11" fmla="*/ 85 h 86"/>
                <a:gd name="T12" fmla="*/ 17 w 18"/>
                <a:gd name="T13" fmla="*/ 85 h 86"/>
                <a:gd name="T14" fmla="*/ 18 w 18"/>
                <a:gd name="T15" fmla="*/ 86 h 86"/>
                <a:gd name="T16" fmla="*/ 16 w 18"/>
                <a:gd name="T17" fmla="*/ 83 h 86"/>
                <a:gd name="T18" fmla="*/ 13 w 18"/>
                <a:gd name="T19" fmla="*/ 75 h 86"/>
                <a:gd name="T20" fmla="*/ 10 w 18"/>
                <a:gd name="T21" fmla="*/ 64 h 86"/>
                <a:gd name="T22" fmla="*/ 9 w 18"/>
                <a:gd name="T23" fmla="*/ 60 h 86"/>
                <a:gd name="T24" fmla="*/ 2 w 18"/>
                <a:gd name="T25" fmla="*/ 20 h 86"/>
                <a:gd name="T26" fmla="*/ 1 w 18"/>
                <a:gd name="T2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86">
                  <a:moveTo>
                    <a:pt x="1" y="0"/>
                  </a:moveTo>
                  <a:cubicBezTo>
                    <a:pt x="0" y="22"/>
                    <a:pt x="5" y="45"/>
                    <a:pt x="10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11" y="72"/>
                    <a:pt x="12" y="76"/>
                    <a:pt x="14" y="80"/>
                  </a:cubicBezTo>
                  <a:cubicBezTo>
                    <a:pt x="14" y="81"/>
                    <a:pt x="15" y="82"/>
                    <a:pt x="16" y="83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6"/>
                    <a:pt x="18" y="86"/>
                    <a:pt x="18" y="86"/>
                  </a:cubicBezTo>
                  <a:cubicBezTo>
                    <a:pt x="18" y="85"/>
                    <a:pt x="17" y="84"/>
                    <a:pt x="16" y="83"/>
                  </a:cubicBezTo>
                  <a:cubicBezTo>
                    <a:pt x="14" y="82"/>
                    <a:pt x="13" y="78"/>
                    <a:pt x="13" y="75"/>
                  </a:cubicBezTo>
                  <a:cubicBezTo>
                    <a:pt x="12" y="71"/>
                    <a:pt x="11" y="68"/>
                    <a:pt x="10" y="64"/>
                  </a:cubicBezTo>
                  <a:cubicBezTo>
                    <a:pt x="10" y="63"/>
                    <a:pt x="10" y="61"/>
                    <a:pt x="9" y="60"/>
                  </a:cubicBezTo>
                  <a:cubicBezTo>
                    <a:pt x="6" y="47"/>
                    <a:pt x="3" y="33"/>
                    <a:pt x="2" y="20"/>
                  </a:cubicBezTo>
                  <a:cubicBezTo>
                    <a:pt x="1" y="13"/>
                    <a:pt x="1" y="7"/>
                    <a:pt x="1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íś1ïdê">
              <a:extLst>
                <a:ext uri="{FF2B5EF4-FFF2-40B4-BE49-F238E27FC236}">
                  <a16:creationId xmlns:a16="http://schemas.microsoft.com/office/drawing/2014/main" id="{41F5F1A3-A4C8-4A33-8B59-4B0837970AC8}"/>
                </a:ext>
              </a:extLst>
            </p:cNvPr>
            <p:cNvSpPr/>
            <p:nvPr/>
          </p:nvSpPr>
          <p:spPr bwMode="auto">
            <a:xfrm>
              <a:off x="3222626" y="4200525"/>
              <a:ext cx="474663" cy="877888"/>
            </a:xfrm>
            <a:custGeom>
              <a:avLst/>
              <a:gdLst>
                <a:gd name="T0" fmla="*/ 165 w 327"/>
                <a:gd name="T1" fmla="*/ 217 h 606"/>
                <a:gd name="T2" fmla="*/ 161 w 327"/>
                <a:gd name="T3" fmla="*/ 265 h 606"/>
                <a:gd name="T4" fmla="*/ 185 w 327"/>
                <a:gd name="T5" fmla="*/ 289 h 606"/>
                <a:gd name="T6" fmla="*/ 176 w 327"/>
                <a:gd name="T7" fmla="*/ 314 h 606"/>
                <a:gd name="T8" fmla="*/ 191 w 327"/>
                <a:gd name="T9" fmla="*/ 376 h 606"/>
                <a:gd name="T10" fmla="*/ 174 w 327"/>
                <a:gd name="T11" fmla="*/ 445 h 606"/>
                <a:gd name="T12" fmla="*/ 165 w 327"/>
                <a:gd name="T13" fmla="*/ 509 h 606"/>
                <a:gd name="T14" fmla="*/ 159 w 327"/>
                <a:gd name="T15" fmla="*/ 513 h 606"/>
                <a:gd name="T16" fmla="*/ 145 w 327"/>
                <a:gd name="T17" fmla="*/ 493 h 606"/>
                <a:gd name="T18" fmla="*/ 143 w 327"/>
                <a:gd name="T19" fmla="*/ 520 h 606"/>
                <a:gd name="T20" fmla="*/ 122 w 327"/>
                <a:gd name="T21" fmla="*/ 534 h 606"/>
                <a:gd name="T22" fmla="*/ 119 w 327"/>
                <a:gd name="T23" fmla="*/ 514 h 606"/>
                <a:gd name="T24" fmla="*/ 97 w 327"/>
                <a:gd name="T25" fmla="*/ 528 h 606"/>
                <a:gd name="T26" fmla="*/ 120 w 327"/>
                <a:gd name="T27" fmla="*/ 466 h 606"/>
                <a:gd name="T28" fmla="*/ 72 w 327"/>
                <a:gd name="T29" fmla="*/ 524 h 606"/>
                <a:gd name="T30" fmla="*/ 59 w 327"/>
                <a:gd name="T31" fmla="*/ 569 h 606"/>
                <a:gd name="T32" fmla="*/ 63 w 327"/>
                <a:gd name="T33" fmla="*/ 588 h 606"/>
                <a:gd name="T34" fmla="*/ 56 w 327"/>
                <a:gd name="T35" fmla="*/ 604 h 606"/>
                <a:gd name="T36" fmla="*/ 40 w 327"/>
                <a:gd name="T37" fmla="*/ 599 h 606"/>
                <a:gd name="T38" fmla="*/ 33 w 327"/>
                <a:gd name="T39" fmla="*/ 582 h 606"/>
                <a:gd name="T40" fmla="*/ 26 w 327"/>
                <a:gd name="T41" fmla="*/ 499 h 606"/>
                <a:gd name="T42" fmla="*/ 30 w 327"/>
                <a:gd name="T43" fmla="*/ 469 h 606"/>
                <a:gd name="T44" fmla="*/ 5 w 327"/>
                <a:gd name="T45" fmla="*/ 409 h 606"/>
                <a:gd name="T46" fmla="*/ 6 w 327"/>
                <a:gd name="T47" fmla="*/ 384 h 606"/>
                <a:gd name="T48" fmla="*/ 17 w 327"/>
                <a:gd name="T49" fmla="*/ 377 h 606"/>
                <a:gd name="T50" fmla="*/ 36 w 327"/>
                <a:gd name="T51" fmla="*/ 342 h 606"/>
                <a:gd name="T52" fmla="*/ 34 w 327"/>
                <a:gd name="T53" fmla="*/ 299 h 606"/>
                <a:gd name="T54" fmla="*/ 22 w 327"/>
                <a:gd name="T55" fmla="*/ 235 h 606"/>
                <a:gd name="T56" fmla="*/ 49 w 327"/>
                <a:gd name="T57" fmla="*/ 176 h 606"/>
                <a:gd name="T58" fmla="*/ 63 w 327"/>
                <a:gd name="T59" fmla="*/ 96 h 606"/>
                <a:gd name="T60" fmla="*/ 67 w 327"/>
                <a:gd name="T61" fmla="*/ 58 h 606"/>
                <a:gd name="T62" fmla="*/ 110 w 327"/>
                <a:gd name="T63" fmla="*/ 41 h 606"/>
                <a:gd name="T64" fmla="*/ 123 w 327"/>
                <a:gd name="T65" fmla="*/ 23 h 606"/>
                <a:gd name="T66" fmla="*/ 171 w 327"/>
                <a:gd name="T67" fmla="*/ 5 h 606"/>
                <a:gd name="T68" fmla="*/ 195 w 327"/>
                <a:gd name="T69" fmla="*/ 15 h 606"/>
                <a:gd name="T70" fmla="*/ 231 w 327"/>
                <a:gd name="T71" fmla="*/ 20 h 606"/>
                <a:gd name="T72" fmla="*/ 262 w 327"/>
                <a:gd name="T73" fmla="*/ 35 h 606"/>
                <a:gd name="T74" fmla="*/ 271 w 327"/>
                <a:gd name="T75" fmla="*/ 52 h 606"/>
                <a:gd name="T76" fmla="*/ 302 w 327"/>
                <a:gd name="T77" fmla="*/ 78 h 606"/>
                <a:gd name="T78" fmla="*/ 320 w 327"/>
                <a:gd name="T79" fmla="*/ 143 h 606"/>
                <a:gd name="T80" fmla="*/ 300 w 327"/>
                <a:gd name="T81" fmla="*/ 194 h 606"/>
                <a:gd name="T82" fmla="*/ 303 w 327"/>
                <a:gd name="T83" fmla="*/ 217 h 606"/>
                <a:gd name="T84" fmla="*/ 259 w 327"/>
                <a:gd name="T85" fmla="*/ 260 h 606"/>
                <a:gd name="T86" fmla="*/ 238 w 327"/>
                <a:gd name="T87" fmla="*/ 174 h 606"/>
                <a:gd name="T88" fmla="*/ 158 w 327"/>
                <a:gd name="T89" fmla="*/ 129 h 606"/>
                <a:gd name="T90" fmla="*/ 146 w 327"/>
                <a:gd name="T91" fmla="*/ 142 h 606"/>
                <a:gd name="T92" fmla="*/ 156 w 327"/>
                <a:gd name="T93" fmla="*/ 164 h 606"/>
                <a:gd name="T94" fmla="*/ 165 w 327"/>
                <a:gd name="T95" fmla="*/ 217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7" h="606">
                  <a:moveTo>
                    <a:pt x="165" y="217"/>
                  </a:moveTo>
                  <a:cubicBezTo>
                    <a:pt x="161" y="233"/>
                    <a:pt x="151" y="252"/>
                    <a:pt x="161" y="265"/>
                  </a:cubicBezTo>
                  <a:cubicBezTo>
                    <a:pt x="168" y="274"/>
                    <a:pt x="183" y="277"/>
                    <a:pt x="185" y="289"/>
                  </a:cubicBezTo>
                  <a:cubicBezTo>
                    <a:pt x="187" y="298"/>
                    <a:pt x="179" y="305"/>
                    <a:pt x="176" y="314"/>
                  </a:cubicBezTo>
                  <a:cubicBezTo>
                    <a:pt x="168" y="335"/>
                    <a:pt x="188" y="355"/>
                    <a:pt x="191" y="376"/>
                  </a:cubicBezTo>
                  <a:cubicBezTo>
                    <a:pt x="195" y="400"/>
                    <a:pt x="177" y="421"/>
                    <a:pt x="174" y="445"/>
                  </a:cubicBezTo>
                  <a:cubicBezTo>
                    <a:pt x="171" y="467"/>
                    <a:pt x="179" y="492"/>
                    <a:pt x="165" y="509"/>
                  </a:cubicBezTo>
                  <a:cubicBezTo>
                    <a:pt x="164" y="511"/>
                    <a:pt x="162" y="512"/>
                    <a:pt x="159" y="513"/>
                  </a:cubicBezTo>
                  <a:cubicBezTo>
                    <a:pt x="150" y="514"/>
                    <a:pt x="152" y="498"/>
                    <a:pt x="145" y="493"/>
                  </a:cubicBezTo>
                  <a:cubicBezTo>
                    <a:pt x="146" y="502"/>
                    <a:pt x="146" y="512"/>
                    <a:pt x="143" y="520"/>
                  </a:cubicBezTo>
                  <a:cubicBezTo>
                    <a:pt x="140" y="529"/>
                    <a:pt x="131" y="536"/>
                    <a:pt x="122" y="534"/>
                  </a:cubicBezTo>
                  <a:cubicBezTo>
                    <a:pt x="119" y="514"/>
                    <a:pt x="119" y="514"/>
                    <a:pt x="119" y="514"/>
                  </a:cubicBezTo>
                  <a:cubicBezTo>
                    <a:pt x="113" y="520"/>
                    <a:pt x="105" y="525"/>
                    <a:pt x="97" y="528"/>
                  </a:cubicBezTo>
                  <a:cubicBezTo>
                    <a:pt x="100" y="506"/>
                    <a:pt x="108" y="485"/>
                    <a:pt x="120" y="466"/>
                  </a:cubicBezTo>
                  <a:cubicBezTo>
                    <a:pt x="97" y="477"/>
                    <a:pt x="83" y="501"/>
                    <a:pt x="72" y="524"/>
                  </a:cubicBezTo>
                  <a:cubicBezTo>
                    <a:pt x="64" y="538"/>
                    <a:pt x="56" y="553"/>
                    <a:pt x="59" y="569"/>
                  </a:cubicBezTo>
                  <a:cubicBezTo>
                    <a:pt x="60" y="575"/>
                    <a:pt x="63" y="581"/>
                    <a:pt x="63" y="588"/>
                  </a:cubicBezTo>
                  <a:cubicBezTo>
                    <a:pt x="64" y="594"/>
                    <a:pt x="62" y="602"/>
                    <a:pt x="56" y="604"/>
                  </a:cubicBezTo>
                  <a:cubicBezTo>
                    <a:pt x="50" y="606"/>
                    <a:pt x="43" y="604"/>
                    <a:pt x="40" y="599"/>
                  </a:cubicBezTo>
                  <a:cubicBezTo>
                    <a:pt x="36" y="594"/>
                    <a:pt x="34" y="588"/>
                    <a:pt x="33" y="582"/>
                  </a:cubicBezTo>
                  <a:cubicBezTo>
                    <a:pt x="27" y="555"/>
                    <a:pt x="21" y="527"/>
                    <a:pt x="26" y="499"/>
                  </a:cubicBezTo>
                  <a:cubicBezTo>
                    <a:pt x="27" y="489"/>
                    <a:pt x="30" y="479"/>
                    <a:pt x="30" y="469"/>
                  </a:cubicBezTo>
                  <a:cubicBezTo>
                    <a:pt x="29" y="447"/>
                    <a:pt x="13" y="429"/>
                    <a:pt x="5" y="409"/>
                  </a:cubicBezTo>
                  <a:cubicBezTo>
                    <a:pt x="2" y="401"/>
                    <a:pt x="0" y="391"/>
                    <a:pt x="6" y="384"/>
                  </a:cubicBezTo>
                  <a:cubicBezTo>
                    <a:pt x="9" y="382"/>
                    <a:pt x="13" y="379"/>
                    <a:pt x="17" y="377"/>
                  </a:cubicBezTo>
                  <a:cubicBezTo>
                    <a:pt x="28" y="370"/>
                    <a:pt x="33" y="356"/>
                    <a:pt x="36" y="342"/>
                  </a:cubicBezTo>
                  <a:cubicBezTo>
                    <a:pt x="38" y="328"/>
                    <a:pt x="37" y="313"/>
                    <a:pt x="34" y="299"/>
                  </a:cubicBezTo>
                  <a:cubicBezTo>
                    <a:pt x="30" y="277"/>
                    <a:pt x="19" y="256"/>
                    <a:pt x="22" y="235"/>
                  </a:cubicBezTo>
                  <a:cubicBezTo>
                    <a:pt x="24" y="213"/>
                    <a:pt x="39" y="196"/>
                    <a:pt x="49" y="176"/>
                  </a:cubicBezTo>
                  <a:cubicBezTo>
                    <a:pt x="62" y="152"/>
                    <a:pt x="66" y="123"/>
                    <a:pt x="63" y="96"/>
                  </a:cubicBezTo>
                  <a:cubicBezTo>
                    <a:pt x="61" y="83"/>
                    <a:pt x="58" y="68"/>
                    <a:pt x="67" y="58"/>
                  </a:cubicBezTo>
                  <a:cubicBezTo>
                    <a:pt x="77" y="47"/>
                    <a:pt x="98" y="51"/>
                    <a:pt x="110" y="41"/>
                  </a:cubicBezTo>
                  <a:cubicBezTo>
                    <a:pt x="115" y="36"/>
                    <a:pt x="118" y="29"/>
                    <a:pt x="123" y="23"/>
                  </a:cubicBezTo>
                  <a:cubicBezTo>
                    <a:pt x="134" y="7"/>
                    <a:pt x="153" y="0"/>
                    <a:pt x="171" y="5"/>
                  </a:cubicBezTo>
                  <a:cubicBezTo>
                    <a:pt x="180" y="8"/>
                    <a:pt x="187" y="12"/>
                    <a:pt x="195" y="15"/>
                  </a:cubicBezTo>
                  <a:cubicBezTo>
                    <a:pt x="207" y="19"/>
                    <a:pt x="219" y="18"/>
                    <a:pt x="231" y="20"/>
                  </a:cubicBezTo>
                  <a:cubicBezTo>
                    <a:pt x="243" y="21"/>
                    <a:pt x="256" y="25"/>
                    <a:pt x="262" y="35"/>
                  </a:cubicBezTo>
                  <a:cubicBezTo>
                    <a:pt x="266" y="40"/>
                    <a:pt x="268" y="47"/>
                    <a:pt x="271" y="52"/>
                  </a:cubicBezTo>
                  <a:cubicBezTo>
                    <a:pt x="278" y="64"/>
                    <a:pt x="292" y="69"/>
                    <a:pt x="302" y="78"/>
                  </a:cubicBezTo>
                  <a:cubicBezTo>
                    <a:pt x="321" y="95"/>
                    <a:pt x="327" y="120"/>
                    <a:pt x="320" y="143"/>
                  </a:cubicBezTo>
                  <a:cubicBezTo>
                    <a:pt x="313" y="161"/>
                    <a:pt x="299" y="176"/>
                    <a:pt x="300" y="194"/>
                  </a:cubicBezTo>
                  <a:cubicBezTo>
                    <a:pt x="301" y="202"/>
                    <a:pt x="304" y="209"/>
                    <a:pt x="303" y="217"/>
                  </a:cubicBezTo>
                  <a:cubicBezTo>
                    <a:pt x="300" y="237"/>
                    <a:pt x="270" y="242"/>
                    <a:pt x="259" y="260"/>
                  </a:cubicBezTo>
                  <a:cubicBezTo>
                    <a:pt x="260" y="230"/>
                    <a:pt x="255" y="199"/>
                    <a:pt x="238" y="174"/>
                  </a:cubicBezTo>
                  <a:cubicBezTo>
                    <a:pt x="225" y="154"/>
                    <a:pt x="186" y="119"/>
                    <a:pt x="158" y="129"/>
                  </a:cubicBezTo>
                  <a:cubicBezTo>
                    <a:pt x="152" y="131"/>
                    <a:pt x="148" y="136"/>
                    <a:pt x="146" y="142"/>
                  </a:cubicBezTo>
                  <a:cubicBezTo>
                    <a:pt x="144" y="152"/>
                    <a:pt x="151" y="156"/>
                    <a:pt x="156" y="164"/>
                  </a:cubicBezTo>
                  <a:cubicBezTo>
                    <a:pt x="166" y="180"/>
                    <a:pt x="169" y="199"/>
                    <a:pt x="165" y="217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íšḻídé">
              <a:extLst>
                <a:ext uri="{FF2B5EF4-FFF2-40B4-BE49-F238E27FC236}">
                  <a16:creationId xmlns:a16="http://schemas.microsoft.com/office/drawing/2014/main" id="{55FA3CD8-B5CD-4C84-81F9-5AC987817403}"/>
                </a:ext>
              </a:extLst>
            </p:cNvPr>
            <p:cNvSpPr/>
            <p:nvPr/>
          </p:nvSpPr>
          <p:spPr bwMode="auto">
            <a:xfrm>
              <a:off x="3254376" y="4545013"/>
              <a:ext cx="22225" cy="120650"/>
            </a:xfrm>
            <a:custGeom>
              <a:avLst/>
              <a:gdLst>
                <a:gd name="T0" fmla="*/ 1 w 16"/>
                <a:gd name="T1" fmla="*/ 0 h 83"/>
                <a:gd name="T2" fmla="*/ 14 w 16"/>
                <a:gd name="T3" fmla="*/ 60 h 83"/>
                <a:gd name="T4" fmla="*/ 16 w 16"/>
                <a:gd name="T5" fmla="*/ 83 h 83"/>
                <a:gd name="T6" fmla="*/ 14 w 16"/>
                <a:gd name="T7" fmla="*/ 55 h 83"/>
                <a:gd name="T8" fmla="*/ 1 w 16"/>
                <a:gd name="T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83">
                  <a:moveTo>
                    <a:pt x="1" y="0"/>
                  </a:moveTo>
                  <a:cubicBezTo>
                    <a:pt x="0" y="21"/>
                    <a:pt x="9" y="40"/>
                    <a:pt x="14" y="60"/>
                  </a:cubicBezTo>
                  <a:cubicBezTo>
                    <a:pt x="15" y="68"/>
                    <a:pt x="16" y="75"/>
                    <a:pt x="16" y="83"/>
                  </a:cubicBezTo>
                  <a:cubicBezTo>
                    <a:pt x="16" y="73"/>
                    <a:pt x="15" y="64"/>
                    <a:pt x="14" y="55"/>
                  </a:cubicBezTo>
                  <a:cubicBezTo>
                    <a:pt x="10" y="36"/>
                    <a:pt x="2" y="19"/>
                    <a:pt x="1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î$liḑê">
              <a:extLst>
                <a:ext uri="{FF2B5EF4-FFF2-40B4-BE49-F238E27FC236}">
                  <a16:creationId xmlns:a16="http://schemas.microsoft.com/office/drawing/2014/main" id="{72140D20-BB75-4790-97C9-5D56673EA58F}"/>
                </a:ext>
              </a:extLst>
            </p:cNvPr>
            <p:cNvSpPr/>
            <p:nvPr/>
          </p:nvSpPr>
          <p:spPr bwMode="auto">
            <a:xfrm>
              <a:off x="3335338" y="4879975"/>
              <a:ext cx="53975" cy="65088"/>
            </a:xfrm>
            <a:custGeom>
              <a:avLst/>
              <a:gdLst>
                <a:gd name="T0" fmla="*/ 8 w 38"/>
                <a:gd name="T1" fmla="*/ 31 h 45"/>
                <a:gd name="T2" fmla="*/ 0 w 38"/>
                <a:gd name="T3" fmla="*/ 45 h 45"/>
                <a:gd name="T4" fmla="*/ 8 w 38"/>
                <a:gd name="T5" fmla="*/ 31 h 45"/>
                <a:gd name="T6" fmla="*/ 8 w 38"/>
                <a:gd name="T7" fmla="*/ 31 h 45"/>
                <a:gd name="T8" fmla="*/ 38 w 38"/>
                <a:gd name="T9" fmla="*/ 0 h 45"/>
                <a:gd name="T10" fmla="*/ 12 w 38"/>
                <a:gd name="T11" fmla="*/ 24 h 45"/>
                <a:gd name="T12" fmla="*/ 13 w 38"/>
                <a:gd name="T13" fmla="*/ 24 h 45"/>
                <a:gd name="T14" fmla="*/ 38 w 38"/>
                <a:gd name="T15" fmla="*/ 0 h 45"/>
                <a:gd name="T16" fmla="*/ 38 w 38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5">
                  <a:moveTo>
                    <a:pt x="8" y="31"/>
                  </a:moveTo>
                  <a:cubicBezTo>
                    <a:pt x="5" y="36"/>
                    <a:pt x="2" y="40"/>
                    <a:pt x="0" y="45"/>
                  </a:cubicBezTo>
                  <a:cubicBezTo>
                    <a:pt x="2" y="40"/>
                    <a:pt x="5" y="36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moveTo>
                    <a:pt x="38" y="0"/>
                  </a:moveTo>
                  <a:cubicBezTo>
                    <a:pt x="28" y="6"/>
                    <a:pt x="20" y="15"/>
                    <a:pt x="12" y="24"/>
                  </a:cubicBezTo>
                  <a:cubicBezTo>
                    <a:pt x="12" y="24"/>
                    <a:pt x="12" y="24"/>
                    <a:pt x="13" y="24"/>
                  </a:cubicBezTo>
                  <a:cubicBezTo>
                    <a:pt x="20" y="15"/>
                    <a:pt x="28" y="6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solidFill>
              <a:srgbClr val="2F5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ïşḷîḍè">
              <a:extLst>
                <a:ext uri="{FF2B5EF4-FFF2-40B4-BE49-F238E27FC236}">
                  <a16:creationId xmlns:a16="http://schemas.microsoft.com/office/drawing/2014/main" id="{D9D57295-C26B-484F-936B-82973EC4C7DC}"/>
                </a:ext>
              </a:extLst>
            </p:cNvPr>
            <p:cNvSpPr/>
            <p:nvPr/>
          </p:nvSpPr>
          <p:spPr bwMode="auto">
            <a:xfrm>
              <a:off x="3346451" y="4914900"/>
              <a:ext cx="7938" cy="9525"/>
            </a:xfrm>
            <a:custGeom>
              <a:avLst/>
              <a:gdLst>
                <a:gd name="T0" fmla="*/ 4 w 5"/>
                <a:gd name="T1" fmla="*/ 0 h 7"/>
                <a:gd name="T2" fmla="*/ 0 w 5"/>
                <a:gd name="T3" fmla="*/ 7 h 7"/>
                <a:gd name="T4" fmla="*/ 0 w 5"/>
                <a:gd name="T5" fmla="*/ 7 h 7"/>
                <a:gd name="T6" fmla="*/ 5 w 5"/>
                <a:gd name="T7" fmla="*/ 0 h 7"/>
                <a:gd name="T8" fmla="*/ 4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4" y="0"/>
                  </a:moveTo>
                  <a:cubicBezTo>
                    <a:pt x="3" y="3"/>
                    <a:pt x="1" y="5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5"/>
                    <a:pt x="3" y="3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2A56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işľíḓè">
              <a:extLst>
                <a:ext uri="{FF2B5EF4-FFF2-40B4-BE49-F238E27FC236}">
                  <a16:creationId xmlns:a16="http://schemas.microsoft.com/office/drawing/2014/main" id="{E44B4329-9B91-4C79-805B-C608B8AD1E0D}"/>
                </a:ext>
              </a:extLst>
            </p:cNvPr>
            <p:cNvSpPr/>
            <p:nvPr/>
          </p:nvSpPr>
          <p:spPr bwMode="auto">
            <a:xfrm>
              <a:off x="3308351" y="4965700"/>
              <a:ext cx="14288" cy="44450"/>
            </a:xfrm>
            <a:custGeom>
              <a:avLst/>
              <a:gdLst>
                <a:gd name="T0" fmla="*/ 10 w 10"/>
                <a:gd name="T1" fmla="*/ 0 h 31"/>
                <a:gd name="T2" fmla="*/ 0 w 10"/>
                <a:gd name="T3" fmla="*/ 31 h 31"/>
                <a:gd name="T4" fmla="*/ 0 w 10"/>
                <a:gd name="T5" fmla="*/ 31 h 31"/>
                <a:gd name="T6" fmla="*/ 10 w 10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1">
                  <a:moveTo>
                    <a:pt x="10" y="0"/>
                  </a:moveTo>
                  <a:cubicBezTo>
                    <a:pt x="5" y="10"/>
                    <a:pt x="0" y="20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21"/>
                    <a:pt x="5" y="10"/>
                    <a:pt x="10" y="0"/>
                  </a:cubicBezTo>
                </a:path>
              </a:pathLst>
            </a:custGeom>
            <a:solidFill>
              <a:srgbClr val="2F5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íšḻîḋê">
              <a:extLst>
                <a:ext uri="{FF2B5EF4-FFF2-40B4-BE49-F238E27FC236}">
                  <a16:creationId xmlns:a16="http://schemas.microsoft.com/office/drawing/2014/main" id="{2EA074E9-5BCF-4366-8B3C-6D6AF599C3A2}"/>
                </a:ext>
              </a:extLst>
            </p:cNvPr>
            <p:cNvSpPr/>
            <p:nvPr/>
          </p:nvSpPr>
          <p:spPr bwMode="auto">
            <a:xfrm>
              <a:off x="3306763" y="4867275"/>
              <a:ext cx="90488" cy="142875"/>
            </a:xfrm>
            <a:custGeom>
              <a:avLst/>
              <a:gdLst>
                <a:gd name="T0" fmla="*/ 62 w 62"/>
                <a:gd name="T1" fmla="*/ 0 h 99"/>
                <a:gd name="T2" fmla="*/ 14 w 62"/>
                <a:gd name="T3" fmla="*/ 58 h 99"/>
                <a:gd name="T4" fmla="*/ 1 w 62"/>
                <a:gd name="T5" fmla="*/ 99 h 99"/>
                <a:gd name="T6" fmla="*/ 11 w 62"/>
                <a:gd name="T7" fmla="*/ 68 h 99"/>
                <a:gd name="T8" fmla="*/ 14 w 62"/>
                <a:gd name="T9" fmla="*/ 63 h 99"/>
                <a:gd name="T10" fmla="*/ 19 w 62"/>
                <a:gd name="T11" fmla="*/ 54 h 99"/>
                <a:gd name="T12" fmla="*/ 27 w 62"/>
                <a:gd name="T13" fmla="*/ 40 h 99"/>
                <a:gd name="T14" fmla="*/ 31 w 62"/>
                <a:gd name="T15" fmla="*/ 33 h 99"/>
                <a:gd name="T16" fmla="*/ 57 w 62"/>
                <a:gd name="T17" fmla="*/ 9 h 99"/>
                <a:gd name="T18" fmla="*/ 62 w 62"/>
                <a:gd name="T1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99">
                  <a:moveTo>
                    <a:pt x="62" y="0"/>
                  </a:moveTo>
                  <a:cubicBezTo>
                    <a:pt x="39" y="11"/>
                    <a:pt x="26" y="35"/>
                    <a:pt x="14" y="58"/>
                  </a:cubicBezTo>
                  <a:cubicBezTo>
                    <a:pt x="7" y="71"/>
                    <a:pt x="0" y="85"/>
                    <a:pt x="1" y="99"/>
                  </a:cubicBezTo>
                  <a:cubicBezTo>
                    <a:pt x="1" y="88"/>
                    <a:pt x="6" y="78"/>
                    <a:pt x="11" y="68"/>
                  </a:cubicBezTo>
                  <a:cubicBezTo>
                    <a:pt x="12" y="67"/>
                    <a:pt x="13" y="65"/>
                    <a:pt x="14" y="63"/>
                  </a:cubicBezTo>
                  <a:cubicBezTo>
                    <a:pt x="15" y="60"/>
                    <a:pt x="17" y="57"/>
                    <a:pt x="19" y="54"/>
                  </a:cubicBezTo>
                  <a:cubicBezTo>
                    <a:pt x="21" y="49"/>
                    <a:pt x="24" y="45"/>
                    <a:pt x="27" y="40"/>
                  </a:cubicBezTo>
                  <a:cubicBezTo>
                    <a:pt x="28" y="38"/>
                    <a:pt x="30" y="36"/>
                    <a:pt x="31" y="33"/>
                  </a:cubicBezTo>
                  <a:cubicBezTo>
                    <a:pt x="39" y="24"/>
                    <a:pt x="47" y="15"/>
                    <a:pt x="57" y="9"/>
                  </a:cubicBezTo>
                  <a:cubicBezTo>
                    <a:pt x="59" y="6"/>
                    <a:pt x="60" y="3"/>
                    <a:pt x="62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îŝliḑé">
              <a:extLst>
                <a:ext uri="{FF2B5EF4-FFF2-40B4-BE49-F238E27FC236}">
                  <a16:creationId xmlns:a16="http://schemas.microsoft.com/office/drawing/2014/main" id="{D5ABA952-F41E-432B-B40A-518BE4BC9E11}"/>
                </a:ext>
              </a:extLst>
            </p:cNvPr>
            <p:cNvSpPr/>
            <p:nvPr/>
          </p:nvSpPr>
          <p:spPr bwMode="auto">
            <a:xfrm>
              <a:off x="3259138" y="4979988"/>
              <a:ext cx="11113" cy="57150"/>
            </a:xfrm>
            <a:custGeom>
              <a:avLst/>
              <a:gdLst>
                <a:gd name="T0" fmla="*/ 0 w 7"/>
                <a:gd name="T1" fmla="*/ 0 h 40"/>
                <a:gd name="T2" fmla="*/ 7 w 7"/>
                <a:gd name="T3" fmla="*/ 40 h 40"/>
                <a:gd name="T4" fmla="*/ 0 w 7"/>
                <a:gd name="T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0">
                  <a:moveTo>
                    <a:pt x="0" y="0"/>
                  </a:moveTo>
                  <a:cubicBezTo>
                    <a:pt x="1" y="13"/>
                    <a:pt x="4" y="27"/>
                    <a:pt x="7" y="40"/>
                  </a:cubicBezTo>
                  <a:cubicBezTo>
                    <a:pt x="4" y="27"/>
                    <a:pt x="1" y="13"/>
                    <a:pt x="0" y="0"/>
                  </a:cubicBezTo>
                </a:path>
              </a:pathLst>
            </a:custGeom>
            <a:solidFill>
              <a:srgbClr val="2F5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íŝ1ïḓé">
              <a:extLst>
                <a:ext uri="{FF2B5EF4-FFF2-40B4-BE49-F238E27FC236}">
                  <a16:creationId xmlns:a16="http://schemas.microsoft.com/office/drawing/2014/main" id="{12B6F290-F153-4934-B333-D8C11BC5234D}"/>
                </a:ext>
              </a:extLst>
            </p:cNvPr>
            <p:cNvSpPr/>
            <p:nvPr/>
          </p:nvSpPr>
          <p:spPr bwMode="auto">
            <a:xfrm>
              <a:off x="3314701" y="5051425"/>
              <a:ext cx="1588" cy="9525"/>
            </a:xfrm>
            <a:custGeom>
              <a:avLst/>
              <a:gdLst>
                <a:gd name="T0" fmla="*/ 0 w 1"/>
                <a:gd name="T1" fmla="*/ 0 h 7"/>
                <a:gd name="T2" fmla="*/ 0 w 1"/>
                <a:gd name="T3" fmla="*/ 0 h 7"/>
                <a:gd name="T4" fmla="*/ 0 w 1"/>
                <a:gd name="T5" fmla="*/ 1 h 7"/>
                <a:gd name="T6" fmla="*/ 0 w 1"/>
                <a:gd name="T7" fmla="*/ 6 h 7"/>
                <a:gd name="T8" fmla="*/ 0 w 1"/>
                <a:gd name="T9" fmla="*/ 7 h 7"/>
                <a:gd name="T10" fmla="*/ 0 w 1"/>
                <a:gd name="T11" fmla="*/ 1 h 7"/>
                <a:gd name="T12" fmla="*/ 0 w 1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1" y="5"/>
                    <a:pt x="1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ïsḻîďè">
              <a:extLst>
                <a:ext uri="{FF2B5EF4-FFF2-40B4-BE49-F238E27FC236}">
                  <a16:creationId xmlns:a16="http://schemas.microsoft.com/office/drawing/2014/main" id="{59DAFF50-40A8-4D64-BBA6-97F64E57A307}"/>
                </a:ext>
              </a:extLst>
            </p:cNvPr>
            <p:cNvSpPr/>
            <p:nvPr/>
          </p:nvSpPr>
          <p:spPr bwMode="auto">
            <a:xfrm>
              <a:off x="3294063" y="5059363"/>
              <a:ext cx="20638" cy="17463"/>
            </a:xfrm>
            <a:custGeom>
              <a:avLst/>
              <a:gdLst>
                <a:gd name="T0" fmla="*/ 14 w 14"/>
                <a:gd name="T1" fmla="*/ 0 h 12"/>
                <a:gd name="T2" fmla="*/ 7 w 14"/>
                <a:gd name="T3" fmla="*/ 11 h 12"/>
                <a:gd name="T4" fmla="*/ 2 w 14"/>
                <a:gd name="T5" fmla="*/ 12 h 12"/>
                <a:gd name="T6" fmla="*/ 0 w 14"/>
                <a:gd name="T7" fmla="*/ 12 h 12"/>
                <a:gd name="T8" fmla="*/ 2 w 14"/>
                <a:gd name="T9" fmla="*/ 12 h 12"/>
                <a:gd name="T10" fmla="*/ 7 w 14"/>
                <a:gd name="T11" fmla="*/ 11 h 12"/>
                <a:gd name="T12" fmla="*/ 14 w 14"/>
                <a:gd name="T13" fmla="*/ 1 h 12"/>
                <a:gd name="T14" fmla="*/ 14 w 14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2">
                  <a:moveTo>
                    <a:pt x="14" y="0"/>
                  </a:moveTo>
                  <a:cubicBezTo>
                    <a:pt x="13" y="5"/>
                    <a:pt x="11" y="9"/>
                    <a:pt x="7" y="11"/>
                  </a:cubicBezTo>
                  <a:cubicBezTo>
                    <a:pt x="5" y="12"/>
                    <a:pt x="4" y="12"/>
                    <a:pt x="2" y="12"/>
                  </a:cubicBezTo>
                  <a:cubicBezTo>
                    <a:pt x="1" y="12"/>
                    <a:pt x="1" y="12"/>
                    <a:pt x="0" y="12"/>
                  </a:cubicBezTo>
                  <a:cubicBezTo>
                    <a:pt x="1" y="12"/>
                    <a:pt x="1" y="12"/>
                    <a:pt x="2" y="12"/>
                  </a:cubicBezTo>
                  <a:cubicBezTo>
                    <a:pt x="4" y="12"/>
                    <a:pt x="5" y="12"/>
                    <a:pt x="7" y="11"/>
                  </a:cubicBezTo>
                  <a:cubicBezTo>
                    <a:pt x="11" y="10"/>
                    <a:pt x="13" y="5"/>
                    <a:pt x="14" y="1"/>
                  </a:cubicBezTo>
                  <a:cubicBezTo>
                    <a:pt x="14" y="1"/>
                    <a:pt x="14" y="0"/>
                    <a:pt x="14" y="0"/>
                  </a:cubicBezTo>
                </a:path>
              </a:pathLst>
            </a:custGeom>
            <a:solidFill>
              <a:srgbClr val="2F5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šḻîḑe">
              <a:extLst>
                <a:ext uri="{FF2B5EF4-FFF2-40B4-BE49-F238E27FC236}">
                  <a16:creationId xmlns:a16="http://schemas.microsoft.com/office/drawing/2014/main" id="{7401B808-3B61-4B33-ACCD-43A4600E1310}"/>
                </a:ext>
              </a:extLst>
            </p:cNvPr>
            <p:cNvSpPr/>
            <p:nvPr/>
          </p:nvSpPr>
          <p:spPr bwMode="auto">
            <a:xfrm>
              <a:off x="3257551" y="4949825"/>
              <a:ext cx="57150" cy="127000"/>
            </a:xfrm>
            <a:custGeom>
              <a:avLst/>
              <a:gdLst>
                <a:gd name="T0" fmla="*/ 0 w 39"/>
                <a:gd name="T1" fmla="*/ 0 h 88"/>
                <a:gd name="T2" fmla="*/ 1 w 39"/>
                <a:gd name="T3" fmla="*/ 21 h 88"/>
                <a:gd name="T4" fmla="*/ 8 w 39"/>
                <a:gd name="T5" fmla="*/ 61 h 88"/>
                <a:gd name="T6" fmla="*/ 9 w 39"/>
                <a:gd name="T7" fmla="*/ 65 h 88"/>
                <a:gd name="T8" fmla="*/ 16 w 39"/>
                <a:gd name="T9" fmla="*/ 82 h 88"/>
                <a:gd name="T10" fmla="*/ 25 w 39"/>
                <a:gd name="T11" fmla="*/ 88 h 88"/>
                <a:gd name="T12" fmla="*/ 27 w 39"/>
                <a:gd name="T13" fmla="*/ 88 h 88"/>
                <a:gd name="T14" fmla="*/ 32 w 39"/>
                <a:gd name="T15" fmla="*/ 87 h 88"/>
                <a:gd name="T16" fmla="*/ 39 w 39"/>
                <a:gd name="T17" fmla="*/ 76 h 88"/>
                <a:gd name="T18" fmla="*/ 39 w 39"/>
                <a:gd name="T19" fmla="*/ 71 h 88"/>
                <a:gd name="T20" fmla="*/ 39 w 39"/>
                <a:gd name="T21" fmla="*/ 70 h 88"/>
                <a:gd name="T22" fmla="*/ 32 w 39"/>
                <a:gd name="T23" fmla="*/ 81 h 88"/>
                <a:gd name="T24" fmla="*/ 27 w 39"/>
                <a:gd name="T25" fmla="*/ 82 h 88"/>
                <a:gd name="T26" fmla="*/ 16 w 39"/>
                <a:gd name="T27" fmla="*/ 76 h 88"/>
                <a:gd name="T28" fmla="*/ 9 w 39"/>
                <a:gd name="T29" fmla="*/ 59 h 88"/>
                <a:gd name="T30" fmla="*/ 0 w 39"/>
                <a:gd name="T3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88">
                  <a:moveTo>
                    <a:pt x="0" y="0"/>
                  </a:moveTo>
                  <a:cubicBezTo>
                    <a:pt x="0" y="7"/>
                    <a:pt x="0" y="14"/>
                    <a:pt x="1" y="21"/>
                  </a:cubicBezTo>
                  <a:cubicBezTo>
                    <a:pt x="2" y="34"/>
                    <a:pt x="5" y="48"/>
                    <a:pt x="8" y="61"/>
                  </a:cubicBezTo>
                  <a:cubicBezTo>
                    <a:pt x="9" y="62"/>
                    <a:pt x="9" y="64"/>
                    <a:pt x="9" y="65"/>
                  </a:cubicBezTo>
                  <a:cubicBezTo>
                    <a:pt x="10" y="71"/>
                    <a:pt x="12" y="77"/>
                    <a:pt x="16" y="82"/>
                  </a:cubicBezTo>
                  <a:cubicBezTo>
                    <a:pt x="18" y="85"/>
                    <a:pt x="21" y="87"/>
                    <a:pt x="25" y="88"/>
                  </a:cubicBezTo>
                  <a:cubicBezTo>
                    <a:pt x="26" y="88"/>
                    <a:pt x="26" y="88"/>
                    <a:pt x="27" y="88"/>
                  </a:cubicBezTo>
                  <a:cubicBezTo>
                    <a:pt x="29" y="88"/>
                    <a:pt x="30" y="88"/>
                    <a:pt x="32" y="87"/>
                  </a:cubicBezTo>
                  <a:cubicBezTo>
                    <a:pt x="36" y="85"/>
                    <a:pt x="38" y="81"/>
                    <a:pt x="39" y="76"/>
                  </a:cubicBezTo>
                  <a:cubicBezTo>
                    <a:pt x="39" y="74"/>
                    <a:pt x="39" y="72"/>
                    <a:pt x="39" y="71"/>
                  </a:cubicBezTo>
                  <a:cubicBezTo>
                    <a:pt x="39" y="71"/>
                    <a:pt x="39" y="70"/>
                    <a:pt x="39" y="70"/>
                  </a:cubicBezTo>
                  <a:cubicBezTo>
                    <a:pt x="39" y="75"/>
                    <a:pt x="36" y="79"/>
                    <a:pt x="32" y="81"/>
                  </a:cubicBezTo>
                  <a:cubicBezTo>
                    <a:pt x="30" y="82"/>
                    <a:pt x="29" y="82"/>
                    <a:pt x="27" y="82"/>
                  </a:cubicBezTo>
                  <a:cubicBezTo>
                    <a:pt x="23" y="82"/>
                    <a:pt x="18" y="80"/>
                    <a:pt x="16" y="76"/>
                  </a:cubicBezTo>
                  <a:cubicBezTo>
                    <a:pt x="12" y="71"/>
                    <a:pt x="10" y="65"/>
                    <a:pt x="9" y="59"/>
                  </a:cubicBezTo>
                  <a:cubicBezTo>
                    <a:pt x="4" y="40"/>
                    <a:pt x="1" y="20"/>
                    <a:pt x="0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îş1íďe">
              <a:extLst>
                <a:ext uri="{FF2B5EF4-FFF2-40B4-BE49-F238E27FC236}">
                  <a16:creationId xmlns:a16="http://schemas.microsoft.com/office/drawing/2014/main" id="{87DD2F87-2A24-4AAF-9FA9-21E5DA5A77E6}"/>
                </a:ext>
              </a:extLst>
            </p:cNvPr>
            <p:cNvSpPr/>
            <p:nvPr/>
          </p:nvSpPr>
          <p:spPr bwMode="auto">
            <a:xfrm>
              <a:off x="3465513" y="4487863"/>
              <a:ext cx="0" cy="7938"/>
            </a:xfrm>
            <a:custGeom>
              <a:avLst/>
              <a:gdLst>
                <a:gd name="T0" fmla="*/ 0 h 6"/>
                <a:gd name="T1" fmla="*/ 2 h 6"/>
                <a:gd name="T2" fmla="*/ 6 h 6"/>
                <a:gd name="T3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</a:path>
              </a:pathLst>
            </a:custGeom>
            <a:solidFill>
              <a:srgbClr val="C9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îS1íḍê">
              <a:extLst>
                <a:ext uri="{FF2B5EF4-FFF2-40B4-BE49-F238E27FC236}">
                  <a16:creationId xmlns:a16="http://schemas.microsoft.com/office/drawing/2014/main" id="{B011F830-F21A-47EA-985C-3DB9BD244969}"/>
                </a:ext>
              </a:extLst>
            </p:cNvPr>
            <p:cNvSpPr/>
            <p:nvPr/>
          </p:nvSpPr>
          <p:spPr bwMode="auto">
            <a:xfrm>
              <a:off x="3451226" y="4491038"/>
              <a:ext cx="14288" cy="68263"/>
            </a:xfrm>
            <a:custGeom>
              <a:avLst/>
              <a:gdLst>
                <a:gd name="T0" fmla="*/ 10 w 10"/>
                <a:gd name="T1" fmla="*/ 0 h 48"/>
                <a:gd name="T2" fmla="*/ 10 w 10"/>
                <a:gd name="T3" fmla="*/ 0 h 48"/>
                <a:gd name="T4" fmla="*/ 8 w 10"/>
                <a:gd name="T5" fmla="*/ 17 h 48"/>
                <a:gd name="T6" fmla="*/ 0 w 10"/>
                <a:gd name="T7" fmla="*/ 48 h 48"/>
                <a:gd name="T8" fmla="*/ 0 w 10"/>
                <a:gd name="T9" fmla="*/ 48 h 48"/>
                <a:gd name="T10" fmla="*/ 8 w 10"/>
                <a:gd name="T11" fmla="*/ 17 h 48"/>
                <a:gd name="T12" fmla="*/ 10 w 10"/>
                <a:gd name="T13" fmla="*/ 4 h 48"/>
                <a:gd name="T14" fmla="*/ 10 w 10"/>
                <a:gd name="T1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48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9" y="12"/>
                    <a:pt x="8" y="17"/>
                  </a:cubicBezTo>
                  <a:cubicBezTo>
                    <a:pt x="5" y="27"/>
                    <a:pt x="1" y="3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" y="38"/>
                    <a:pt x="5" y="27"/>
                    <a:pt x="8" y="17"/>
                  </a:cubicBezTo>
                  <a:cubicBezTo>
                    <a:pt x="9" y="13"/>
                    <a:pt x="10" y="8"/>
                    <a:pt x="10" y="4"/>
                  </a:cubicBezTo>
                  <a:cubicBezTo>
                    <a:pt x="10" y="3"/>
                    <a:pt x="10" y="1"/>
                    <a:pt x="10" y="0"/>
                  </a:cubicBezTo>
                </a:path>
              </a:pathLst>
            </a:custGeom>
            <a:solidFill>
              <a:srgbClr val="B48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îŝľiḋé">
              <a:extLst>
                <a:ext uri="{FF2B5EF4-FFF2-40B4-BE49-F238E27FC236}">
                  <a16:creationId xmlns:a16="http://schemas.microsoft.com/office/drawing/2014/main" id="{5FD97804-CFC5-49C0-9B1A-36292C60F759}"/>
                </a:ext>
              </a:extLst>
            </p:cNvPr>
            <p:cNvSpPr/>
            <p:nvPr/>
          </p:nvSpPr>
          <p:spPr bwMode="auto">
            <a:xfrm>
              <a:off x="3449638" y="4491038"/>
              <a:ext cx="15875" cy="68263"/>
            </a:xfrm>
            <a:custGeom>
              <a:avLst/>
              <a:gdLst>
                <a:gd name="T0" fmla="*/ 11 w 11"/>
                <a:gd name="T1" fmla="*/ 0 h 48"/>
                <a:gd name="T2" fmla="*/ 9 w 11"/>
                <a:gd name="T3" fmla="*/ 12 h 48"/>
                <a:gd name="T4" fmla="*/ 1 w 11"/>
                <a:gd name="T5" fmla="*/ 48 h 48"/>
                <a:gd name="T6" fmla="*/ 9 w 11"/>
                <a:gd name="T7" fmla="*/ 17 h 48"/>
                <a:gd name="T8" fmla="*/ 11 w 11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48">
                  <a:moveTo>
                    <a:pt x="11" y="0"/>
                  </a:moveTo>
                  <a:cubicBezTo>
                    <a:pt x="11" y="4"/>
                    <a:pt x="10" y="8"/>
                    <a:pt x="9" y="12"/>
                  </a:cubicBezTo>
                  <a:cubicBezTo>
                    <a:pt x="6" y="23"/>
                    <a:pt x="0" y="37"/>
                    <a:pt x="1" y="48"/>
                  </a:cubicBezTo>
                  <a:cubicBezTo>
                    <a:pt x="2" y="38"/>
                    <a:pt x="6" y="27"/>
                    <a:pt x="9" y="17"/>
                  </a:cubicBezTo>
                  <a:cubicBezTo>
                    <a:pt x="10" y="12"/>
                    <a:pt x="11" y="6"/>
                    <a:pt x="11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í$1ïḑé">
              <a:extLst>
                <a:ext uri="{FF2B5EF4-FFF2-40B4-BE49-F238E27FC236}">
                  <a16:creationId xmlns:a16="http://schemas.microsoft.com/office/drawing/2014/main" id="{AE70483F-BD4C-4DE0-8328-199E7575144E}"/>
                </a:ext>
              </a:extLst>
            </p:cNvPr>
            <p:cNvSpPr/>
            <p:nvPr/>
          </p:nvSpPr>
          <p:spPr bwMode="auto">
            <a:xfrm>
              <a:off x="3311526" y="4308475"/>
              <a:ext cx="4763" cy="52388"/>
            </a:xfrm>
            <a:custGeom>
              <a:avLst/>
              <a:gdLst>
                <a:gd name="T0" fmla="*/ 0 w 3"/>
                <a:gd name="T1" fmla="*/ 0 h 37"/>
                <a:gd name="T2" fmla="*/ 2 w 3"/>
                <a:gd name="T3" fmla="*/ 22 h 37"/>
                <a:gd name="T4" fmla="*/ 3 w 3"/>
                <a:gd name="T5" fmla="*/ 37 h 37"/>
                <a:gd name="T6" fmla="*/ 2 w 3"/>
                <a:gd name="T7" fmla="*/ 16 h 37"/>
                <a:gd name="T8" fmla="*/ 0 w 3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7">
                  <a:moveTo>
                    <a:pt x="0" y="0"/>
                  </a:moveTo>
                  <a:cubicBezTo>
                    <a:pt x="0" y="7"/>
                    <a:pt x="1" y="14"/>
                    <a:pt x="2" y="22"/>
                  </a:cubicBezTo>
                  <a:cubicBezTo>
                    <a:pt x="3" y="27"/>
                    <a:pt x="3" y="32"/>
                    <a:pt x="3" y="37"/>
                  </a:cubicBezTo>
                  <a:cubicBezTo>
                    <a:pt x="3" y="30"/>
                    <a:pt x="3" y="23"/>
                    <a:pt x="2" y="16"/>
                  </a:cubicBezTo>
                  <a:cubicBezTo>
                    <a:pt x="1" y="11"/>
                    <a:pt x="1" y="5"/>
                    <a:pt x="0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îṣḻíḓè">
              <a:extLst>
                <a:ext uri="{FF2B5EF4-FFF2-40B4-BE49-F238E27FC236}">
                  <a16:creationId xmlns:a16="http://schemas.microsoft.com/office/drawing/2014/main" id="{686BCAA6-B047-4932-A623-450073F9D0CF}"/>
                </a:ext>
              </a:extLst>
            </p:cNvPr>
            <p:cNvSpPr/>
            <p:nvPr/>
          </p:nvSpPr>
          <p:spPr bwMode="auto">
            <a:xfrm>
              <a:off x="3490913" y="4618038"/>
              <a:ext cx="1588" cy="7938"/>
            </a:xfrm>
            <a:custGeom>
              <a:avLst/>
              <a:gdLst>
                <a:gd name="T0" fmla="*/ 0 w 1"/>
                <a:gd name="T1" fmla="*/ 0 h 6"/>
                <a:gd name="T2" fmla="*/ 0 w 1"/>
                <a:gd name="T3" fmla="*/ 1 h 6"/>
                <a:gd name="T4" fmla="*/ 0 w 1"/>
                <a:gd name="T5" fmla="*/ 1 h 6"/>
                <a:gd name="T6" fmla="*/ 0 w 1"/>
                <a:gd name="T7" fmla="*/ 6 h 6"/>
                <a:gd name="T8" fmla="*/ 0 w 1"/>
                <a:gd name="T9" fmla="*/ 6 h 6"/>
                <a:gd name="T10" fmla="*/ 0 w 1"/>
                <a:gd name="T11" fmla="*/ 1 h 6"/>
                <a:gd name="T12" fmla="*/ 0 w 1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6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4"/>
                    <a:pt x="1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9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ïş1iḑé">
              <a:extLst>
                <a:ext uri="{FF2B5EF4-FFF2-40B4-BE49-F238E27FC236}">
                  <a16:creationId xmlns:a16="http://schemas.microsoft.com/office/drawing/2014/main" id="{0B48DCC0-14BA-47DC-AF83-C9AE7DEB76D6}"/>
                </a:ext>
              </a:extLst>
            </p:cNvPr>
            <p:cNvSpPr/>
            <p:nvPr/>
          </p:nvSpPr>
          <p:spPr bwMode="auto">
            <a:xfrm>
              <a:off x="3475038" y="4635500"/>
              <a:ext cx="14288" cy="30163"/>
            </a:xfrm>
            <a:custGeom>
              <a:avLst/>
              <a:gdLst>
                <a:gd name="T0" fmla="*/ 9 w 9"/>
                <a:gd name="T1" fmla="*/ 0 h 21"/>
                <a:gd name="T2" fmla="*/ 9 w 9"/>
                <a:gd name="T3" fmla="*/ 0 h 21"/>
                <a:gd name="T4" fmla="*/ 2 w 9"/>
                <a:gd name="T5" fmla="*/ 14 h 21"/>
                <a:gd name="T6" fmla="*/ 0 w 9"/>
                <a:gd name="T7" fmla="*/ 20 h 21"/>
                <a:gd name="T8" fmla="*/ 0 w 9"/>
                <a:gd name="T9" fmla="*/ 21 h 21"/>
                <a:gd name="T10" fmla="*/ 2 w 9"/>
                <a:gd name="T11" fmla="*/ 14 h 21"/>
                <a:gd name="T12" fmla="*/ 9 w 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1"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5"/>
                    <a:pt x="4" y="9"/>
                    <a:pt x="2" y="14"/>
                  </a:cubicBezTo>
                  <a:cubicBezTo>
                    <a:pt x="1" y="16"/>
                    <a:pt x="0" y="18"/>
                    <a:pt x="0" y="20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0" y="19"/>
                    <a:pt x="1" y="16"/>
                    <a:pt x="2" y="14"/>
                  </a:cubicBezTo>
                  <a:cubicBezTo>
                    <a:pt x="4" y="9"/>
                    <a:pt x="7" y="5"/>
                    <a:pt x="9" y="0"/>
                  </a:cubicBezTo>
                </a:path>
              </a:pathLst>
            </a:custGeom>
            <a:solidFill>
              <a:srgbClr val="B48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íşḷïḋê">
              <a:extLst>
                <a:ext uri="{FF2B5EF4-FFF2-40B4-BE49-F238E27FC236}">
                  <a16:creationId xmlns:a16="http://schemas.microsoft.com/office/drawing/2014/main" id="{48C250D2-E857-43C3-AB69-927E22A82F61}"/>
                </a:ext>
              </a:extLst>
            </p:cNvPr>
            <p:cNvSpPr/>
            <p:nvPr/>
          </p:nvSpPr>
          <p:spPr bwMode="auto">
            <a:xfrm>
              <a:off x="3489326" y="4629150"/>
              <a:ext cx="1588" cy="6350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0 h 4"/>
                <a:gd name="T4" fmla="*/ 0 w 2"/>
                <a:gd name="T5" fmla="*/ 4 h 4"/>
                <a:gd name="T6" fmla="*/ 0 w 2"/>
                <a:gd name="T7" fmla="*/ 4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2" y="1"/>
                    <a:pt x="2" y="0"/>
                  </a:cubicBezTo>
                </a:path>
              </a:pathLst>
            </a:custGeom>
            <a:solidFill>
              <a:srgbClr val="A2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îṡḷide">
              <a:extLst>
                <a:ext uri="{FF2B5EF4-FFF2-40B4-BE49-F238E27FC236}">
                  <a16:creationId xmlns:a16="http://schemas.microsoft.com/office/drawing/2014/main" id="{7036BF2E-0088-4F19-B782-5790B7E73E21}"/>
                </a:ext>
              </a:extLst>
            </p:cNvPr>
            <p:cNvSpPr/>
            <p:nvPr/>
          </p:nvSpPr>
          <p:spPr bwMode="auto">
            <a:xfrm>
              <a:off x="3490913" y="4625975"/>
              <a:ext cx="0" cy="3175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0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48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iṧḷiḋè">
              <a:extLst>
                <a:ext uri="{FF2B5EF4-FFF2-40B4-BE49-F238E27FC236}">
                  <a16:creationId xmlns:a16="http://schemas.microsoft.com/office/drawing/2014/main" id="{9B1EFB6F-F510-41E3-B676-242ED7B44B05}"/>
                </a:ext>
              </a:extLst>
            </p:cNvPr>
            <p:cNvSpPr/>
            <p:nvPr/>
          </p:nvSpPr>
          <p:spPr bwMode="auto">
            <a:xfrm>
              <a:off x="3475038" y="4619625"/>
              <a:ext cx="17463" cy="44450"/>
            </a:xfrm>
            <a:custGeom>
              <a:avLst/>
              <a:gdLst>
                <a:gd name="T0" fmla="*/ 11 w 12"/>
                <a:gd name="T1" fmla="*/ 0 h 31"/>
                <a:gd name="T2" fmla="*/ 2 w 12"/>
                <a:gd name="T3" fmla="*/ 19 h 31"/>
                <a:gd name="T4" fmla="*/ 0 w 12"/>
                <a:gd name="T5" fmla="*/ 31 h 31"/>
                <a:gd name="T6" fmla="*/ 2 w 12"/>
                <a:gd name="T7" fmla="*/ 25 h 31"/>
                <a:gd name="T8" fmla="*/ 9 w 12"/>
                <a:gd name="T9" fmla="*/ 11 h 31"/>
                <a:gd name="T10" fmla="*/ 11 w 12"/>
                <a:gd name="T11" fmla="*/ 7 h 31"/>
                <a:gd name="T12" fmla="*/ 11 w 12"/>
                <a:gd name="T13" fmla="*/ 5 h 31"/>
                <a:gd name="T14" fmla="*/ 11 w 12"/>
                <a:gd name="T15" fmla="*/ 0 h 31"/>
                <a:gd name="T16" fmla="*/ 11 w 12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1">
                  <a:moveTo>
                    <a:pt x="11" y="0"/>
                  </a:moveTo>
                  <a:cubicBezTo>
                    <a:pt x="10" y="6"/>
                    <a:pt x="4" y="13"/>
                    <a:pt x="2" y="19"/>
                  </a:cubicBezTo>
                  <a:cubicBezTo>
                    <a:pt x="0" y="23"/>
                    <a:pt x="0" y="27"/>
                    <a:pt x="0" y="31"/>
                  </a:cubicBezTo>
                  <a:cubicBezTo>
                    <a:pt x="0" y="29"/>
                    <a:pt x="1" y="27"/>
                    <a:pt x="2" y="25"/>
                  </a:cubicBezTo>
                  <a:cubicBezTo>
                    <a:pt x="4" y="20"/>
                    <a:pt x="7" y="16"/>
                    <a:pt x="9" y="11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6"/>
                    <a:pt x="11" y="5"/>
                    <a:pt x="11" y="5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ïṧľíďè">
              <a:extLst>
                <a:ext uri="{FF2B5EF4-FFF2-40B4-BE49-F238E27FC236}">
                  <a16:creationId xmlns:a16="http://schemas.microsoft.com/office/drawing/2014/main" id="{0BE51031-12BE-4A69-AC82-3283CD7A00AD}"/>
                </a:ext>
              </a:extLst>
            </p:cNvPr>
            <p:cNvSpPr/>
            <p:nvPr/>
          </p:nvSpPr>
          <p:spPr bwMode="auto">
            <a:xfrm>
              <a:off x="3225801" y="4770438"/>
              <a:ext cx="41275" cy="107950"/>
            </a:xfrm>
            <a:custGeom>
              <a:avLst/>
              <a:gdLst>
                <a:gd name="T0" fmla="*/ 1 w 28"/>
                <a:gd name="T1" fmla="*/ 0 h 75"/>
                <a:gd name="T2" fmla="*/ 3 w 28"/>
                <a:gd name="T3" fmla="*/ 16 h 75"/>
                <a:gd name="T4" fmla="*/ 28 w 28"/>
                <a:gd name="T5" fmla="*/ 75 h 75"/>
                <a:gd name="T6" fmla="*/ 28 w 28"/>
                <a:gd name="T7" fmla="*/ 71 h 75"/>
                <a:gd name="T8" fmla="*/ 3 w 28"/>
                <a:gd name="T9" fmla="*/ 10 h 75"/>
                <a:gd name="T10" fmla="*/ 1 w 28"/>
                <a:gd name="T1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75">
                  <a:moveTo>
                    <a:pt x="1" y="0"/>
                  </a:moveTo>
                  <a:cubicBezTo>
                    <a:pt x="0" y="5"/>
                    <a:pt x="1" y="11"/>
                    <a:pt x="3" y="16"/>
                  </a:cubicBezTo>
                  <a:cubicBezTo>
                    <a:pt x="11" y="36"/>
                    <a:pt x="27" y="54"/>
                    <a:pt x="28" y="75"/>
                  </a:cubicBezTo>
                  <a:cubicBezTo>
                    <a:pt x="28" y="74"/>
                    <a:pt x="28" y="72"/>
                    <a:pt x="28" y="71"/>
                  </a:cubicBezTo>
                  <a:cubicBezTo>
                    <a:pt x="27" y="48"/>
                    <a:pt x="11" y="31"/>
                    <a:pt x="3" y="10"/>
                  </a:cubicBezTo>
                  <a:cubicBezTo>
                    <a:pt x="2" y="7"/>
                    <a:pt x="1" y="3"/>
                    <a:pt x="1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iślîḍè">
              <a:extLst>
                <a:ext uri="{FF2B5EF4-FFF2-40B4-BE49-F238E27FC236}">
                  <a16:creationId xmlns:a16="http://schemas.microsoft.com/office/drawing/2014/main" id="{83E6E46F-3914-4887-918E-A4771260AABE}"/>
                </a:ext>
              </a:extLst>
            </p:cNvPr>
            <p:cNvSpPr/>
            <p:nvPr/>
          </p:nvSpPr>
          <p:spPr bwMode="auto">
            <a:xfrm>
              <a:off x="3435351" y="4391025"/>
              <a:ext cx="11113" cy="15875"/>
            </a:xfrm>
            <a:custGeom>
              <a:avLst/>
              <a:gdLst>
                <a:gd name="T0" fmla="*/ 8 w 8"/>
                <a:gd name="T1" fmla="*/ 0 h 11"/>
                <a:gd name="T2" fmla="*/ 0 w 8"/>
                <a:gd name="T3" fmla="*/ 11 h 11"/>
                <a:gd name="T4" fmla="*/ 0 w 8"/>
                <a:gd name="T5" fmla="*/ 11 h 11"/>
                <a:gd name="T6" fmla="*/ 0 w 8"/>
                <a:gd name="T7" fmla="*/ 11 h 11"/>
                <a:gd name="T8" fmla="*/ 1 w 8"/>
                <a:gd name="T9" fmla="*/ 10 h 11"/>
                <a:gd name="T10" fmla="*/ 8 w 8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1">
                  <a:moveTo>
                    <a:pt x="8" y="0"/>
                  </a:moveTo>
                  <a:cubicBezTo>
                    <a:pt x="4" y="2"/>
                    <a:pt x="1" y="6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6"/>
                    <a:pt x="4" y="2"/>
                    <a:pt x="8" y="0"/>
                  </a:cubicBezTo>
                </a:path>
              </a:pathLst>
            </a:custGeom>
            <a:solidFill>
              <a:srgbClr val="B48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îṣlïḑe">
              <a:extLst>
                <a:ext uri="{FF2B5EF4-FFF2-40B4-BE49-F238E27FC236}">
                  <a16:creationId xmlns:a16="http://schemas.microsoft.com/office/drawing/2014/main" id="{FFAA73D3-A73E-48AF-8CE9-D779175497CC}"/>
                </a:ext>
              </a:extLst>
            </p:cNvPr>
            <p:cNvSpPr/>
            <p:nvPr/>
          </p:nvSpPr>
          <p:spPr bwMode="auto">
            <a:xfrm>
              <a:off x="3435351" y="4376738"/>
              <a:ext cx="165100" cy="187325"/>
            </a:xfrm>
            <a:custGeom>
              <a:avLst/>
              <a:gdLst>
                <a:gd name="T0" fmla="*/ 23 w 114"/>
                <a:gd name="T1" fmla="*/ 0 h 130"/>
                <a:gd name="T2" fmla="*/ 13 w 114"/>
                <a:gd name="T3" fmla="*/ 2 h 130"/>
                <a:gd name="T4" fmla="*/ 1 w 114"/>
                <a:gd name="T5" fmla="*/ 14 h 130"/>
                <a:gd name="T6" fmla="*/ 0 w 114"/>
                <a:gd name="T7" fmla="*/ 21 h 130"/>
                <a:gd name="T8" fmla="*/ 0 w 114"/>
                <a:gd name="T9" fmla="*/ 21 h 130"/>
                <a:gd name="T10" fmla="*/ 8 w 114"/>
                <a:gd name="T11" fmla="*/ 10 h 130"/>
                <a:gd name="T12" fmla="*/ 13 w 114"/>
                <a:gd name="T13" fmla="*/ 8 h 130"/>
                <a:gd name="T14" fmla="*/ 23 w 114"/>
                <a:gd name="T15" fmla="*/ 6 h 130"/>
                <a:gd name="T16" fmla="*/ 93 w 114"/>
                <a:gd name="T17" fmla="*/ 53 h 130"/>
                <a:gd name="T18" fmla="*/ 114 w 114"/>
                <a:gd name="T19" fmla="*/ 130 h 130"/>
                <a:gd name="T20" fmla="*/ 93 w 114"/>
                <a:gd name="T21" fmla="*/ 47 h 130"/>
                <a:gd name="T22" fmla="*/ 23 w 114"/>
                <a:gd name="T23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130">
                  <a:moveTo>
                    <a:pt x="23" y="0"/>
                  </a:moveTo>
                  <a:cubicBezTo>
                    <a:pt x="19" y="0"/>
                    <a:pt x="16" y="1"/>
                    <a:pt x="13" y="2"/>
                  </a:cubicBezTo>
                  <a:cubicBezTo>
                    <a:pt x="7" y="4"/>
                    <a:pt x="2" y="9"/>
                    <a:pt x="1" y="14"/>
                  </a:cubicBezTo>
                  <a:cubicBezTo>
                    <a:pt x="0" y="17"/>
                    <a:pt x="0" y="19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16"/>
                    <a:pt x="4" y="12"/>
                    <a:pt x="8" y="10"/>
                  </a:cubicBezTo>
                  <a:cubicBezTo>
                    <a:pt x="9" y="9"/>
                    <a:pt x="11" y="8"/>
                    <a:pt x="13" y="8"/>
                  </a:cubicBezTo>
                  <a:cubicBezTo>
                    <a:pt x="16" y="6"/>
                    <a:pt x="19" y="6"/>
                    <a:pt x="23" y="6"/>
                  </a:cubicBezTo>
                  <a:cubicBezTo>
                    <a:pt x="49" y="6"/>
                    <a:pt x="81" y="35"/>
                    <a:pt x="93" y="53"/>
                  </a:cubicBezTo>
                  <a:cubicBezTo>
                    <a:pt x="107" y="76"/>
                    <a:pt x="113" y="103"/>
                    <a:pt x="114" y="130"/>
                  </a:cubicBezTo>
                  <a:cubicBezTo>
                    <a:pt x="114" y="101"/>
                    <a:pt x="108" y="71"/>
                    <a:pt x="93" y="47"/>
                  </a:cubicBezTo>
                  <a:cubicBezTo>
                    <a:pt x="81" y="29"/>
                    <a:pt x="49" y="0"/>
                    <a:pt x="23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ïṥḻíde">
              <a:extLst>
                <a:ext uri="{FF2B5EF4-FFF2-40B4-BE49-F238E27FC236}">
                  <a16:creationId xmlns:a16="http://schemas.microsoft.com/office/drawing/2014/main" id="{DC2F6766-328C-487F-ADF3-9A21E22A6E74}"/>
                </a:ext>
              </a:extLst>
            </p:cNvPr>
            <p:cNvSpPr/>
            <p:nvPr/>
          </p:nvSpPr>
          <p:spPr bwMode="auto">
            <a:xfrm>
              <a:off x="3600451" y="4505325"/>
              <a:ext cx="61913" cy="71438"/>
            </a:xfrm>
            <a:custGeom>
              <a:avLst/>
              <a:gdLst>
                <a:gd name="T0" fmla="*/ 43 w 43"/>
                <a:gd name="T1" fmla="*/ 0 h 50"/>
                <a:gd name="T2" fmla="*/ 43 w 43"/>
                <a:gd name="T3" fmla="*/ 1 h 50"/>
                <a:gd name="T4" fmla="*/ 43 w 43"/>
                <a:gd name="T5" fmla="*/ 1 h 50"/>
                <a:gd name="T6" fmla="*/ 43 w 43"/>
                <a:gd name="T7" fmla="*/ 7 h 50"/>
                <a:gd name="T8" fmla="*/ 0 w 43"/>
                <a:gd name="T9" fmla="*/ 49 h 50"/>
                <a:gd name="T10" fmla="*/ 0 w 43"/>
                <a:gd name="T11" fmla="*/ 50 h 50"/>
                <a:gd name="T12" fmla="*/ 43 w 43"/>
                <a:gd name="T13" fmla="*/ 6 h 50"/>
                <a:gd name="T14" fmla="*/ 43 w 4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50">
                  <a:moveTo>
                    <a:pt x="43" y="0"/>
                  </a:move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3"/>
                    <a:pt x="43" y="5"/>
                    <a:pt x="43" y="7"/>
                  </a:cubicBezTo>
                  <a:cubicBezTo>
                    <a:pt x="40" y="27"/>
                    <a:pt x="11" y="31"/>
                    <a:pt x="0" y="49"/>
                  </a:cubicBezTo>
                  <a:cubicBezTo>
                    <a:pt x="0" y="49"/>
                    <a:pt x="0" y="49"/>
                    <a:pt x="0" y="50"/>
                  </a:cubicBezTo>
                  <a:cubicBezTo>
                    <a:pt x="10" y="31"/>
                    <a:pt x="40" y="27"/>
                    <a:pt x="43" y="6"/>
                  </a:cubicBezTo>
                  <a:cubicBezTo>
                    <a:pt x="43" y="4"/>
                    <a:pt x="43" y="2"/>
                    <a:pt x="43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ïṡļïḍê">
              <a:extLst>
                <a:ext uri="{FF2B5EF4-FFF2-40B4-BE49-F238E27FC236}">
                  <a16:creationId xmlns:a16="http://schemas.microsoft.com/office/drawing/2014/main" id="{E7A47C5E-268A-4DE4-8990-DF63F4FD18D9}"/>
                </a:ext>
              </a:extLst>
            </p:cNvPr>
            <p:cNvSpPr/>
            <p:nvPr/>
          </p:nvSpPr>
          <p:spPr bwMode="auto">
            <a:xfrm>
              <a:off x="3600451" y="4506913"/>
              <a:ext cx="61913" cy="68263"/>
            </a:xfrm>
            <a:custGeom>
              <a:avLst/>
              <a:gdLst>
                <a:gd name="T0" fmla="*/ 43 w 43"/>
                <a:gd name="T1" fmla="*/ 0 h 48"/>
                <a:gd name="T2" fmla="*/ 0 w 43"/>
                <a:gd name="T3" fmla="*/ 43 h 48"/>
                <a:gd name="T4" fmla="*/ 0 w 43"/>
                <a:gd name="T5" fmla="*/ 48 h 48"/>
                <a:gd name="T6" fmla="*/ 43 w 43"/>
                <a:gd name="T7" fmla="*/ 6 h 48"/>
                <a:gd name="T8" fmla="*/ 43 w 43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8">
                  <a:moveTo>
                    <a:pt x="43" y="0"/>
                  </a:moveTo>
                  <a:cubicBezTo>
                    <a:pt x="39" y="20"/>
                    <a:pt x="10" y="25"/>
                    <a:pt x="0" y="43"/>
                  </a:cubicBezTo>
                  <a:cubicBezTo>
                    <a:pt x="0" y="44"/>
                    <a:pt x="0" y="46"/>
                    <a:pt x="0" y="48"/>
                  </a:cubicBezTo>
                  <a:cubicBezTo>
                    <a:pt x="11" y="30"/>
                    <a:pt x="40" y="26"/>
                    <a:pt x="43" y="6"/>
                  </a:cubicBezTo>
                  <a:cubicBezTo>
                    <a:pt x="43" y="4"/>
                    <a:pt x="43" y="2"/>
                    <a:pt x="43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îŝḷîdé">
              <a:extLst>
                <a:ext uri="{FF2B5EF4-FFF2-40B4-BE49-F238E27FC236}">
                  <a16:creationId xmlns:a16="http://schemas.microsoft.com/office/drawing/2014/main" id="{C2F29CEE-56AA-4DC5-BEAE-2FBCD7AF6128}"/>
                </a:ext>
              </a:extLst>
            </p:cNvPr>
            <p:cNvSpPr/>
            <p:nvPr/>
          </p:nvSpPr>
          <p:spPr bwMode="auto">
            <a:xfrm>
              <a:off x="3657601" y="4376738"/>
              <a:ext cx="33338" cy="98425"/>
            </a:xfrm>
            <a:custGeom>
              <a:avLst/>
              <a:gdLst>
                <a:gd name="T0" fmla="*/ 23 w 23"/>
                <a:gd name="T1" fmla="*/ 0 h 68"/>
                <a:gd name="T2" fmla="*/ 23 w 23"/>
                <a:gd name="T3" fmla="*/ 2 h 68"/>
                <a:gd name="T4" fmla="*/ 20 w 23"/>
                <a:gd name="T5" fmla="*/ 22 h 68"/>
                <a:gd name="T6" fmla="*/ 0 w 23"/>
                <a:gd name="T7" fmla="*/ 66 h 68"/>
                <a:gd name="T8" fmla="*/ 0 w 23"/>
                <a:gd name="T9" fmla="*/ 67 h 68"/>
                <a:gd name="T10" fmla="*/ 0 w 23"/>
                <a:gd name="T11" fmla="*/ 68 h 68"/>
                <a:gd name="T12" fmla="*/ 20 w 23"/>
                <a:gd name="T13" fmla="*/ 22 h 68"/>
                <a:gd name="T14" fmla="*/ 23 w 23"/>
                <a:gd name="T1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68">
                  <a:moveTo>
                    <a:pt x="23" y="0"/>
                  </a:moveTo>
                  <a:cubicBezTo>
                    <a:pt x="23" y="1"/>
                    <a:pt x="23" y="1"/>
                    <a:pt x="23" y="2"/>
                  </a:cubicBezTo>
                  <a:cubicBezTo>
                    <a:pt x="23" y="9"/>
                    <a:pt x="22" y="16"/>
                    <a:pt x="20" y="22"/>
                  </a:cubicBezTo>
                  <a:cubicBezTo>
                    <a:pt x="14" y="37"/>
                    <a:pt x="2" y="51"/>
                    <a:pt x="0" y="66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2" y="52"/>
                    <a:pt x="14" y="38"/>
                    <a:pt x="20" y="22"/>
                  </a:cubicBezTo>
                  <a:cubicBezTo>
                    <a:pt x="22" y="15"/>
                    <a:pt x="23" y="7"/>
                    <a:pt x="23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iS1íḑe">
              <a:extLst>
                <a:ext uri="{FF2B5EF4-FFF2-40B4-BE49-F238E27FC236}">
                  <a16:creationId xmlns:a16="http://schemas.microsoft.com/office/drawing/2014/main" id="{E95F7622-7B52-4B6F-AA49-558C0875825C}"/>
                </a:ext>
              </a:extLst>
            </p:cNvPr>
            <p:cNvSpPr/>
            <p:nvPr/>
          </p:nvSpPr>
          <p:spPr bwMode="auto">
            <a:xfrm>
              <a:off x="3657601" y="4378325"/>
              <a:ext cx="33338" cy="93663"/>
            </a:xfrm>
            <a:custGeom>
              <a:avLst/>
              <a:gdLst>
                <a:gd name="T0" fmla="*/ 23 w 23"/>
                <a:gd name="T1" fmla="*/ 0 h 64"/>
                <a:gd name="T2" fmla="*/ 20 w 23"/>
                <a:gd name="T3" fmla="*/ 14 h 64"/>
                <a:gd name="T4" fmla="*/ 0 w 23"/>
                <a:gd name="T5" fmla="*/ 64 h 64"/>
                <a:gd name="T6" fmla="*/ 20 w 23"/>
                <a:gd name="T7" fmla="*/ 20 h 64"/>
                <a:gd name="T8" fmla="*/ 23 w 23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64">
                  <a:moveTo>
                    <a:pt x="23" y="0"/>
                  </a:moveTo>
                  <a:cubicBezTo>
                    <a:pt x="22" y="5"/>
                    <a:pt x="21" y="10"/>
                    <a:pt x="20" y="14"/>
                  </a:cubicBezTo>
                  <a:cubicBezTo>
                    <a:pt x="14" y="31"/>
                    <a:pt x="0" y="46"/>
                    <a:pt x="0" y="64"/>
                  </a:cubicBezTo>
                  <a:cubicBezTo>
                    <a:pt x="2" y="49"/>
                    <a:pt x="14" y="35"/>
                    <a:pt x="20" y="20"/>
                  </a:cubicBezTo>
                  <a:cubicBezTo>
                    <a:pt x="22" y="14"/>
                    <a:pt x="23" y="7"/>
                    <a:pt x="23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îşḻíḍè">
              <a:extLst>
                <a:ext uri="{FF2B5EF4-FFF2-40B4-BE49-F238E27FC236}">
                  <a16:creationId xmlns:a16="http://schemas.microsoft.com/office/drawing/2014/main" id="{54CC1903-385F-461B-AB93-18DCF4F3FAE1}"/>
                </a:ext>
              </a:extLst>
            </p:cNvPr>
            <p:cNvSpPr/>
            <p:nvPr/>
          </p:nvSpPr>
          <p:spPr bwMode="auto">
            <a:xfrm>
              <a:off x="3473451" y="4887913"/>
              <a:ext cx="1588" cy="20638"/>
            </a:xfrm>
            <a:custGeom>
              <a:avLst/>
              <a:gdLst>
                <a:gd name="T0" fmla="*/ 1 w 1"/>
                <a:gd name="T1" fmla="*/ 0 h 15"/>
                <a:gd name="T2" fmla="*/ 0 w 1"/>
                <a:gd name="T3" fmla="*/ 1 h 15"/>
                <a:gd name="T4" fmla="*/ 0 w 1"/>
                <a:gd name="T5" fmla="*/ 13 h 15"/>
                <a:gd name="T6" fmla="*/ 0 w 1"/>
                <a:gd name="T7" fmla="*/ 15 h 15"/>
                <a:gd name="T8" fmla="*/ 1 w 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5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5"/>
                    <a:pt x="0" y="9"/>
                    <a:pt x="0" y="13"/>
                  </a:cubicBezTo>
                  <a:cubicBezTo>
                    <a:pt x="0" y="14"/>
                    <a:pt x="0" y="15"/>
                    <a:pt x="0" y="15"/>
                  </a:cubicBezTo>
                  <a:cubicBezTo>
                    <a:pt x="1" y="10"/>
                    <a:pt x="1" y="5"/>
                    <a:pt x="1" y="0"/>
                  </a:cubicBezTo>
                </a:path>
              </a:pathLst>
            </a:cu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ïs1íḋé">
              <a:extLst>
                <a:ext uri="{FF2B5EF4-FFF2-40B4-BE49-F238E27FC236}">
                  <a16:creationId xmlns:a16="http://schemas.microsoft.com/office/drawing/2014/main" id="{63EA31F1-278C-4BE3-B59C-66E1EBA44852}"/>
                </a:ext>
              </a:extLst>
            </p:cNvPr>
            <p:cNvSpPr/>
            <p:nvPr/>
          </p:nvSpPr>
          <p:spPr bwMode="auto">
            <a:xfrm>
              <a:off x="3433763" y="4905375"/>
              <a:ext cx="39688" cy="38100"/>
            </a:xfrm>
            <a:custGeom>
              <a:avLst/>
              <a:gdLst>
                <a:gd name="T0" fmla="*/ 28 w 28"/>
                <a:gd name="T1" fmla="*/ 0 h 26"/>
                <a:gd name="T2" fmla="*/ 20 w 28"/>
                <a:gd name="T3" fmla="*/ 22 h 26"/>
                <a:gd name="T4" fmla="*/ 14 w 28"/>
                <a:gd name="T5" fmla="*/ 26 h 26"/>
                <a:gd name="T6" fmla="*/ 13 w 28"/>
                <a:gd name="T7" fmla="*/ 26 h 26"/>
                <a:gd name="T8" fmla="*/ 0 w 28"/>
                <a:gd name="T9" fmla="*/ 6 h 26"/>
                <a:gd name="T10" fmla="*/ 0 w 28"/>
                <a:gd name="T11" fmla="*/ 6 h 26"/>
                <a:gd name="T12" fmla="*/ 13 w 28"/>
                <a:gd name="T13" fmla="*/ 26 h 26"/>
                <a:gd name="T14" fmla="*/ 14 w 28"/>
                <a:gd name="T15" fmla="*/ 26 h 26"/>
                <a:gd name="T16" fmla="*/ 20 w 28"/>
                <a:gd name="T17" fmla="*/ 22 h 26"/>
                <a:gd name="T18" fmla="*/ 28 w 28"/>
                <a:gd name="T19" fmla="*/ 2 h 26"/>
                <a:gd name="T20" fmla="*/ 28 w 28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8" y="0"/>
                  </a:moveTo>
                  <a:cubicBezTo>
                    <a:pt x="27" y="8"/>
                    <a:pt x="25" y="15"/>
                    <a:pt x="20" y="22"/>
                  </a:cubicBezTo>
                  <a:cubicBezTo>
                    <a:pt x="19" y="24"/>
                    <a:pt x="17" y="25"/>
                    <a:pt x="14" y="26"/>
                  </a:cubicBezTo>
                  <a:cubicBezTo>
                    <a:pt x="14" y="26"/>
                    <a:pt x="14" y="26"/>
                    <a:pt x="13" y="26"/>
                  </a:cubicBezTo>
                  <a:cubicBezTo>
                    <a:pt x="6" y="26"/>
                    <a:pt x="7" y="12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7" y="12"/>
                    <a:pt x="6" y="26"/>
                    <a:pt x="13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7" y="25"/>
                    <a:pt x="19" y="24"/>
                    <a:pt x="20" y="22"/>
                  </a:cubicBezTo>
                  <a:cubicBezTo>
                    <a:pt x="25" y="16"/>
                    <a:pt x="27" y="10"/>
                    <a:pt x="28" y="2"/>
                  </a:cubicBezTo>
                  <a:cubicBezTo>
                    <a:pt x="28" y="2"/>
                    <a:pt x="28" y="1"/>
                    <a:pt x="28" y="0"/>
                  </a:cubicBezTo>
                </a:path>
              </a:pathLst>
            </a:custGeom>
            <a:solidFill>
              <a:srgbClr val="2F5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íṣļíḑé">
              <a:extLst>
                <a:ext uri="{FF2B5EF4-FFF2-40B4-BE49-F238E27FC236}">
                  <a16:creationId xmlns:a16="http://schemas.microsoft.com/office/drawing/2014/main" id="{03D1B55A-54CF-46E5-A7A8-C2CCCE1FBDE8}"/>
                </a:ext>
              </a:extLst>
            </p:cNvPr>
            <p:cNvSpPr/>
            <p:nvPr/>
          </p:nvSpPr>
          <p:spPr bwMode="auto">
            <a:xfrm>
              <a:off x="3433763" y="4887913"/>
              <a:ext cx="41275" cy="55563"/>
            </a:xfrm>
            <a:custGeom>
              <a:avLst/>
              <a:gdLst>
                <a:gd name="T0" fmla="*/ 28 w 29"/>
                <a:gd name="T1" fmla="*/ 0 h 38"/>
                <a:gd name="T2" fmla="*/ 20 w 29"/>
                <a:gd name="T3" fmla="*/ 28 h 38"/>
                <a:gd name="T4" fmla="*/ 14 w 29"/>
                <a:gd name="T5" fmla="*/ 32 h 38"/>
                <a:gd name="T6" fmla="*/ 13 w 29"/>
                <a:gd name="T7" fmla="*/ 32 h 38"/>
                <a:gd name="T8" fmla="*/ 0 w 29"/>
                <a:gd name="T9" fmla="*/ 12 h 38"/>
                <a:gd name="T10" fmla="*/ 0 w 29"/>
                <a:gd name="T11" fmla="*/ 18 h 38"/>
                <a:gd name="T12" fmla="*/ 13 w 29"/>
                <a:gd name="T13" fmla="*/ 38 h 38"/>
                <a:gd name="T14" fmla="*/ 14 w 29"/>
                <a:gd name="T15" fmla="*/ 38 h 38"/>
                <a:gd name="T16" fmla="*/ 20 w 29"/>
                <a:gd name="T17" fmla="*/ 34 h 38"/>
                <a:gd name="T18" fmla="*/ 28 w 29"/>
                <a:gd name="T19" fmla="*/ 12 h 38"/>
                <a:gd name="T20" fmla="*/ 28 w 29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38">
                  <a:moveTo>
                    <a:pt x="28" y="0"/>
                  </a:moveTo>
                  <a:cubicBezTo>
                    <a:pt x="28" y="10"/>
                    <a:pt x="26" y="20"/>
                    <a:pt x="20" y="28"/>
                  </a:cubicBezTo>
                  <a:cubicBezTo>
                    <a:pt x="19" y="30"/>
                    <a:pt x="17" y="32"/>
                    <a:pt x="14" y="32"/>
                  </a:cubicBezTo>
                  <a:cubicBezTo>
                    <a:pt x="14" y="32"/>
                    <a:pt x="14" y="32"/>
                    <a:pt x="13" y="32"/>
                  </a:cubicBezTo>
                  <a:cubicBezTo>
                    <a:pt x="6" y="32"/>
                    <a:pt x="7" y="17"/>
                    <a:pt x="0" y="12"/>
                  </a:cubicBezTo>
                  <a:cubicBezTo>
                    <a:pt x="0" y="14"/>
                    <a:pt x="0" y="16"/>
                    <a:pt x="0" y="18"/>
                  </a:cubicBezTo>
                  <a:cubicBezTo>
                    <a:pt x="7" y="24"/>
                    <a:pt x="6" y="38"/>
                    <a:pt x="13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7" y="37"/>
                    <a:pt x="19" y="36"/>
                    <a:pt x="20" y="34"/>
                  </a:cubicBezTo>
                  <a:cubicBezTo>
                    <a:pt x="25" y="27"/>
                    <a:pt x="27" y="20"/>
                    <a:pt x="28" y="12"/>
                  </a:cubicBezTo>
                  <a:cubicBezTo>
                    <a:pt x="28" y="8"/>
                    <a:pt x="29" y="4"/>
                    <a:pt x="28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ïṡḻídê">
              <a:extLst>
                <a:ext uri="{FF2B5EF4-FFF2-40B4-BE49-F238E27FC236}">
                  <a16:creationId xmlns:a16="http://schemas.microsoft.com/office/drawing/2014/main" id="{106E0AFB-4739-4882-B468-3559D5A42CAD}"/>
                </a:ext>
              </a:extLst>
            </p:cNvPr>
            <p:cNvSpPr/>
            <p:nvPr/>
          </p:nvSpPr>
          <p:spPr bwMode="auto">
            <a:xfrm>
              <a:off x="3433763" y="4927600"/>
              <a:ext cx="1588" cy="12700"/>
            </a:xfrm>
            <a:custGeom>
              <a:avLst/>
              <a:gdLst>
                <a:gd name="T0" fmla="*/ 0 w 1"/>
                <a:gd name="T1" fmla="*/ 0 h 9"/>
                <a:gd name="T2" fmla="*/ 0 w 1"/>
                <a:gd name="T3" fmla="*/ 0 h 9"/>
                <a:gd name="T4" fmla="*/ 0 w 1"/>
                <a:gd name="T5" fmla="*/ 9 h 9"/>
                <a:gd name="T6" fmla="*/ 0 w 1"/>
                <a:gd name="T7" fmla="*/ 9 h 9"/>
                <a:gd name="T8" fmla="*/ 0 w 1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1" y="6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6"/>
                    <a:pt x="1" y="3"/>
                    <a:pt x="0" y="0"/>
                  </a:cubicBezTo>
                </a:path>
              </a:pathLst>
            </a:cu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îsľîďé">
              <a:extLst>
                <a:ext uri="{FF2B5EF4-FFF2-40B4-BE49-F238E27FC236}">
                  <a16:creationId xmlns:a16="http://schemas.microsoft.com/office/drawing/2014/main" id="{A30B847E-DD21-4FCF-8B3E-ED6E8FA0440A}"/>
                </a:ext>
              </a:extLst>
            </p:cNvPr>
            <p:cNvSpPr/>
            <p:nvPr/>
          </p:nvSpPr>
          <p:spPr bwMode="auto">
            <a:xfrm>
              <a:off x="3433763" y="4940300"/>
              <a:ext cx="0" cy="3175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F5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iṣḻïḓe">
              <a:extLst>
                <a:ext uri="{FF2B5EF4-FFF2-40B4-BE49-F238E27FC236}">
                  <a16:creationId xmlns:a16="http://schemas.microsoft.com/office/drawing/2014/main" id="{626AEB96-DB50-434B-847F-6597750008E6}"/>
                </a:ext>
              </a:extLst>
            </p:cNvPr>
            <p:cNvSpPr/>
            <p:nvPr/>
          </p:nvSpPr>
          <p:spPr bwMode="auto">
            <a:xfrm>
              <a:off x="3363913" y="4964113"/>
              <a:ext cx="1588" cy="1588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iṥ1iďe">
              <a:extLst>
                <a:ext uri="{FF2B5EF4-FFF2-40B4-BE49-F238E27FC236}">
                  <a16:creationId xmlns:a16="http://schemas.microsoft.com/office/drawing/2014/main" id="{87093FBC-6D34-4FD6-975A-CADBB7DE75BC}"/>
                </a:ext>
              </a:extLst>
            </p:cNvPr>
            <p:cNvSpPr/>
            <p:nvPr/>
          </p:nvSpPr>
          <p:spPr bwMode="auto">
            <a:xfrm>
              <a:off x="3365501" y="4945063"/>
              <a:ext cx="65088" cy="30163"/>
            </a:xfrm>
            <a:custGeom>
              <a:avLst/>
              <a:gdLst>
                <a:gd name="T0" fmla="*/ 45 w 45"/>
                <a:gd name="T1" fmla="*/ 5 h 21"/>
                <a:gd name="T2" fmla="*/ 45 w 45"/>
                <a:gd name="T3" fmla="*/ 6 h 21"/>
                <a:gd name="T4" fmla="*/ 26 w 45"/>
                <a:gd name="T5" fmla="*/ 21 h 21"/>
                <a:gd name="T6" fmla="*/ 26 w 45"/>
                <a:gd name="T7" fmla="*/ 21 h 21"/>
                <a:gd name="T8" fmla="*/ 45 w 45"/>
                <a:gd name="T9" fmla="*/ 6 h 21"/>
                <a:gd name="T10" fmla="*/ 45 w 45"/>
                <a:gd name="T11" fmla="*/ 5 h 21"/>
                <a:gd name="T12" fmla="*/ 21 w 45"/>
                <a:gd name="T13" fmla="*/ 0 h 21"/>
                <a:gd name="T14" fmla="*/ 0 w 45"/>
                <a:gd name="T15" fmla="*/ 13 h 21"/>
                <a:gd name="T16" fmla="*/ 0 w 45"/>
                <a:gd name="T17" fmla="*/ 13 h 21"/>
                <a:gd name="T18" fmla="*/ 21 w 45"/>
                <a:gd name="T19" fmla="*/ 0 h 21"/>
                <a:gd name="T20" fmla="*/ 21 w 45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1">
                  <a:moveTo>
                    <a:pt x="45" y="5"/>
                  </a:moveTo>
                  <a:cubicBezTo>
                    <a:pt x="45" y="5"/>
                    <a:pt x="45" y="6"/>
                    <a:pt x="45" y="6"/>
                  </a:cubicBezTo>
                  <a:cubicBezTo>
                    <a:pt x="42" y="14"/>
                    <a:pt x="34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35" y="21"/>
                    <a:pt x="42" y="14"/>
                    <a:pt x="45" y="6"/>
                  </a:cubicBezTo>
                  <a:cubicBezTo>
                    <a:pt x="45" y="6"/>
                    <a:pt x="45" y="5"/>
                    <a:pt x="45" y="5"/>
                  </a:cubicBezTo>
                  <a:moveTo>
                    <a:pt x="21" y="0"/>
                  </a:moveTo>
                  <a:cubicBezTo>
                    <a:pt x="15" y="6"/>
                    <a:pt x="8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8" y="10"/>
                    <a:pt x="15" y="6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2F5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ïsļiḋè">
              <a:extLst>
                <a:ext uri="{FF2B5EF4-FFF2-40B4-BE49-F238E27FC236}">
                  <a16:creationId xmlns:a16="http://schemas.microsoft.com/office/drawing/2014/main" id="{133A6920-4E68-4244-B9FB-4D2640DB5508}"/>
                </a:ext>
              </a:extLst>
            </p:cNvPr>
            <p:cNvSpPr/>
            <p:nvPr/>
          </p:nvSpPr>
          <p:spPr bwMode="auto">
            <a:xfrm>
              <a:off x="3363913" y="4927600"/>
              <a:ext cx="71438" cy="47625"/>
            </a:xfrm>
            <a:custGeom>
              <a:avLst/>
              <a:gdLst>
                <a:gd name="T0" fmla="*/ 48 w 49"/>
                <a:gd name="T1" fmla="*/ 0 h 33"/>
                <a:gd name="T2" fmla="*/ 46 w 49"/>
                <a:gd name="T3" fmla="*/ 12 h 33"/>
                <a:gd name="T4" fmla="*/ 28 w 49"/>
                <a:gd name="T5" fmla="*/ 27 h 33"/>
                <a:gd name="T6" fmla="*/ 25 w 49"/>
                <a:gd name="T7" fmla="*/ 27 h 33"/>
                <a:gd name="T8" fmla="*/ 22 w 49"/>
                <a:gd name="T9" fmla="*/ 6 h 33"/>
                <a:gd name="T10" fmla="*/ 1 w 49"/>
                <a:gd name="T11" fmla="*/ 19 h 33"/>
                <a:gd name="T12" fmla="*/ 0 w 49"/>
                <a:gd name="T13" fmla="*/ 26 h 33"/>
                <a:gd name="T14" fmla="*/ 1 w 49"/>
                <a:gd name="T15" fmla="*/ 25 h 33"/>
                <a:gd name="T16" fmla="*/ 22 w 49"/>
                <a:gd name="T17" fmla="*/ 12 h 33"/>
                <a:gd name="T18" fmla="*/ 22 w 49"/>
                <a:gd name="T19" fmla="*/ 12 h 33"/>
                <a:gd name="T20" fmla="*/ 22 w 49"/>
                <a:gd name="T21" fmla="*/ 12 h 33"/>
                <a:gd name="T22" fmla="*/ 25 w 49"/>
                <a:gd name="T23" fmla="*/ 32 h 33"/>
                <a:gd name="T24" fmla="*/ 27 w 49"/>
                <a:gd name="T25" fmla="*/ 33 h 33"/>
                <a:gd name="T26" fmla="*/ 46 w 49"/>
                <a:gd name="T27" fmla="*/ 18 h 33"/>
                <a:gd name="T28" fmla="*/ 46 w 49"/>
                <a:gd name="T29" fmla="*/ 17 h 33"/>
                <a:gd name="T30" fmla="*/ 48 w 49"/>
                <a:gd name="T31" fmla="*/ 11 h 33"/>
                <a:gd name="T32" fmla="*/ 48 w 49"/>
                <a:gd name="T33" fmla="*/ 9 h 33"/>
                <a:gd name="T34" fmla="*/ 48 w 49"/>
                <a:gd name="T3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33">
                  <a:moveTo>
                    <a:pt x="48" y="0"/>
                  </a:moveTo>
                  <a:cubicBezTo>
                    <a:pt x="48" y="4"/>
                    <a:pt x="47" y="8"/>
                    <a:pt x="46" y="12"/>
                  </a:cubicBezTo>
                  <a:cubicBezTo>
                    <a:pt x="43" y="20"/>
                    <a:pt x="36" y="27"/>
                    <a:pt x="28" y="27"/>
                  </a:cubicBezTo>
                  <a:cubicBezTo>
                    <a:pt x="27" y="27"/>
                    <a:pt x="26" y="27"/>
                    <a:pt x="25" y="27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6" y="12"/>
                    <a:pt x="9" y="16"/>
                    <a:pt x="1" y="19"/>
                  </a:cubicBezTo>
                  <a:cubicBezTo>
                    <a:pt x="1" y="21"/>
                    <a:pt x="1" y="23"/>
                    <a:pt x="0" y="26"/>
                  </a:cubicBezTo>
                  <a:cubicBezTo>
                    <a:pt x="0" y="25"/>
                    <a:pt x="0" y="25"/>
                    <a:pt x="1" y="25"/>
                  </a:cubicBezTo>
                  <a:cubicBezTo>
                    <a:pt x="9" y="22"/>
                    <a:pt x="16" y="18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7" y="33"/>
                    <a:pt x="27" y="33"/>
                  </a:cubicBezTo>
                  <a:cubicBezTo>
                    <a:pt x="35" y="33"/>
                    <a:pt x="43" y="26"/>
                    <a:pt x="46" y="18"/>
                  </a:cubicBezTo>
                  <a:cubicBezTo>
                    <a:pt x="46" y="18"/>
                    <a:pt x="46" y="17"/>
                    <a:pt x="46" y="17"/>
                  </a:cubicBezTo>
                  <a:cubicBezTo>
                    <a:pt x="47" y="15"/>
                    <a:pt x="47" y="13"/>
                    <a:pt x="48" y="11"/>
                  </a:cubicBezTo>
                  <a:cubicBezTo>
                    <a:pt x="48" y="11"/>
                    <a:pt x="48" y="10"/>
                    <a:pt x="48" y="9"/>
                  </a:cubicBezTo>
                  <a:cubicBezTo>
                    <a:pt x="49" y="6"/>
                    <a:pt x="49" y="3"/>
                    <a:pt x="48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iŝļîḑe">
              <a:extLst>
                <a:ext uri="{FF2B5EF4-FFF2-40B4-BE49-F238E27FC236}">
                  <a16:creationId xmlns:a16="http://schemas.microsoft.com/office/drawing/2014/main" id="{5852F507-A587-487C-BA5F-14E4804C19AC}"/>
                </a:ext>
              </a:extLst>
            </p:cNvPr>
            <p:cNvSpPr/>
            <p:nvPr/>
          </p:nvSpPr>
          <p:spPr bwMode="auto">
            <a:xfrm>
              <a:off x="3473451" y="4751388"/>
              <a:ext cx="28575" cy="109538"/>
            </a:xfrm>
            <a:custGeom>
              <a:avLst/>
              <a:gdLst>
                <a:gd name="T0" fmla="*/ 0 w 19"/>
                <a:gd name="T1" fmla="*/ 72 h 76"/>
                <a:gd name="T2" fmla="*/ 0 w 19"/>
                <a:gd name="T3" fmla="*/ 72 h 76"/>
                <a:gd name="T4" fmla="*/ 0 w 19"/>
                <a:gd name="T5" fmla="*/ 75 h 76"/>
                <a:gd name="T6" fmla="*/ 0 w 19"/>
                <a:gd name="T7" fmla="*/ 76 h 76"/>
                <a:gd name="T8" fmla="*/ 0 w 19"/>
                <a:gd name="T9" fmla="*/ 72 h 76"/>
                <a:gd name="T10" fmla="*/ 19 w 19"/>
                <a:gd name="T11" fmla="*/ 0 h 76"/>
                <a:gd name="T12" fmla="*/ 19 w 19"/>
                <a:gd name="T13" fmla="*/ 0 h 76"/>
                <a:gd name="T14" fmla="*/ 18 w 19"/>
                <a:gd name="T15" fmla="*/ 7 h 76"/>
                <a:gd name="T16" fmla="*/ 18 w 19"/>
                <a:gd name="T17" fmla="*/ 8 h 76"/>
                <a:gd name="T18" fmla="*/ 19 w 19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76">
                  <a:moveTo>
                    <a:pt x="0" y="72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0" y="73"/>
                    <a:pt x="0" y="74"/>
                    <a:pt x="0" y="75"/>
                  </a:cubicBezTo>
                  <a:cubicBezTo>
                    <a:pt x="0" y="75"/>
                    <a:pt x="0" y="76"/>
                    <a:pt x="0" y="76"/>
                  </a:cubicBezTo>
                  <a:cubicBezTo>
                    <a:pt x="0" y="74"/>
                    <a:pt x="0" y="73"/>
                    <a:pt x="0" y="72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2"/>
                    <a:pt x="19" y="5"/>
                    <a:pt x="18" y="7"/>
                  </a:cubicBezTo>
                  <a:cubicBezTo>
                    <a:pt x="18" y="7"/>
                    <a:pt x="18" y="8"/>
                    <a:pt x="18" y="8"/>
                  </a:cubicBezTo>
                  <a:cubicBezTo>
                    <a:pt x="19" y="5"/>
                    <a:pt x="19" y="2"/>
                    <a:pt x="19" y="0"/>
                  </a:cubicBezTo>
                </a:path>
              </a:pathLst>
            </a:custGeom>
            <a:solidFill>
              <a:srgbClr val="356A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isḻiḓè">
              <a:extLst>
                <a:ext uri="{FF2B5EF4-FFF2-40B4-BE49-F238E27FC236}">
                  <a16:creationId xmlns:a16="http://schemas.microsoft.com/office/drawing/2014/main" id="{3F47B8C5-BA59-4156-B346-F8F8D5F4C4C0}"/>
                </a:ext>
              </a:extLst>
            </p:cNvPr>
            <p:cNvSpPr/>
            <p:nvPr/>
          </p:nvSpPr>
          <p:spPr bwMode="auto">
            <a:xfrm>
              <a:off x="3473451" y="4760913"/>
              <a:ext cx="26988" cy="93663"/>
            </a:xfrm>
            <a:custGeom>
              <a:avLst/>
              <a:gdLst>
                <a:gd name="T0" fmla="*/ 18 w 18"/>
                <a:gd name="T1" fmla="*/ 0 h 65"/>
                <a:gd name="T2" fmla="*/ 1 w 18"/>
                <a:gd name="T3" fmla="*/ 58 h 65"/>
                <a:gd name="T4" fmla="*/ 0 w 18"/>
                <a:gd name="T5" fmla="*/ 65 h 65"/>
                <a:gd name="T6" fmla="*/ 0 w 18"/>
                <a:gd name="T7" fmla="*/ 65 h 65"/>
                <a:gd name="T8" fmla="*/ 1 w 18"/>
                <a:gd name="T9" fmla="*/ 58 h 65"/>
                <a:gd name="T10" fmla="*/ 18 w 18"/>
                <a:gd name="T11" fmla="*/ 1 h 65"/>
                <a:gd name="T12" fmla="*/ 18 w 18"/>
                <a:gd name="T1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65">
                  <a:moveTo>
                    <a:pt x="18" y="0"/>
                  </a:moveTo>
                  <a:cubicBezTo>
                    <a:pt x="16" y="20"/>
                    <a:pt x="4" y="38"/>
                    <a:pt x="1" y="58"/>
                  </a:cubicBezTo>
                  <a:cubicBezTo>
                    <a:pt x="1" y="60"/>
                    <a:pt x="0" y="63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2"/>
                    <a:pt x="1" y="60"/>
                    <a:pt x="1" y="58"/>
                  </a:cubicBezTo>
                  <a:cubicBezTo>
                    <a:pt x="4" y="38"/>
                    <a:pt x="16" y="20"/>
                    <a:pt x="18" y="1"/>
                  </a:cubicBezTo>
                  <a:cubicBezTo>
                    <a:pt x="18" y="1"/>
                    <a:pt x="18" y="0"/>
                    <a:pt x="18" y="0"/>
                  </a:cubicBezTo>
                </a:path>
              </a:pathLst>
            </a:custGeom>
            <a:solidFill>
              <a:srgbClr val="2F5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ïṩlîḍé">
              <a:extLst>
                <a:ext uri="{FF2B5EF4-FFF2-40B4-BE49-F238E27FC236}">
                  <a16:creationId xmlns:a16="http://schemas.microsoft.com/office/drawing/2014/main" id="{C658B953-3304-4A72-BCB2-96BA8A775B84}"/>
                </a:ext>
              </a:extLst>
            </p:cNvPr>
            <p:cNvSpPr/>
            <p:nvPr/>
          </p:nvSpPr>
          <p:spPr bwMode="auto">
            <a:xfrm>
              <a:off x="3473451" y="4751388"/>
              <a:ext cx="28575" cy="107950"/>
            </a:xfrm>
            <a:custGeom>
              <a:avLst/>
              <a:gdLst>
                <a:gd name="T0" fmla="*/ 19 w 19"/>
                <a:gd name="T1" fmla="*/ 0 h 75"/>
                <a:gd name="T2" fmla="*/ 1 w 19"/>
                <a:gd name="T3" fmla="*/ 59 h 75"/>
                <a:gd name="T4" fmla="*/ 0 w 19"/>
                <a:gd name="T5" fmla="*/ 75 h 75"/>
                <a:gd name="T6" fmla="*/ 0 w 19"/>
                <a:gd name="T7" fmla="*/ 72 h 75"/>
                <a:gd name="T8" fmla="*/ 1 w 19"/>
                <a:gd name="T9" fmla="*/ 65 h 75"/>
                <a:gd name="T10" fmla="*/ 18 w 19"/>
                <a:gd name="T11" fmla="*/ 7 h 75"/>
                <a:gd name="T12" fmla="*/ 19 w 19"/>
                <a:gd name="T1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5">
                  <a:moveTo>
                    <a:pt x="19" y="0"/>
                  </a:moveTo>
                  <a:cubicBezTo>
                    <a:pt x="17" y="20"/>
                    <a:pt x="4" y="39"/>
                    <a:pt x="1" y="59"/>
                  </a:cubicBezTo>
                  <a:cubicBezTo>
                    <a:pt x="0" y="64"/>
                    <a:pt x="0" y="70"/>
                    <a:pt x="0" y="75"/>
                  </a:cubicBezTo>
                  <a:cubicBezTo>
                    <a:pt x="0" y="74"/>
                    <a:pt x="0" y="73"/>
                    <a:pt x="0" y="72"/>
                  </a:cubicBezTo>
                  <a:cubicBezTo>
                    <a:pt x="0" y="70"/>
                    <a:pt x="1" y="67"/>
                    <a:pt x="1" y="65"/>
                  </a:cubicBezTo>
                  <a:cubicBezTo>
                    <a:pt x="4" y="45"/>
                    <a:pt x="16" y="27"/>
                    <a:pt x="18" y="7"/>
                  </a:cubicBezTo>
                  <a:cubicBezTo>
                    <a:pt x="19" y="5"/>
                    <a:pt x="19" y="2"/>
                    <a:pt x="19" y="0"/>
                  </a:cubicBezTo>
                </a:path>
              </a:pathLst>
            </a:custGeom>
            <a:solidFill>
              <a:srgbClr val="32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îṥḻíḋê">
              <a:extLst>
                <a:ext uri="{FF2B5EF4-FFF2-40B4-BE49-F238E27FC236}">
                  <a16:creationId xmlns:a16="http://schemas.microsoft.com/office/drawing/2014/main" id="{557FF0B2-48E9-4ACD-BCCE-C7A4F48D92A9}"/>
                </a:ext>
              </a:extLst>
            </p:cNvPr>
            <p:cNvSpPr/>
            <p:nvPr/>
          </p:nvSpPr>
          <p:spPr bwMode="auto">
            <a:xfrm>
              <a:off x="5564188" y="2319338"/>
              <a:ext cx="1501775" cy="684213"/>
            </a:xfrm>
            <a:custGeom>
              <a:avLst/>
              <a:gdLst>
                <a:gd name="T0" fmla="*/ 1035 w 1035"/>
                <a:gd name="T1" fmla="*/ 42 h 472"/>
                <a:gd name="T2" fmla="*/ 1035 w 1035"/>
                <a:gd name="T3" fmla="*/ 434 h 472"/>
                <a:gd name="T4" fmla="*/ 990 w 1035"/>
                <a:gd name="T5" fmla="*/ 472 h 472"/>
                <a:gd name="T6" fmla="*/ 45 w 1035"/>
                <a:gd name="T7" fmla="*/ 472 h 472"/>
                <a:gd name="T8" fmla="*/ 0 w 1035"/>
                <a:gd name="T9" fmla="*/ 434 h 472"/>
                <a:gd name="T10" fmla="*/ 0 w 1035"/>
                <a:gd name="T11" fmla="*/ 42 h 472"/>
                <a:gd name="T12" fmla="*/ 45 w 1035"/>
                <a:gd name="T13" fmla="*/ 0 h 472"/>
                <a:gd name="T14" fmla="*/ 990 w 1035"/>
                <a:gd name="T15" fmla="*/ 0 h 472"/>
                <a:gd name="T16" fmla="*/ 1035 w 1035"/>
                <a:gd name="T17" fmla="*/ 4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5" h="472">
                  <a:moveTo>
                    <a:pt x="1035" y="42"/>
                  </a:moveTo>
                  <a:cubicBezTo>
                    <a:pt x="1035" y="434"/>
                    <a:pt x="1035" y="434"/>
                    <a:pt x="1035" y="434"/>
                  </a:cubicBezTo>
                  <a:cubicBezTo>
                    <a:pt x="1035" y="455"/>
                    <a:pt x="1015" y="472"/>
                    <a:pt x="990" y="472"/>
                  </a:cubicBezTo>
                  <a:cubicBezTo>
                    <a:pt x="45" y="472"/>
                    <a:pt x="45" y="472"/>
                    <a:pt x="45" y="472"/>
                  </a:cubicBezTo>
                  <a:cubicBezTo>
                    <a:pt x="20" y="472"/>
                    <a:pt x="0" y="455"/>
                    <a:pt x="0" y="43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21"/>
                    <a:pt x="20" y="0"/>
                    <a:pt x="45" y="0"/>
                  </a:cubicBezTo>
                  <a:cubicBezTo>
                    <a:pt x="990" y="0"/>
                    <a:pt x="990" y="0"/>
                    <a:pt x="990" y="0"/>
                  </a:cubicBezTo>
                  <a:cubicBezTo>
                    <a:pt x="1015" y="0"/>
                    <a:pt x="1035" y="21"/>
                    <a:pt x="1035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îṣļîḑê">
              <a:extLst>
                <a:ext uri="{FF2B5EF4-FFF2-40B4-BE49-F238E27FC236}">
                  <a16:creationId xmlns:a16="http://schemas.microsoft.com/office/drawing/2014/main" id="{D19A785B-211B-4F64-92C8-1394C96ADDAB}"/>
                </a:ext>
              </a:extLst>
            </p:cNvPr>
            <p:cNvSpPr/>
            <p:nvPr/>
          </p:nvSpPr>
          <p:spPr bwMode="auto">
            <a:xfrm>
              <a:off x="6865938" y="2319338"/>
              <a:ext cx="149225" cy="1588"/>
            </a:xfrm>
            <a:custGeom>
              <a:avLst/>
              <a:gdLst>
                <a:gd name="T0" fmla="*/ 92 w 102"/>
                <a:gd name="T1" fmla="*/ 0 h 1"/>
                <a:gd name="T2" fmla="*/ 0 w 102"/>
                <a:gd name="T3" fmla="*/ 0 h 1"/>
                <a:gd name="T4" fmla="*/ 92 w 102"/>
                <a:gd name="T5" fmla="*/ 0 h 1"/>
                <a:gd name="T6" fmla="*/ 102 w 102"/>
                <a:gd name="T7" fmla="*/ 1 h 1"/>
                <a:gd name="T8" fmla="*/ 102 w 102"/>
                <a:gd name="T9" fmla="*/ 1 h 1"/>
                <a:gd name="T10" fmla="*/ 92 w 10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">
                  <a:moveTo>
                    <a:pt x="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6" y="0"/>
                    <a:pt x="99" y="0"/>
                    <a:pt x="102" y="1"/>
                  </a:cubicBezTo>
                  <a:cubicBezTo>
                    <a:pt x="102" y="1"/>
                    <a:pt x="102" y="1"/>
                    <a:pt x="102" y="1"/>
                  </a:cubicBezTo>
                  <a:cubicBezTo>
                    <a:pt x="99" y="0"/>
                    <a:pt x="96" y="0"/>
                    <a:pt x="9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iṩḻiḍe">
              <a:extLst>
                <a:ext uri="{FF2B5EF4-FFF2-40B4-BE49-F238E27FC236}">
                  <a16:creationId xmlns:a16="http://schemas.microsoft.com/office/drawing/2014/main" id="{4C03E6FA-8DF7-4785-B118-AEBD405935E3}"/>
                </a:ext>
              </a:extLst>
            </p:cNvPr>
            <p:cNvSpPr/>
            <p:nvPr/>
          </p:nvSpPr>
          <p:spPr bwMode="auto">
            <a:xfrm>
              <a:off x="7015163" y="2320925"/>
              <a:ext cx="34925" cy="22225"/>
            </a:xfrm>
            <a:custGeom>
              <a:avLst/>
              <a:gdLst>
                <a:gd name="T0" fmla="*/ 0 w 25"/>
                <a:gd name="T1" fmla="*/ 0 h 15"/>
                <a:gd name="T2" fmla="*/ 0 w 25"/>
                <a:gd name="T3" fmla="*/ 0 h 15"/>
                <a:gd name="T4" fmla="*/ 25 w 25"/>
                <a:gd name="T5" fmla="*/ 15 h 15"/>
                <a:gd name="T6" fmla="*/ 0 w 2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2"/>
                    <a:pt x="18" y="8"/>
                    <a:pt x="25" y="15"/>
                  </a:cubicBezTo>
                  <a:cubicBezTo>
                    <a:pt x="18" y="7"/>
                    <a:pt x="10" y="2"/>
                    <a:pt x="0" y="0"/>
                  </a:cubicBezTo>
                </a:path>
              </a:pathLst>
            </a:custGeom>
            <a:solidFill>
              <a:srgbClr val="BBD3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iṣ1îḓé">
              <a:extLst>
                <a:ext uri="{FF2B5EF4-FFF2-40B4-BE49-F238E27FC236}">
                  <a16:creationId xmlns:a16="http://schemas.microsoft.com/office/drawing/2014/main" id="{584B48AF-28B4-4DD4-B411-13FB9750B2D9}"/>
                </a:ext>
              </a:extLst>
            </p:cNvPr>
            <p:cNvSpPr/>
            <p:nvPr/>
          </p:nvSpPr>
          <p:spPr bwMode="auto">
            <a:xfrm>
              <a:off x="5622926" y="2319338"/>
              <a:ext cx="139700" cy="0"/>
            </a:xfrm>
            <a:custGeom>
              <a:avLst/>
              <a:gdLst>
                <a:gd name="T0" fmla="*/ 96 w 96"/>
                <a:gd name="T1" fmla="*/ 5 w 96"/>
                <a:gd name="T2" fmla="*/ 0 w 96"/>
                <a:gd name="T3" fmla="*/ 0 w 96"/>
                <a:gd name="T4" fmla="*/ 5 w 96"/>
                <a:gd name="T5" fmla="*/ 96 w 96"/>
                <a:gd name="T6" fmla="*/ 96 w 9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96">
                  <a:moveTo>
                    <a:pt x="9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íSḻîḋè">
              <a:extLst>
                <a:ext uri="{FF2B5EF4-FFF2-40B4-BE49-F238E27FC236}">
                  <a16:creationId xmlns:a16="http://schemas.microsoft.com/office/drawing/2014/main" id="{3062EC54-5D8C-4EE2-8C57-E266DD771853}"/>
                </a:ext>
              </a:extLst>
            </p:cNvPr>
            <p:cNvSpPr/>
            <p:nvPr/>
          </p:nvSpPr>
          <p:spPr bwMode="auto">
            <a:xfrm>
              <a:off x="5608638" y="2319338"/>
              <a:ext cx="1457325" cy="223838"/>
            </a:xfrm>
            <a:custGeom>
              <a:avLst/>
              <a:gdLst>
                <a:gd name="T0" fmla="*/ 960 w 1005"/>
                <a:gd name="T1" fmla="*/ 0 h 154"/>
                <a:gd name="T2" fmla="*/ 868 w 1005"/>
                <a:gd name="T3" fmla="*/ 0 h 154"/>
                <a:gd name="T4" fmla="*/ 200 w 1005"/>
                <a:gd name="T5" fmla="*/ 0 h 154"/>
                <a:gd name="T6" fmla="*/ 196 w 1005"/>
                <a:gd name="T7" fmla="*/ 11 h 154"/>
                <a:gd name="T8" fmla="*/ 149 w 1005"/>
                <a:gd name="T9" fmla="*/ 28 h 154"/>
                <a:gd name="T10" fmla="*/ 141 w 1005"/>
                <a:gd name="T11" fmla="*/ 30 h 154"/>
                <a:gd name="T12" fmla="*/ 132 w 1005"/>
                <a:gd name="T13" fmla="*/ 28 h 154"/>
                <a:gd name="T14" fmla="*/ 106 w 1005"/>
                <a:gd name="T15" fmla="*/ 0 h 154"/>
                <a:gd name="T16" fmla="*/ 15 w 1005"/>
                <a:gd name="T17" fmla="*/ 0 h 154"/>
                <a:gd name="T18" fmla="*/ 10 w 1005"/>
                <a:gd name="T19" fmla="*/ 0 h 154"/>
                <a:gd name="T20" fmla="*/ 12 w 1005"/>
                <a:gd name="T21" fmla="*/ 51 h 154"/>
                <a:gd name="T22" fmla="*/ 27 w 1005"/>
                <a:gd name="T23" fmla="*/ 47 h 154"/>
                <a:gd name="T24" fmla="*/ 57 w 1005"/>
                <a:gd name="T25" fmla="*/ 77 h 154"/>
                <a:gd name="T26" fmla="*/ 27 w 1005"/>
                <a:gd name="T27" fmla="*/ 107 h 154"/>
                <a:gd name="T28" fmla="*/ 11 w 1005"/>
                <a:gd name="T29" fmla="*/ 102 h 154"/>
                <a:gd name="T30" fmla="*/ 5 w 1005"/>
                <a:gd name="T31" fmla="*/ 138 h 154"/>
                <a:gd name="T32" fmla="*/ 0 w 1005"/>
                <a:gd name="T33" fmla="*/ 154 h 154"/>
                <a:gd name="T34" fmla="*/ 1005 w 1005"/>
                <a:gd name="T35" fmla="*/ 154 h 154"/>
                <a:gd name="T36" fmla="*/ 1005 w 1005"/>
                <a:gd name="T37" fmla="*/ 44 h 154"/>
                <a:gd name="T38" fmla="*/ 995 w 1005"/>
                <a:gd name="T39" fmla="*/ 16 h 154"/>
                <a:gd name="T40" fmla="*/ 970 w 1005"/>
                <a:gd name="T41" fmla="*/ 1 h 154"/>
                <a:gd name="T42" fmla="*/ 960 w 1005"/>
                <a:gd name="T4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05" h="154">
                  <a:moveTo>
                    <a:pt x="960" y="0"/>
                  </a:moveTo>
                  <a:cubicBezTo>
                    <a:pt x="868" y="0"/>
                    <a:pt x="868" y="0"/>
                    <a:pt x="868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01" y="5"/>
                    <a:pt x="200" y="9"/>
                    <a:pt x="196" y="11"/>
                  </a:cubicBezTo>
                  <a:cubicBezTo>
                    <a:pt x="186" y="15"/>
                    <a:pt x="157" y="24"/>
                    <a:pt x="149" y="28"/>
                  </a:cubicBezTo>
                  <a:cubicBezTo>
                    <a:pt x="147" y="29"/>
                    <a:pt x="144" y="30"/>
                    <a:pt x="141" y="30"/>
                  </a:cubicBezTo>
                  <a:cubicBezTo>
                    <a:pt x="138" y="30"/>
                    <a:pt x="135" y="29"/>
                    <a:pt x="132" y="28"/>
                  </a:cubicBezTo>
                  <a:cubicBezTo>
                    <a:pt x="132" y="28"/>
                    <a:pt x="121" y="13"/>
                    <a:pt x="10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11" y="11"/>
                    <a:pt x="12" y="30"/>
                    <a:pt x="12" y="51"/>
                  </a:cubicBezTo>
                  <a:cubicBezTo>
                    <a:pt x="16" y="48"/>
                    <a:pt x="21" y="47"/>
                    <a:pt x="27" y="47"/>
                  </a:cubicBezTo>
                  <a:cubicBezTo>
                    <a:pt x="43" y="47"/>
                    <a:pt x="57" y="60"/>
                    <a:pt x="57" y="77"/>
                  </a:cubicBezTo>
                  <a:cubicBezTo>
                    <a:pt x="57" y="93"/>
                    <a:pt x="43" y="107"/>
                    <a:pt x="27" y="107"/>
                  </a:cubicBezTo>
                  <a:cubicBezTo>
                    <a:pt x="21" y="107"/>
                    <a:pt x="16" y="105"/>
                    <a:pt x="11" y="102"/>
                  </a:cubicBezTo>
                  <a:cubicBezTo>
                    <a:pt x="10" y="119"/>
                    <a:pt x="8" y="132"/>
                    <a:pt x="5" y="138"/>
                  </a:cubicBezTo>
                  <a:cubicBezTo>
                    <a:pt x="3" y="141"/>
                    <a:pt x="1" y="146"/>
                    <a:pt x="0" y="154"/>
                  </a:cubicBezTo>
                  <a:cubicBezTo>
                    <a:pt x="1005" y="154"/>
                    <a:pt x="1005" y="154"/>
                    <a:pt x="1005" y="154"/>
                  </a:cubicBezTo>
                  <a:cubicBezTo>
                    <a:pt x="1005" y="44"/>
                    <a:pt x="1005" y="44"/>
                    <a:pt x="1005" y="44"/>
                  </a:cubicBezTo>
                  <a:cubicBezTo>
                    <a:pt x="1005" y="33"/>
                    <a:pt x="1001" y="23"/>
                    <a:pt x="995" y="16"/>
                  </a:cubicBezTo>
                  <a:cubicBezTo>
                    <a:pt x="988" y="9"/>
                    <a:pt x="980" y="3"/>
                    <a:pt x="970" y="1"/>
                  </a:cubicBezTo>
                  <a:cubicBezTo>
                    <a:pt x="967" y="0"/>
                    <a:pt x="964" y="0"/>
                    <a:pt x="960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$ḷïḍé">
              <a:extLst>
                <a:ext uri="{FF2B5EF4-FFF2-40B4-BE49-F238E27FC236}">
                  <a16:creationId xmlns:a16="http://schemas.microsoft.com/office/drawing/2014/main" id="{5CA9F8F5-D7C1-49AA-B4B0-CFE0A29E55E1}"/>
                </a:ext>
              </a:extLst>
            </p:cNvPr>
            <p:cNvSpPr/>
            <p:nvPr/>
          </p:nvSpPr>
          <p:spPr bwMode="auto">
            <a:xfrm>
              <a:off x="5603876" y="2387600"/>
              <a:ext cx="87313" cy="87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îṣľîdê">
              <a:extLst>
                <a:ext uri="{FF2B5EF4-FFF2-40B4-BE49-F238E27FC236}">
                  <a16:creationId xmlns:a16="http://schemas.microsoft.com/office/drawing/2014/main" id="{4F8B98B3-A7DA-45EF-B575-E49052937E12}"/>
                </a:ext>
              </a:extLst>
            </p:cNvPr>
            <p:cNvSpPr/>
            <p:nvPr/>
          </p:nvSpPr>
          <p:spPr bwMode="auto">
            <a:xfrm>
              <a:off x="5729288" y="2387600"/>
              <a:ext cx="87313" cy="87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îṩļïďe">
              <a:extLst>
                <a:ext uri="{FF2B5EF4-FFF2-40B4-BE49-F238E27FC236}">
                  <a16:creationId xmlns:a16="http://schemas.microsoft.com/office/drawing/2014/main" id="{DF41970F-3B35-4C8A-B0A4-009CEB4F1D94}"/>
                </a:ext>
              </a:extLst>
            </p:cNvPr>
            <p:cNvSpPr/>
            <p:nvPr/>
          </p:nvSpPr>
          <p:spPr bwMode="auto">
            <a:xfrm>
              <a:off x="5856288" y="2387600"/>
              <a:ext cx="85725" cy="87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íš1iḍé">
              <a:extLst>
                <a:ext uri="{FF2B5EF4-FFF2-40B4-BE49-F238E27FC236}">
                  <a16:creationId xmlns:a16="http://schemas.microsoft.com/office/drawing/2014/main" id="{E895A83E-461B-48CC-8BAF-94346C1905B1}"/>
                </a:ext>
              </a:extLst>
            </p:cNvPr>
            <p:cNvSpPr/>
            <p:nvPr/>
          </p:nvSpPr>
          <p:spPr bwMode="auto">
            <a:xfrm>
              <a:off x="6599238" y="2600325"/>
              <a:ext cx="339725" cy="338138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îSḷíde">
              <a:extLst>
                <a:ext uri="{FF2B5EF4-FFF2-40B4-BE49-F238E27FC236}">
                  <a16:creationId xmlns:a16="http://schemas.microsoft.com/office/drawing/2014/main" id="{9C886EFA-F327-4D7F-8DCC-E1A7F5F783ED}"/>
                </a:ext>
              </a:extLst>
            </p:cNvPr>
            <p:cNvSpPr/>
            <p:nvPr/>
          </p:nvSpPr>
          <p:spPr bwMode="auto">
            <a:xfrm>
              <a:off x="5694363" y="2655888"/>
              <a:ext cx="714375" cy="2381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iṧľiḓè">
              <a:extLst>
                <a:ext uri="{FF2B5EF4-FFF2-40B4-BE49-F238E27FC236}">
                  <a16:creationId xmlns:a16="http://schemas.microsoft.com/office/drawing/2014/main" id="{D64C51A5-69F2-433D-BBEC-AD068D665D06}"/>
                </a:ext>
              </a:extLst>
            </p:cNvPr>
            <p:cNvSpPr/>
            <p:nvPr/>
          </p:nvSpPr>
          <p:spPr bwMode="auto">
            <a:xfrm>
              <a:off x="5694363" y="2716213"/>
              <a:ext cx="714375" cy="25400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i$1íḍê">
              <a:extLst>
                <a:ext uri="{FF2B5EF4-FFF2-40B4-BE49-F238E27FC236}">
                  <a16:creationId xmlns:a16="http://schemas.microsoft.com/office/drawing/2014/main" id="{CF8C7F1A-698C-4153-8C49-591BAA2EEE85}"/>
                </a:ext>
              </a:extLst>
            </p:cNvPr>
            <p:cNvSpPr/>
            <p:nvPr/>
          </p:nvSpPr>
          <p:spPr bwMode="auto">
            <a:xfrm>
              <a:off x="5694363" y="2716213"/>
              <a:ext cx="714375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ṩļiďè">
              <a:extLst>
                <a:ext uri="{FF2B5EF4-FFF2-40B4-BE49-F238E27FC236}">
                  <a16:creationId xmlns:a16="http://schemas.microsoft.com/office/drawing/2014/main" id="{23326FA8-BCCB-4757-AD64-E957572F476B}"/>
                </a:ext>
              </a:extLst>
            </p:cNvPr>
            <p:cNvSpPr/>
            <p:nvPr/>
          </p:nvSpPr>
          <p:spPr bwMode="auto">
            <a:xfrm>
              <a:off x="5694363" y="2778125"/>
              <a:ext cx="714375" cy="25400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iś1îḋè">
              <a:extLst>
                <a:ext uri="{FF2B5EF4-FFF2-40B4-BE49-F238E27FC236}">
                  <a16:creationId xmlns:a16="http://schemas.microsoft.com/office/drawing/2014/main" id="{D4024748-E095-4657-9001-728E8E91EF86}"/>
                </a:ext>
              </a:extLst>
            </p:cNvPr>
            <p:cNvSpPr/>
            <p:nvPr/>
          </p:nvSpPr>
          <p:spPr bwMode="auto">
            <a:xfrm>
              <a:off x="5694363" y="2778125"/>
              <a:ext cx="714375" cy="2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íšḷiḍè">
              <a:extLst>
                <a:ext uri="{FF2B5EF4-FFF2-40B4-BE49-F238E27FC236}">
                  <a16:creationId xmlns:a16="http://schemas.microsoft.com/office/drawing/2014/main" id="{52947AB6-3175-4C36-A263-A1799A816E42}"/>
                </a:ext>
              </a:extLst>
            </p:cNvPr>
            <p:cNvSpPr/>
            <p:nvPr/>
          </p:nvSpPr>
          <p:spPr bwMode="auto">
            <a:xfrm>
              <a:off x="5694363" y="2840038"/>
              <a:ext cx="714375" cy="2381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ïśļíḍe">
              <a:extLst>
                <a:ext uri="{FF2B5EF4-FFF2-40B4-BE49-F238E27FC236}">
                  <a16:creationId xmlns:a16="http://schemas.microsoft.com/office/drawing/2014/main" id="{D6DBC207-1CBF-4E49-9CFD-7AC179EB74E3}"/>
                </a:ext>
              </a:extLst>
            </p:cNvPr>
            <p:cNvSpPr/>
            <p:nvPr/>
          </p:nvSpPr>
          <p:spPr bwMode="auto">
            <a:xfrm>
              <a:off x="5694363" y="2840038"/>
              <a:ext cx="714375" cy="23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îṣḷiďé">
              <a:extLst>
                <a:ext uri="{FF2B5EF4-FFF2-40B4-BE49-F238E27FC236}">
                  <a16:creationId xmlns:a16="http://schemas.microsoft.com/office/drawing/2014/main" id="{BF222694-DB9A-4C75-940D-FB8D37B3BC75}"/>
                </a:ext>
              </a:extLst>
            </p:cNvPr>
            <p:cNvSpPr/>
            <p:nvPr/>
          </p:nvSpPr>
          <p:spPr bwMode="auto">
            <a:xfrm>
              <a:off x="4824413" y="3159125"/>
              <a:ext cx="141288" cy="152400"/>
            </a:xfrm>
            <a:custGeom>
              <a:avLst/>
              <a:gdLst>
                <a:gd name="T0" fmla="*/ 98 w 98"/>
                <a:gd name="T1" fmla="*/ 32 h 105"/>
                <a:gd name="T2" fmla="*/ 81 w 98"/>
                <a:gd name="T3" fmla="*/ 71 h 105"/>
                <a:gd name="T4" fmla="*/ 43 w 98"/>
                <a:gd name="T5" fmla="*/ 105 h 105"/>
                <a:gd name="T6" fmla="*/ 0 w 98"/>
                <a:gd name="T7" fmla="*/ 75 h 105"/>
                <a:gd name="T8" fmla="*/ 5 w 98"/>
                <a:gd name="T9" fmla="*/ 54 h 105"/>
                <a:gd name="T10" fmla="*/ 56 w 98"/>
                <a:gd name="T11" fmla="*/ 5 h 105"/>
                <a:gd name="T12" fmla="*/ 98 w 98"/>
                <a:gd name="T13" fmla="*/ 3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105">
                  <a:moveTo>
                    <a:pt x="98" y="32"/>
                  </a:moveTo>
                  <a:cubicBezTo>
                    <a:pt x="98" y="32"/>
                    <a:pt x="80" y="69"/>
                    <a:pt x="81" y="71"/>
                  </a:cubicBezTo>
                  <a:cubicBezTo>
                    <a:pt x="82" y="74"/>
                    <a:pt x="43" y="105"/>
                    <a:pt x="43" y="10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5" y="54"/>
                    <a:pt x="53" y="10"/>
                    <a:pt x="56" y="5"/>
                  </a:cubicBezTo>
                  <a:cubicBezTo>
                    <a:pt x="60" y="0"/>
                    <a:pt x="98" y="32"/>
                    <a:pt x="98" y="32"/>
                  </a:cubicBezTo>
                </a:path>
              </a:pathLst>
            </a:custGeom>
            <a:solidFill>
              <a:srgbClr val="BE6F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isľiḍê">
              <a:extLst>
                <a:ext uri="{FF2B5EF4-FFF2-40B4-BE49-F238E27FC236}">
                  <a16:creationId xmlns:a16="http://schemas.microsoft.com/office/drawing/2014/main" id="{7D31D809-46C7-4998-9F7B-EFD4800AF2B1}"/>
                </a:ext>
              </a:extLst>
            </p:cNvPr>
            <p:cNvSpPr/>
            <p:nvPr/>
          </p:nvSpPr>
          <p:spPr bwMode="auto">
            <a:xfrm>
              <a:off x="4589463" y="3216275"/>
              <a:ext cx="338138" cy="211138"/>
            </a:xfrm>
            <a:custGeom>
              <a:avLst/>
              <a:gdLst>
                <a:gd name="T0" fmla="*/ 16 w 234"/>
                <a:gd name="T1" fmla="*/ 118 h 146"/>
                <a:gd name="T2" fmla="*/ 98 w 234"/>
                <a:gd name="T3" fmla="*/ 136 h 146"/>
                <a:gd name="T4" fmla="*/ 211 w 234"/>
                <a:gd name="T5" fmla="*/ 77 h 146"/>
                <a:gd name="T6" fmla="*/ 219 w 234"/>
                <a:gd name="T7" fmla="*/ 69 h 146"/>
                <a:gd name="T8" fmla="*/ 234 w 234"/>
                <a:gd name="T9" fmla="*/ 42 h 146"/>
                <a:gd name="T10" fmla="*/ 197 w 234"/>
                <a:gd name="T11" fmla="*/ 42 h 146"/>
                <a:gd name="T12" fmla="*/ 182 w 234"/>
                <a:gd name="T13" fmla="*/ 27 h 146"/>
                <a:gd name="T14" fmla="*/ 182 w 234"/>
                <a:gd name="T15" fmla="*/ 0 h 146"/>
                <a:gd name="T16" fmla="*/ 140 w 234"/>
                <a:gd name="T17" fmla="*/ 28 h 146"/>
                <a:gd name="T18" fmla="*/ 81 w 234"/>
                <a:gd name="T19" fmla="*/ 49 h 146"/>
                <a:gd name="T20" fmla="*/ 46 w 234"/>
                <a:gd name="T21" fmla="*/ 67 h 146"/>
                <a:gd name="T22" fmla="*/ 16 w 234"/>
                <a:gd name="T23" fmla="*/ 11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4" h="146">
                  <a:moveTo>
                    <a:pt x="16" y="118"/>
                  </a:moveTo>
                  <a:cubicBezTo>
                    <a:pt x="46" y="146"/>
                    <a:pt x="81" y="138"/>
                    <a:pt x="98" y="136"/>
                  </a:cubicBezTo>
                  <a:cubicBezTo>
                    <a:pt x="114" y="134"/>
                    <a:pt x="203" y="81"/>
                    <a:pt x="211" y="77"/>
                  </a:cubicBezTo>
                  <a:cubicBezTo>
                    <a:pt x="214" y="75"/>
                    <a:pt x="217" y="73"/>
                    <a:pt x="219" y="69"/>
                  </a:cubicBezTo>
                  <a:cubicBezTo>
                    <a:pt x="225" y="61"/>
                    <a:pt x="230" y="51"/>
                    <a:pt x="234" y="42"/>
                  </a:cubicBezTo>
                  <a:cubicBezTo>
                    <a:pt x="233" y="42"/>
                    <a:pt x="204" y="50"/>
                    <a:pt x="197" y="42"/>
                  </a:cubicBezTo>
                  <a:cubicBezTo>
                    <a:pt x="197" y="42"/>
                    <a:pt x="185" y="27"/>
                    <a:pt x="182" y="27"/>
                  </a:cubicBezTo>
                  <a:cubicBezTo>
                    <a:pt x="180" y="27"/>
                    <a:pt x="182" y="0"/>
                    <a:pt x="182" y="0"/>
                  </a:cubicBezTo>
                  <a:cubicBezTo>
                    <a:pt x="182" y="0"/>
                    <a:pt x="151" y="18"/>
                    <a:pt x="140" y="28"/>
                  </a:cubicBezTo>
                  <a:cubicBezTo>
                    <a:pt x="130" y="37"/>
                    <a:pt x="81" y="49"/>
                    <a:pt x="81" y="49"/>
                  </a:cubicBezTo>
                  <a:cubicBezTo>
                    <a:pt x="69" y="54"/>
                    <a:pt x="57" y="60"/>
                    <a:pt x="46" y="67"/>
                  </a:cubicBezTo>
                  <a:cubicBezTo>
                    <a:pt x="23" y="81"/>
                    <a:pt x="0" y="101"/>
                    <a:pt x="16" y="118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iṡ1íḋê">
              <a:extLst>
                <a:ext uri="{FF2B5EF4-FFF2-40B4-BE49-F238E27FC236}">
                  <a16:creationId xmlns:a16="http://schemas.microsoft.com/office/drawing/2014/main" id="{2FABBCCE-4DA0-47C3-B128-97E66C459B56}"/>
                </a:ext>
              </a:extLst>
            </p:cNvPr>
            <p:cNvSpPr/>
            <p:nvPr/>
          </p:nvSpPr>
          <p:spPr bwMode="auto">
            <a:xfrm>
              <a:off x="4606926" y="3313113"/>
              <a:ext cx="49213" cy="47625"/>
            </a:xfrm>
            <a:custGeom>
              <a:avLst/>
              <a:gdLst>
                <a:gd name="T0" fmla="*/ 34 w 34"/>
                <a:gd name="T1" fmla="*/ 0 h 33"/>
                <a:gd name="T2" fmla="*/ 0 w 34"/>
                <a:gd name="T3" fmla="*/ 33 h 33"/>
                <a:gd name="T4" fmla="*/ 0 w 34"/>
                <a:gd name="T5" fmla="*/ 33 h 33"/>
                <a:gd name="T6" fmla="*/ 33 w 34"/>
                <a:gd name="T7" fmla="*/ 0 h 33"/>
                <a:gd name="T8" fmla="*/ 34 w 34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3">
                  <a:moveTo>
                    <a:pt x="34" y="0"/>
                  </a:moveTo>
                  <a:cubicBezTo>
                    <a:pt x="19" y="9"/>
                    <a:pt x="4" y="21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21"/>
                    <a:pt x="18" y="10"/>
                    <a:pt x="33" y="0"/>
                  </a:cubicBezTo>
                  <a:cubicBezTo>
                    <a:pt x="34" y="0"/>
                    <a:pt x="34" y="0"/>
                    <a:pt x="34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iṥļiḑê">
              <a:extLst>
                <a:ext uri="{FF2B5EF4-FFF2-40B4-BE49-F238E27FC236}">
                  <a16:creationId xmlns:a16="http://schemas.microsoft.com/office/drawing/2014/main" id="{397817E2-2563-44F8-8B00-47B0D606F3AB}"/>
                </a:ext>
              </a:extLst>
            </p:cNvPr>
            <p:cNvSpPr/>
            <p:nvPr/>
          </p:nvSpPr>
          <p:spPr bwMode="auto">
            <a:xfrm>
              <a:off x="4606926" y="3313113"/>
              <a:ext cx="300038" cy="103188"/>
            </a:xfrm>
            <a:custGeom>
              <a:avLst/>
              <a:gdLst>
                <a:gd name="T0" fmla="*/ 33 w 207"/>
                <a:gd name="T1" fmla="*/ 0 h 71"/>
                <a:gd name="T2" fmla="*/ 0 w 207"/>
                <a:gd name="T3" fmla="*/ 33 h 71"/>
                <a:gd name="T4" fmla="*/ 0 w 207"/>
                <a:gd name="T5" fmla="*/ 34 h 71"/>
                <a:gd name="T6" fmla="*/ 8 w 207"/>
                <a:gd name="T7" fmla="*/ 34 h 71"/>
                <a:gd name="T8" fmla="*/ 11 w 207"/>
                <a:gd name="T9" fmla="*/ 56 h 71"/>
                <a:gd name="T10" fmla="*/ 58 w 207"/>
                <a:gd name="T11" fmla="*/ 71 h 71"/>
                <a:gd name="T12" fmla="*/ 86 w 207"/>
                <a:gd name="T13" fmla="*/ 69 h 71"/>
                <a:gd name="T14" fmla="*/ 199 w 207"/>
                <a:gd name="T15" fmla="*/ 10 h 71"/>
                <a:gd name="T16" fmla="*/ 207 w 207"/>
                <a:gd name="T17" fmla="*/ 2 h 71"/>
                <a:gd name="T18" fmla="*/ 204 w 207"/>
                <a:gd name="T19" fmla="*/ 2 h 71"/>
                <a:gd name="T20" fmla="*/ 110 w 207"/>
                <a:gd name="T21" fmla="*/ 47 h 71"/>
                <a:gd name="T22" fmla="*/ 82 w 207"/>
                <a:gd name="T23" fmla="*/ 51 h 71"/>
                <a:gd name="T24" fmla="*/ 17 w 207"/>
                <a:gd name="T25" fmla="*/ 39 h 71"/>
                <a:gd name="T26" fmla="*/ 33 w 207"/>
                <a:gd name="T2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" h="71">
                  <a:moveTo>
                    <a:pt x="33" y="0"/>
                  </a:moveTo>
                  <a:cubicBezTo>
                    <a:pt x="18" y="10"/>
                    <a:pt x="4" y="21"/>
                    <a:pt x="0" y="33"/>
                  </a:cubicBezTo>
                  <a:cubicBezTo>
                    <a:pt x="0" y="33"/>
                    <a:pt x="0" y="33"/>
                    <a:pt x="0" y="34"/>
                  </a:cubicBezTo>
                  <a:cubicBezTo>
                    <a:pt x="5" y="34"/>
                    <a:pt x="8" y="34"/>
                    <a:pt x="8" y="3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26" y="68"/>
                    <a:pt x="43" y="71"/>
                    <a:pt x="58" y="71"/>
                  </a:cubicBezTo>
                  <a:cubicBezTo>
                    <a:pt x="69" y="71"/>
                    <a:pt x="79" y="70"/>
                    <a:pt x="86" y="69"/>
                  </a:cubicBezTo>
                  <a:cubicBezTo>
                    <a:pt x="102" y="67"/>
                    <a:pt x="191" y="14"/>
                    <a:pt x="199" y="10"/>
                  </a:cubicBezTo>
                  <a:cubicBezTo>
                    <a:pt x="202" y="8"/>
                    <a:pt x="205" y="6"/>
                    <a:pt x="207" y="2"/>
                  </a:cubicBezTo>
                  <a:cubicBezTo>
                    <a:pt x="206" y="2"/>
                    <a:pt x="205" y="2"/>
                    <a:pt x="204" y="2"/>
                  </a:cubicBezTo>
                  <a:cubicBezTo>
                    <a:pt x="188" y="2"/>
                    <a:pt x="128" y="40"/>
                    <a:pt x="110" y="47"/>
                  </a:cubicBezTo>
                  <a:cubicBezTo>
                    <a:pt x="104" y="50"/>
                    <a:pt x="94" y="51"/>
                    <a:pt x="82" y="51"/>
                  </a:cubicBezTo>
                  <a:cubicBezTo>
                    <a:pt x="61" y="51"/>
                    <a:pt x="34" y="46"/>
                    <a:pt x="17" y="39"/>
                  </a:cubicBezTo>
                  <a:cubicBezTo>
                    <a:pt x="3" y="33"/>
                    <a:pt x="16" y="16"/>
                    <a:pt x="33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îşḷïḍe">
              <a:extLst>
                <a:ext uri="{FF2B5EF4-FFF2-40B4-BE49-F238E27FC236}">
                  <a16:creationId xmlns:a16="http://schemas.microsoft.com/office/drawing/2014/main" id="{4223A826-84CC-4569-8328-364CBAB4A481}"/>
                </a:ext>
              </a:extLst>
            </p:cNvPr>
            <p:cNvSpPr/>
            <p:nvPr/>
          </p:nvSpPr>
          <p:spPr bwMode="auto">
            <a:xfrm>
              <a:off x="4492626" y="3222625"/>
              <a:ext cx="125413" cy="203200"/>
            </a:xfrm>
            <a:custGeom>
              <a:avLst/>
              <a:gdLst>
                <a:gd name="T0" fmla="*/ 87 w 87"/>
                <a:gd name="T1" fmla="*/ 22 h 140"/>
                <a:gd name="T2" fmla="*/ 78 w 87"/>
                <a:gd name="T3" fmla="*/ 127 h 140"/>
                <a:gd name="T4" fmla="*/ 0 w 87"/>
                <a:gd name="T5" fmla="*/ 85 h 140"/>
                <a:gd name="T6" fmla="*/ 20 w 87"/>
                <a:gd name="T7" fmla="*/ 13 h 140"/>
                <a:gd name="T8" fmla="*/ 87 w 87"/>
                <a:gd name="T9" fmla="*/ 2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40">
                  <a:moveTo>
                    <a:pt x="87" y="22"/>
                  </a:moveTo>
                  <a:cubicBezTo>
                    <a:pt x="87" y="22"/>
                    <a:pt x="75" y="115"/>
                    <a:pt x="78" y="127"/>
                  </a:cubicBezTo>
                  <a:cubicBezTo>
                    <a:pt x="81" y="140"/>
                    <a:pt x="0" y="85"/>
                    <a:pt x="0" y="85"/>
                  </a:cubicBezTo>
                  <a:cubicBezTo>
                    <a:pt x="0" y="85"/>
                    <a:pt x="28" y="27"/>
                    <a:pt x="20" y="13"/>
                  </a:cubicBezTo>
                  <a:cubicBezTo>
                    <a:pt x="11" y="0"/>
                    <a:pt x="87" y="22"/>
                    <a:pt x="87" y="22"/>
                  </a:cubicBezTo>
                </a:path>
              </a:pathLst>
            </a:custGeom>
            <a:solidFill>
              <a:srgbClr val="BE6F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íṩ1íḍè">
              <a:extLst>
                <a:ext uri="{FF2B5EF4-FFF2-40B4-BE49-F238E27FC236}">
                  <a16:creationId xmlns:a16="http://schemas.microsoft.com/office/drawing/2014/main" id="{33AF8E83-4F96-4174-AEA7-A186B24ECC08}"/>
                </a:ext>
              </a:extLst>
            </p:cNvPr>
            <p:cNvSpPr/>
            <p:nvPr/>
          </p:nvSpPr>
          <p:spPr bwMode="auto">
            <a:xfrm>
              <a:off x="4503738" y="2611438"/>
              <a:ext cx="923925" cy="666750"/>
            </a:xfrm>
            <a:custGeom>
              <a:avLst/>
              <a:gdLst>
                <a:gd name="T0" fmla="*/ 1 w 638"/>
                <a:gd name="T1" fmla="*/ 447 h 461"/>
                <a:gd name="T2" fmla="*/ 80 w 638"/>
                <a:gd name="T3" fmla="*/ 460 h 461"/>
                <a:gd name="T4" fmla="*/ 99 w 638"/>
                <a:gd name="T5" fmla="*/ 429 h 461"/>
                <a:gd name="T6" fmla="*/ 99 w 638"/>
                <a:gd name="T7" fmla="*/ 427 h 461"/>
                <a:gd name="T8" fmla="*/ 151 w 638"/>
                <a:gd name="T9" fmla="*/ 249 h 461"/>
                <a:gd name="T10" fmla="*/ 157 w 638"/>
                <a:gd name="T11" fmla="*/ 220 h 461"/>
                <a:gd name="T12" fmla="*/ 158 w 638"/>
                <a:gd name="T13" fmla="*/ 193 h 461"/>
                <a:gd name="T14" fmla="*/ 177 w 638"/>
                <a:gd name="T15" fmla="*/ 174 h 461"/>
                <a:gd name="T16" fmla="*/ 330 w 638"/>
                <a:gd name="T17" fmla="*/ 169 h 461"/>
                <a:gd name="T18" fmla="*/ 319 w 638"/>
                <a:gd name="T19" fmla="*/ 200 h 461"/>
                <a:gd name="T20" fmla="*/ 299 w 638"/>
                <a:gd name="T21" fmla="*/ 269 h 461"/>
                <a:gd name="T22" fmla="*/ 268 w 638"/>
                <a:gd name="T23" fmla="*/ 373 h 461"/>
                <a:gd name="T24" fmla="*/ 261 w 638"/>
                <a:gd name="T25" fmla="*/ 384 h 461"/>
                <a:gd name="T26" fmla="*/ 256 w 638"/>
                <a:gd name="T27" fmla="*/ 398 h 461"/>
                <a:gd name="T28" fmla="*/ 335 w 638"/>
                <a:gd name="T29" fmla="*/ 426 h 461"/>
                <a:gd name="T30" fmla="*/ 338 w 638"/>
                <a:gd name="T31" fmla="*/ 422 h 461"/>
                <a:gd name="T32" fmla="*/ 343 w 638"/>
                <a:gd name="T33" fmla="*/ 407 h 461"/>
                <a:gd name="T34" fmla="*/ 418 w 638"/>
                <a:gd name="T35" fmla="*/ 282 h 461"/>
                <a:gd name="T36" fmla="*/ 446 w 638"/>
                <a:gd name="T37" fmla="*/ 244 h 461"/>
                <a:gd name="T38" fmla="*/ 515 w 638"/>
                <a:gd name="T39" fmla="*/ 202 h 461"/>
                <a:gd name="T40" fmla="*/ 599 w 638"/>
                <a:gd name="T41" fmla="*/ 157 h 461"/>
                <a:gd name="T42" fmla="*/ 638 w 638"/>
                <a:gd name="T43" fmla="*/ 141 h 461"/>
                <a:gd name="T44" fmla="*/ 623 w 638"/>
                <a:gd name="T45" fmla="*/ 90 h 461"/>
                <a:gd name="T46" fmla="*/ 612 w 638"/>
                <a:gd name="T47" fmla="*/ 50 h 461"/>
                <a:gd name="T48" fmla="*/ 591 w 638"/>
                <a:gd name="T49" fmla="*/ 42 h 461"/>
                <a:gd name="T50" fmla="*/ 524 w 638"/>
                <a:gd name="T51" fmla="*/ 17 h 461"/>
                <a:gd name="T52" fmla="*/ 404 w 638"/>
                <a:gd name="T53" fmla="*/ 0 h 461"/>
                <a:gd name="T54" fmla="*/ 393 w 638"/>
                <a:gd name="T55" fmla="*/ 1 h 461"/>
                <a:gd name="T56" fmla="*/ 275 w 638"/>
                <a:gd name="T57" fmla="*/ 17 h 461"/>
                <a:gd name="T58" fmla="*/ 87 w 638"/>
                <a:gd name="T59" fmla="*/ 73 h 461"/>
                <a:gd name="T60" fmla="*/ 60 w 638"/>
                <a:gd name="T61" fmla="*/ 157 h 461"/>
                <a:gd name="T62" fmla="*/ 25 w 638"/>
                <a:gd name="T63" fmla="*/ 300 h 461"/>
                <a:gd name="T64" fmla="*/ 13 w 638"/>
                <a:gd name="T65" fmla="*/ 363 h 461"/>
                <a:gd name="T66" fmla="*/ 7 w 638"/>
                <a:gd name="T67" fmla="*/ 418 h 461"/>
                <a:gd name="T68" fmla="*/ 7 w 638"/>
                <a:gd name="T69" fmla="*/ 418 h 461"/>
                <a:gd name="T70" fmla="*/ 1 w 638"/>
                <a:gd name="T71" fmla="*/ 447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8" h="461">
                  <a:moveTo>
                    <a:pt x="1" y="447"/>
                  </a:moveTo>
                  <a:cubicBezTo>
                    <a:pt x="1" y="447"/>
                    <a:pt x="52" y="461"/>
                    <a:pt x="80" y="460"/>
                  </a:cubicBezTo>
                  <a:cubicBezTo>
                    <a:pt x="104" y="458"/>
                    <a:pt x="101" y="435"/>
                    <a:pt x="99" y="429"/>
                  </a:cubicBezTo>
                  <a:cubicBezTo>
                    <a:pt x="99" y="428"/>
                    <a:pt x="99" y="428"/>
                    <a:pt x="99" y="427"/>
                  </a:cubicBezTo>
                  <a:cubicBezTo>
                    <a:pt x="117" y="408"/>
                    <a:pt x="156" y="265"/>
                    <a:pt x="151" y="249"/>
                  </a:cubicBezTo>
                  <a:cubicBezTo>
                    <a:pt x="145" y="234"/>
                    <a:pt x="155" y="220"/>
                    <a:pt x="157" y="220"/>
                  </a:cubicBezTo>
                  <a:cubicBezTo>
                    <a:pt x="159" y="220"/>
                    <a:pt x="162" y="202"/>
                    <a:pt x="158" y="193"/>
                  </a:cubicBezTo>
                  <a:cubicBezTo>
                    <a:pt x="153" y="183"/>
                    <a:pt x="177" y="174"/>
                    <a:pt x="177" y="174"/>
                  </a:cubicBezTo>
                  <a:cubicBezTo>
                    <a:pt x="251" y="181"/>
                    <a:pt x="330" y="169"/>
                    <a:pt x="330" y="169"/>
                  </a:cubicBezTo>
                  <a:cubicBezTo>
                    <a:pt x="330" y="169"/>
                    <a:pt x="324" y="191"/>
                    <a:pt x="319" y="200"/>
                  </a:cubicBezTo>
                  <a:cubicBezTo>
                    <a:pt x="314" y="208"/>
                    <a:pt x="299" y="258"/>
                    <a:pt x="299" y="269"/>
                  </a:cubicBezTo>
                  <a:cubicBezTo>
                    <a:pt x="299" y="279"/>
                    <a:pt x="275" y="369"/>
                    <a:pt x="268" y="373"/>
                  </a:cubicBezTo>
                  <a:cubicBezTo>
                    <a:pt x="265" y="376"/>
                    <a:pt x="262" y="380"/>
                    <a:pt x="261" y="384"/>
                  </a:cubicBezTo>
                  <a:cubicBezTo>
                    <a:pt x="259" y="389"/>
                    <a:pt x="257" y="393"/>
                    <a:pt x="256" y="398"/>
                  </a:cubicBezTo>
                  <a:cubicBezTo>
                    <a:pt x="259" y="456"/>
                    <a:pt x="325" y="434"/>
                    <a:pt x="335" y="426"/>
                  </a:cubicBezTo>
                  <a:cubicBezTo>
                    <a:pt x="336" y="425"/>
                    <a:pt x="337" y="423"/>
                    <a:pt x="338" y="422"/>
                  </a:cubicBezTo>
                  <a:cubicBezTo>
                    <a:pt x="342" y="418"/>
                    <a:pt x="344" y="412"/>
                    <a:pt x="343" y="407"/>
                  </a:cubicBezTo>
                  <a:cubicBezTo>
                    <a:pt x="343" y="407"/>
                    <a:pt x="430" y="319"/>
                    <a:pt x="418" y="282"/>
                  </a:cubicBezTo>
                  <a:cubicBezTo>
                    <a:pt x="407" y="245"/>
                    <a:pt x="446" y="244"/>
                    <a:pt x="446" y="244"/>
                  </a:cubicBezTo>
                  <a:cubicBezTo>
                    <a:pt x="446" y="244"/>
                    <a:pt x="507" y="218"/>
                    <a:pt x="515" y="202"/>
                  </a:cubicBezTo>
                  <a:cubicBezTo>
                    <a:pt x="520" y="193"/>
                    <a:pt x="565" y="172"/>
                    <a:pt x="599" y="157"/>
                  </a:cubicBezTo>
                  <a:cubicBezTo>
                    <a:pt x="621" y="147"/>
                    <a:pt x="638" y="141"/>
                    <a:pt x="638" y="141"/>
                  </a:cubicBezTo>
                  <a:cubicBezTo>
                    <a:pt x="623" y="90"/>
                    <a:pt x="623" y="90"/>
                    <a:pt x="623" y="90"/>
                  </a:cubicBezTo>
                  <a:cubicBezTo>
                    <a:pt x="612" y="50"/>
                    <a:pt x="612" y="50"/>
                    <a:pt x="612" y="50"/>
                  </a:cubicBezTo>
                  <a:cubicBezTo>
                    <a:pt x="591" y="42"/>
                    <a:pt x="591" y="42"/>
                    <a:pt x="591" y="42"/>
                  </a:cubicBezTo>
                  <a:cubicBezTo>
                    <a:pt x="524" y="17"/>
                    <a:pt x="524" y="17"/>
                    <a:pt x="524" y="17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393" y="1"/>
                    <a:pt x="393" y="1"/>
                    <a:pt x="393" y="1"/>
                  </a:cubicBezTo>
                  <a:cubicBezTo>
                    <a:pt x="275" y="17"/>
                    <a:pt x="275" y="17"/>
                    <a:pt x="275" y="17"/>
                  </a:cubicBezTo>
                  <a:cubicBezTo>
                    <a:pt x="275" y="17"/>
                    <a:pt x="104" y="65"/>
                    <a:pt x="87" y="73"/>
                  </a:cubicBezTo>
                  <a:cubicBezTo>
                    <a:pt x="70" y="81"/>
                    <a:pt x="60" y="157"/>
                    <a:pt x="60" y="157"/>
                  </a:cubicBezTo>
                  <a:cubicBezTo>
                    <a:pt x="60" y="157"/>
                    <a:pt x="23" y="283"/>
                    <a:pt x="25" y="300"/>
                  </a:cubicBezTo>
                  <a:cubicBezTo>
                    <a:pt x="27" y="317"/>
                    <a:pt x="13" y="363"/>
                    <a:pt x="13" y="363"/>
                  </a:cubicBezTo>
                  <a:cubicBezTo>
                    <a:pt x="13" y="363"/>
                    <a:pt x="13" y="415"/>
                    <a:pt x="7" y="418"/>
                  </a:cubicBezTo>
                  <a:cubicBezTo>
                    <a:pt x="7" y="418"/>
                    <a:pt x="7" y="418"/>
                    <a:pt x="7" y="418"/>
                  </a:cubicBezTo>
                  <a:cubicBezTo>
                    <a:pt x="0" y="421"/>
                    <a:pt x="1" y="447"/>
                    <a:pt x="1" y="447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šľíḑe">
              <a:extLst>
                <a:ext uri="{FF2B5EF4-FFF2-40B4-BE49-F238E27FC236}">
                  <a16:creationId xmlns:a16="http://schemas.microsoft.com/office/drawing/2014/main" id="{9B1832CA-E106-4420-A662-F5D0C0B87645}"/>
                </a:ext>
              </a:extLst>
            </p:cNvPr>
            <p:cNvSpPr/>
            <p:nvPr/>
          </p:nvSpPr>
          <p:spPr bwMode="auto">
            <a:xfrm>
              <a:off x="4759326" y="2762250"/>
              <a:ext cx="336550" cy="103188"/>
            </a:xfrm>
            <a:custGeom>
              <a:avLst/>
              <a:gdLst>
                <a:gd name="T0" fmla="*/ 215 w 232"/>
                <a:gd name="T1" fmla="*/ 0 h 71"/>
                <a:gd name="T2" fmla="*/ 0 w 232"/>
                <a:gd name="T3" fmla="*/ 69 h 71"/>
                <a:gd name="T4" fmla="*/ 49 w 232"/>
                <a:gd name="T5" fmla="*/ 71 h 71"/>
                <a:gd name="T6" fmla="*/ 153 w 232"/>
                <a:gd name="T7" fmla="*/ 64 h 71"/>
                <a:gd name="T8" fmla="*/ 232 w 232"/>
                <a:gd name="T9" fmla="*/ 2 h 71"/>
                <a:gd name="T10" fmla="*/ 215 w 232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" h="71">
                  <a:moveTo>
                    <a:pt x="215" y="0"/>
                  </a:moveTo>
                  <a:cubicBezTo>
                    <a:pt x="144" y="0"/>
                    <a:pt x="0" y="69"/>
                    <a:pt x="0" y="69"/>
                  </a:cubicBezTo>
                  <a:cubicBezTo>
                    <a:pt x="16" y="71"/>
                    <a:pt x="33" y="71"/>
                    <a:pt x="49" y="71"/>
                  </a:cubicBezTo>
                  <a:cubicBezTo>
                    <a:pt x="105" y="71"/>
                    <a:pt x="153" y="64"/>
                    <a:pt x="153" y="64"/>
                  </a:cubicBezTo>
                  <a:cubicBezTo>
                    <a:pt x="159" y="47"/>
                    <a:pt x="232" y="2"/>
                    <a:pt x="232" y="2"/>
                  </a:cubicBezTo>
                  <a:cubicBezTo>
                    <a:pt x="227" y="1"/>
                    <a:pt x="221" y="0"/>
                    <a:pt x="215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ï$ļîďe">
              <a:extLst>
                <a:ext uri="{FF2B5EF4-FFF2-40B4-BE49-F238E27FC236}">
                  <a16:creationId xmlns:a16="http://schemas.microsoft.com/office/drawing/2014/main" id="{E91AAC99-F04B-46B7-898E-A132681A67A3}"/>
                </a:ext>
              </a:extLst>
            </p:cNvPr>
            <p:cNvSpPr/>
            <p:nvPr/>
          </p:nvSpPr>
          <p:spPr bwMode="auto">
            <a:xfrm>
              <a:off x="4875213" y="3167063"/>
              <a:ext cx="119063" cy="104775"/>
            </a:xfrm>
            <a:custGeom>
              <a:avLst/>
              <a:gdLst>
                <a:gd name="T0" fmla="*/ 0 w 82"/>
                <a:gd name="T1" fmla="*/ 14 h 72"/>
                <a:gd name="T2" fmla="*/ 79 w 82"/>
                <a:gd name="T3" fmla="*/ 42 h 72"/>
                <a:gd name="T4" fmla="*/ 82 w 82"/>
                <a:gd name="T5" fmla="*/ 38 h 72"/>
                <a:gd name="T6" fmla="*/ 5 w 82"/>
                <a:gd name="T7" fmla="*/ 0 h 72"/>
                <a:gd name="T8" fmla="*/ 0 w 82"/>
                <a:gd name="T9" fmla="*/ 1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72">
                  <a:moveTo>
                    <a:pt x="0" y="14"/>
                  </a:moveTo>
                  <a:cubicBezTo>
                    <a:pt x="3" y="72"/>
                    <a:pt x="69" y="49"/>
                    <a:pt x="79" y="42"/>
                  </a:cubicBezTo>
                  <a:cubicBezTo>
                    <a:pt x="80" y="41"/>
                    <a:pt x="81" y="39"/>
                    <a:pt x="82" y="38"/>
                  </a:cubicBezTo>
                  <a:cubicBezTo>
                    <a:pt x="59" y="46"/>
                    <a:pt x="18" y="53"/>
                    <a:pt x="5" y="0"/>
                  </a:cubicBezTo>
                  <a:cubicBezTo>
                    <a:pt x="3" y="5"/>
                    <a:pt x="1" y="9"/>
                    <a:pt x="0" y="14"/>
                  </a:cubicBezTo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iṥ1îdê">
              <a:extLst>
                <a:ext uri="{FF2B5EF4-FFF2-40B4-BE49-F238E27FC236}">
                  <a16:creationId xmlns:a16="http://schemas.microsoft.com/office/drawing/2014/main" id="{001F5055-A645-4BA2-B4C0-A284B84440CB}"/>
                </a:ext>
              </a:extLst>
            </p:cNvPr>
            <p:cNvSpPr/>
            <p:nvPr/>
          </p:nvSpPr>
          <p:spPr bwMode="auto">
            <a:xfrm>
              <a:off x="4503738" y="3217863"/>
              <a:ext cx="150813" cy="60325"/>
            </a:xfrm>
            <a:custGeom>
              <a:avLst/>
              <a:gdLst>
                <a:gd name="T0" fmla="*/ 1 w 104"/>
                <a:gd name="T1" fmla="*/ 28 h 42"/>
                <a:gd name="T2" fmla="*/ 80 w 104"/>
                <a:gd name="T3" fmla="*/ 41 h 42"/>
                <a:gd name="T4" fmla="*/ 99 w 104"/>
                <a:gd name="T5" fmla="*/ 10 h 42"/>
                <a:gd name="T6" fmla="*/ 7 w 104"/>
                <a:gd name="T7" fmla="*/ 0 h 42"/>
                <a:gd name="T8" fmla="*/ 7 w 104"/>
                <a:gd name="T9" fmla="*/ 0 h 42"/>
                <a:gd name="T10" fmla="*/ 1 w 104"/>
                <a:gd name="T11" fmla="*/ 2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42">
                  <a:moveTo>
                    <a:pt x="1" y="28"/>
                  </a:moveTo>
                  <a:cubicBezTo>
                    <a:pt x="1" y="28"/>
                    <a:pt x="52" y="42"/>
                    <a:pt x="80" y="41"/>
                  </a:cubicBezTo>
                  <a:cubicBezTo>
                    <a:pt x="104" y="39"/>
                    <a:pt x="101" y="16"/>
                    <a:pt x="99" y="10"/>
                  </a:cubicBezTo>
                  <a:cubicBezTo>
                    <a:pt x="74" y="9"/>
                    <a:pt x="30" y="6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2"/>
                    <a:pt x="1" y="28"/>
                    <a:pt x="1" y="28"/>
                  </a:cubicBezTo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îṣḻïḑê">
              <a:extLst>
                <a:ext uri="{FF2B5EF4-FFF2-40B4-BE49-F238E27FC236}">
                  <a16:creationId xmlns:a16="http://schemas.microsoft.com/office/drawing/2014/main" id="{3604B764-C27E-4918-BD98-436EE2485467}"/>
                </a:ext>
              </a:extLst>
            </p:cNvPr>
            <p:cNvSpPr/>
            <p:nvPr/>
          </p:nvSpPr>
          <p:spPr bwMode="auto">
            <a:xfrm>
              <a:off x="4875213" y="3167063"/>
              <a:ext cx="119063" cy="76200"/>
            </a:xfrm>
            <a:custGeom>
              <a:avLst/>
              <a:gdLst>
                <a:gd name="T0" fmla="*/ 5 w 82"/>
                <a:gd name="T1" fmla="*/ 0 h 53"/>
                <a:gd name="T2" fmla="*/ 0 w 82"/>
                <a:gd name="T3" fmla="*/ 14 h 53"/>
                <a:gd name="T4" fmla="*/ 39 w 82"/>
                <a:gd name="T5" fmla="*/ 53 h 53"/>
                <a:gd name="T6" fmla="*/ 79 w 82"/>
                <a:gd name="T7" fmla="*/ 42 h 53"/>
                <a:gd name="T8" fmla="*/ 82 w 82"/>
                <a:gd name="T9" fmla="*/ 38 h 53"/>
                <a:gd name="T10" fmla="*/ 53 w 82"/>
                <a:gd name="T11" fmla="*/ 44 h 53"/>
                <a:gd name="T12" fmla="*/ 5 w 82"/>
                <a:gd name="T13" fmla="*/ 1 h 53"/>
                <a:gd name="T14" fmla="*/ 5 w 82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53">
                  <a:moveTo>
                    <a:pt x="5" y="0"/>
                  </a:moveTo>
                  <a:cubicBezTo>
                    <a:pt x="3" y="5"/>
                    <a:pt x="1" y="9"/>
                    <a:pt x="0" y="14"/>
                  </a:cubicBezTo>
                  <a:cubicBezTo>
                    <a:pt x="1" y="44"/>
                    <a:pt x="20" y="53"/>
                    <a:pt x="39" y="53"/>
                  </a:cubicBezTo>
                  <a:cubicBezTo>
                    <a:pt x="56" y="53"/>
                    <a:pt x="74" y="45"/>
                    <a:pt x="79" y="42"/>
                  </a:cubicBezTo>
                  <a:cubicBezTo>
                    <a:pt x="80" y="41"/>
                    <a:pt x="81" y="39"/>
                    <a:pt x="82" y="38"/>
                  </a:cubicBezTo>
                  <a:cubicBezTo>
                    <a:pt x="74" y="41"/>
                    <a:pt x="64" y="44"/>
                    <a:pt x="53" y="44"/>
                  </a:cubicBezTo>
                  <a:cubicBezTo>
                    <a:pt x="34" y="44"/>
                    <a:pt x="13" y="34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3D3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ïśḷíďê">
              <a:extLst>
                <a:ext uri="{FF2B5EF4-FFF2-40B4-BE49-F238E27FC236}">
                  <a16:creationId xmlns:a16="http://schemas.microsoft.com/office/drawing/2014/main" id="{18A31E4C-9C9B-4B0C-98E8-A336156ABE3A}"/>
                </a:ext>
              </a:extLst>
            </p:cNvPr>
            <p:cNvSpPr/>
            <p:nvPr/>
          </p:nvSpPr>
          <p:spPr bwMode="auto">
            <a:xfrm>
              <a:off x="4505326" y="3217863"/>
              <a:ext cx="142875" cy="58738"/>
            </a:xfrm>
            <a:custGeom>
              <a:avLst/>
              <a:gdLst>
                <a:gd name="T0" fmla="*/ 6 w 99"/>
                <a:gd name="T1" fmla="*/ 0 h 41"/>
                <a:gd name="T2" fmla="*/ 6 w 99"/>
                <a:gd name="T3" fmla="*/ 0 h 41"/>
                <a:gd name="T4" fmla="*/ 0 w 99"/>
                <a:gd name="T5" fmla="*/ 25 h 41"/>
                <a:gd name="T6" fmla="*/ 0 w 99"/>
                <a:gd name="T7" fmla="*/ 28 h 41"/>
                <a:gd name="T8" fmla="*/ 74 w 99"/>
                <a:gd name="T9" fmla="*/ 41 h 41"/>
                <a:gd name="T10" fmla="*/ 79 w 99"/>
                <a:gd name="T11" fmla="*/ 41 h 41"/>
                <a:gd name="T12" fmla="*/ 99 w 99"/>
                <a:gd name="T13" fmla="*/ 19 h 41"/>
                <a:gd name="T14" fmla="*/ 98 w 99"/>
                <a:gd name="T15" fmla="*/ 10 h 41"/>
                <a:gd name="T16" fmla="*/ 6 w 99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41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1" y="2"/>
                    <a:pt x="0" y="18"/>
                    <a:pt x="0" y="25"/>
                  </a:cubicBezTo>
                  <a:cubicBezTo>
                    <a:pt x="0" y="26"/>
                    <a:pt x="0" y="28"/>
                    <a:pt x="0" y="28"/>
                  </a:cubicBezTo>
                  <a:cubicBezTo>
                    <a:pt x="0" y="28"/>
                    <a:pt x="45" y="41"/>
                    <a:pt x="74" y="41"/>
                  </a:cubicBezTo>
                  <a:cubicBezTo>
                    <a:pt x="76" y="41"/>
                    <a:pt x="77" y="41"/>
                    <a:pt x="79" y="41"/>
                  </a:cubicBezTo>
                  <a:cubicBezTo>
                    <a:pt x="96" y="40"/>
                    <a:pt x="99" y="28"/>
                    <a:pt x="99" y="19"/>
                  </a:cubicBezTo>
                  <a:cubicBezTo>
                    <a:pt x="99" y="15"/>
                    <a:pt x="99" y="11"/>
                    <a:pt x="98" y="10"/>
                  </a:cubicBezTo>
                  <a:cubicBezTo>
                    <a:pt x="73" y="9"/>
                    <a:pt x="29" y="6"/>
                    <a:pt x="6" y="0"/>
                  </a:cubicBezTo>
                </a:path>
              </a:pathLst>
            </a:custGeom>
            <a:solidFill>
              <a:srgbClr val="3D3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ïšḻïḑè">
              <a:extLst>
                <a:ext uri="{FF2B5EF4-FFF2-40B4-BE49-F238E27FC236}">
                  <a16:creationId xmlns:a16="http://schemas.microsoft.com/office/drawing/2014/main" id="{62FEED08-44F7-468C-8425-E7A3A346605C}"/>
                </a:ext>
              </a:extLst>
            </p:cNvPr>
            <p:cNvSpPr/>
            <p:nvPr/>
          </p:nvSpPr>
          <p:spPr bwMode="auto">
            <a:xfrm>
              <a:off x="4303713" y="3306763"/>
              <a:ext cx="327025" cy="241300"/>
            </a:xfrm>
            <a:custGeom>
              <a:avLst/>
              <a:gdLst>
                <a:gd name="T0" fmla="*/ 15 w 226"/>
                <a:gd name="T1" fmla="*/ 148 h 166"/>
                <a:gd name="T2" fmla="*/ 83 w 226"/>
                <a:gd name="T3" fmla="*/ 157 h 166"/>
                <a:gd name="T4" fmla="*/ 163 w 226"/>
                <a:gd name="T5" fmla="*/ 128 h 166"/>
                <a:gd name="T6" fmla="*/ 226 w 226"/>
                <a:gd name="T7" fmla="*/ 110 h 166"/>
                <a:gd name="T8" fmla="*/ 224 w 226"/>
                <a:gd name="T9" fmla="*/ 97 h 166"/>
                <a:gd name="T10" fmla="*/ 217 w 226"/>
                <a:gd name="T11" fmla="*/ 38 h 166"/>
                <a:gd name="T12" fmla="*/ 146 w 226"/>
                <a:gd name="T13" fmla="*/ 30 h 166"/>
                <a:gd name="T14" fmla="*/ 130 w 226"/>
                <a:gd name="T15" fmla="*/ 11 h 166"/>
                <a:gd name="T16" fmla="*/ 43 w 226"/>
                <a:gd name="T17" fmla="*/ 101 h 166"/>
                <a:gd name="T18" fmla="*/ 14 w 226"/>
                <a:gd name="T19" fmla="*/ 116 h 166"/>
                <a:gd name="T20" fmla="*/ 15 w 226"/>
                <a:gd name="T21" fmla="*/ 14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6" h="166">
                  <a:moveTo>
                    <a:pt x="15" y="148"/>
                  </a:moveTo>
                  <a:cubicBezTo>
                    <a:pt x="42" y="166"/>
                    <a:pt x="83" y="157"/>
                    <a:pt x="83" y="157"/>
                  </a:cubicBezTo>
                  <a:cubicBezTo>
                    <a:pt x="83" y="157"/>
                    <a:pt x="144" y="128"/>
                    <a:pt x="163" y="128"/>
                  </a:cubicBezTo>
                  <a:cubicBezTo>
                    <a:pt x="181" y="128"/>
                    <a:pt x="226" y="110"/>
                    <a:pt x="226" y="110"/>
                  </a:cubicBezTo>
                  <a:cubicBezTo>
                    <a:pt x="224" y="97"/>
                    <a:pt x="224" y="97"/>
                    <a:pt x="224" y="97"/>
                  </a:cubicBezTo>
                  <a:cubicBezTo>
                    <a:pt x="217" y="38"/>
                    <a:pt x="217" y="38"/>
                    <a:pt x="217" y="38"/>
                  </a:cubicBezTo>
                  <a:cubicBezTo>
                    <a:pt x="217" y="38"/>
                    <a:pt x="149" y="36"/>
                    <a:pt x="146" y="30"/>
                  </a:cubicBezTo>
                  <a:cubicBezTo>
                    <a:pt x="146" y="30"/>
                    <a:pt x="134" y="0"/>
                    <a:pt x="130" y="11"/>
                  </a:cubicBezTo>
                  <a:cubicBezTo>
                    <a:pt x="125" y="22"/>
                    <a:pt x="60" y="101"/>
                    <a:pt x="43" y="101"/>
                  </a:cubicBezTo>
                  <a:cubicBezTo>
                    <a:pt x="35" y="101"/>
                    <a:pt x="22" y="107"/>
                    <a:pt x="14" y="116"/>
                  </a:cubicBezTo>
                  <a:cubicBezTo>
                    <a:pt x="4" y="126"/>
                    <a:pt x="0" y="138"/>
                    <a:pt x="15" y="148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ṧ1ídè">
              <a:extLst>
                <a:ext uri="{FF2B5EF4-FFF2-40B4-BE49-F238E27FC236}">
                  <a16:creationId xmlns:a16="http://schemas.microsoft.com/office/drawing/2014/main" id="{3976116B-6F01-42B3-A6FC-45E69B27AED9}"/>
                </a:ext>
              </a:extLst>
            </p:cNvPr>
            <p:cNvSpPr/>
            <p:nvPr/>
          </p:nvSpPr>
          <p:spPr bwMode="auto">
            <a:xfrm>
              <a:off x="4664076" y="2774950"/>
              <a:ext cx="82550" cy="65088"/>
            </a:xfrm>
            <a:custGeom>
              <a:avLst/>
              <a:gdLst>
                <a:gd name="T0" fmla="*/ 0 w 57"/>
                <a:gd name="T1" fmla="*/ 0 h 45"/>
                <a:gd name="T2" fmla="*/ 38 w 57"/>
                <a:gd name="T3" fmla="*/ 45 h 45"/>
                <a:gd name="T4" fmla="*/ 41 w 57"/>
                <a:gd name="T5" fmla="*/ 44 h 45"/>
                <a:gd name="T6" fmla="*/ 0 w 57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45">
                  <a:moveTo>
                    <a:pt x="0" y="0"/>
                  </a:moveTo>
                  <a:cubicBezTo>
                    <a:pt x="0" y="0"/>
                    <a:pt x="22" y="45"/>
                    <a:pt x="38" y="45"/>
                  </a:cubicBezTo>
                  <a:cubicBezTo>
                    <a:pt x="39" y="45"/>
                    <a:pt x="40" y="44"/>
                    <a:pt x="41" y="44"/>
                  </a:cubicBezTo>
                  <a:cubicBezTo>
                    <a:pt x="57" y="36"/>
                    <a:pt x="0" y="0"/>
                    <a:pt x="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íš1îḑê">
              <a:extLst>
                <a:ext uri="{FF2B5EF4-FFF2-40B4-BE49-F238E27FC236}">
                  <a16:creationId xmlns:a16="http://schemas.microsoft.com/office/drawing/2014/main" id="{78D5BCF5-140A-44B0-92E8-0917E57C7321}"/>
                </a:ext>
              </a:extLst>
            </p:cNvPr>
            <p:cNvSpPr/>
            <p:nvPr/>
          </p:nvSpPr>
          <p:spPr bwMode="auto">
            <a:xfrm>
              <a:off x="4630738" y="2874963"/>
              <a:ext cx="71438" cy="68263"/>
            </a:xfrm>
            <a:custGeom>
              <a:avLst/>
              <a:gdLst>
                <a:gd name="T0" fmla="*/ 0 w 49"/>
                <a:gd name="T1" fmla="*/ 0 h 48"/>
                <a:gd name="T2" fmla="*/ 30 w 49"/>
                <a:gd name="T3" fmla="*/ 48 h 48"/>
                <a:gd name="T4" fmla="*/ 30 w 49"/>
                <a:gd name="T5" fmla="*/ 48 h 48"/>
                <a:gd name="T6" fmla="*/ 0 w 49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48">
                  <a:moveTo>
                    <a:pt x="0" y="0"/>
                  </a:moveTo>
                  <a:cubicBezTo>
                    <a:pt x="0" y="0"/>
                    <a:pt x="12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49" y="47"/>
                    <a:pt x="0" y="0"/>
                    <a:pt x="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iṣliḑê">
              <a:extLst>
                <a:ext uri="{FF2B5EF4-FFF2-40B4-BE49-F238E27FC236}">
                  <a16:creationId xmlns:a16="http://schemas.microsoft.com/office/drawing/2014/main" id="{02AEE2A4-1ED1-4F30-BA7C-493EC3B30A33}"/>
                </a:ext>
              </a:extLst>
            </p:cNvPr>
            <p:cNvSpPr/>
            <p:nvPr/>
          </p:nvSpPr>
          <p:spPr bwMode="auto">
            <a:xfrm>
              <a:off x="4554538" y="3089275"/>
              <a:ext cx="36513" cy="79375"/>
            </a:xfrm>
            <a:custGeom>
              <a:avLst/>
              <a:gdLst>
                <a:gd name="T0" fmla="*/ 0 w 25"/>
                <a:gd name="T1" fmla="*/ 0 h 55"/>
                <a:gd name="T2" fmla="*/ 14 w 25"/>
                <a:gd name="T3" fmla="*/ 55 h 55"/>
                <a:gd name="T4" fmla="*/ 16 w 25"/>
                <a:gd name="T5" fmla="*/ 54 h 55"/>
                <a:gd name="T6" fmla="*/ 0 w 25"/>
                <a:gd name="T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5">
                  <a:moveTo>
                    <a:pt x="0" y="0"/>
                  </a:moveTo>
                  <a:cubicBezTo>
                    <a:pt x="0" y="0"/>
                    <a:pt x="6" y="55"/>
                    <a:pt x="14" y="55"/>
                  </a:cubicBezTo>
                  <a:cubicBezTo>
                    <a:pt x="15" y="55"/>
                    <a:pt x="15" y="55"/>
                    <a:pt x="16" y="54"/>
                  </a:cubicBezTo>
                  <a:cubicBezTo>
                    <a:pt x="25" y="46"/>
                    <a:pt x="0" y="0"/>
                    <a:pt x="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íṧlíḍe">
              <a:extLst>
                <a:ext uri="{FF2B5EF4-FFF2-40B4-BE49-F238E27FC236}">
                  <a16:creationId xmlns:a16="http://schemas.microsoft.com/office/drawing/2014/main" id="{7842ABD4-A212-4D15-8B9C-717919B379C1}"/>
                </a:ext>
              </a:extLst>
            </p:cNvPr>
            <p:cNvSpPr/>
            <p:nvPr/>
          </p:nvSpPr>
          <p:spPr bwMode="auto">
            <a:xfrm>
              <a:off x="4949826" y="3111500"/>
              <a:ext cx="117475" cy="46038"/>
            </a:xfrm>
            <a:custGeom>
              <a:avLst/>
              <a:gdLst>
                <a:gd name="T0" fmla="*/ 61 w 81"/>
                <a:gd name="T1" fmla="*/ 0 h 32"/>
                <a:gd name="T2" fmla="*/ 0 w 81"/>
                <a:gd name="T3" fmla="*/ 31 h 32"/>
                <a:gd name="T4" fmla="*/ 1 w 81"/>
                <a:gd name="T5" fmla="*/ 32 h 32"/>
                <a:gd name="T6" fmla="*/ 62 w 81"/>
                <a:gd name="T7" fmla="*/ 0 h 32"/>
                <a:gd name="T8" fmla="*/ 61 w 81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32">
                  <a:moveTo>
                    <a:pt x="61" y="0"/>
                  </a:moveTo>
                  <a:cubicBezTo>
                    <a:pt x="39" y="0"/>
                    <a:pt x="0" y="31"/>
                    <a:pt x="0" y="31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10" y="32"/>
                    <a:pt x="81" y="2"/>
                    <a:pt x="62" y="0"/>
                  </a:cubicBezTo>
                  <a:cubicBezTo>
                    <a:pt x="62" y="0"/>
                    <a:pt x="61" y="0"/>
                    <a:pt x="61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íṣľîḓe">
              <a:extLst>
                <a:ext uri="{FF2B5EF4-FFF2-40B4-BE49-F238E27FC236}">
                  <a16:creationId xmlns:a16="http://schemas.microsoft.com/office/drawing/2014/main" id="{BC63D5B6-A2EB-4CD8-8AB1-2389F9E84834}"/>
                </a:ext>
              </a:extLst>
            </p:cNvPr>
            <p:cNvSpPr/>
            <p:nvPr/>
          </p:nvSpPr>
          <p:spPr bwMode="auto">
            <a:xfrm>
              <a:off x="5216526" y="2009775"/>
              <a:ext cx="228600" cy="198438"/>
            </a:xfrm>
            <a:custGeom>
              <a:avLst/>
              <a:gdLst>
                <a:gd name="T0" fmla="*/ 0 w 158"/>
                <a:gd name="T1" fmla="*/ 137 h 137"/>
                <a:gd name="T2" fmla="*/ 3 w 158"/>
                <a:gd name="T3" fmla="*/ 137 h 137"/>
                <a:gd name="T4" fmla="*/ 88 w 158"/>
                <a:gd name="T5" fmla="*/ 121 h 137"/>
                <a:gd name="T6" fmla="*/ 113 w 158"/>
                <a:gd name="T7" fmla="*/ 116 h 137"/>
                <a:gd name="T8" fmla="*/ 146 w 158"/>
                <a:gd name="T9" fmla="*/ 95 h 137"/>
                <a:gd name="T10" fmla="*/ 119 w 158"/>
                <a:gd name="T11" fmla="*/ 58 h 137"/>
                <a:gd name="T12" fmla="*/ 118 w 158"/>
                <a:gd name="T13" fmla="*/ 54 h 137"/>
                <a:gd name="T14" fmla="*/ 114 w 158"/>
                <a:gd name="T15" fmla="*/ 34 h 137"/>
                <a:gd name="T16" fmla="*/ 35 w 158"/>
                <a:gd name="T17" fmla="*/ 34 h 137"/>
                <a:gd name="T18" fmla="*/ 29 w 158"/>
                <a:gd name="T19" fmla="*/ 75 h 137"/>
                <a:gd name="T20" fmla="*/ 8 w 158"/>
                <a:gd name="T21" fmla="*/ 91 h 137"/>
                <a:gd name="T22" fmla="*/ 0 w 158"/>
                <a:gd name="T2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8" h="137">
                  <a:moveTo>
                    <a:pt x="0" y="137"/>
                  </a:moveTo>
                  <a:cubicBezTo>
                    <a:pt x="3" y="137"/>
                    <a:pt x="3" y="137"/>
                    <a:pt x="3" y="137"/>
                  </a:cubicBezTo>
                  <a:cubicBezTo>
                    <a:pt x="13" y="135"/>
                    <a:pt x="53" y="129"/>
                    <a:pt x="88" y="121"/>
                  </a:cubicBezTo>
                  <a:cubicBezTo>
                    <a:pt x="97" y="120"/>
                    <a:pt x="105" y="118"/>
                    <a:pt x="113" y="116"/>
                  </a:cubicBezTo>
                  <a:cubicBezTo>
                    <a:pt x="140" y="108"/>
                    <a:pt x="158" y="101"/>
                    <a:pt x="146" y="95"/>
                  </a:cubicBezTo>
                  <a:cubicBezTo>
                    <a:pt x="131" y="86"/>
                    <a:pt x="123" y="71"/>
                    <a:pt x="119" y="58"/>
                  </a:cubicBezTo>
                  <a:cubicBezTo>
                    <a:pt x="118" y="57"/>
                    <a:pt x="118" y="56"/>
                    <a:pt x="118" y="54"/>
                  </a:cubicBezTo>
                  <a:cubicBezTo>
                    <a:pt x="116" y="48"/>
                    <a:pt x="114" y="41"/>
                    <a:pt x="114" y="34"/>
                  </a:cubicBezTo>
                  <a:cubicBezTo>
                    <a:pt x="114" y="34"/>
                    <a:pt x="15" y="0"/>
                    <a:pt x="35" y="34"/>
                  </a:cubicBezTo>
                  <a:cubicBezTo>
                    <a:pt x="44" y="52"/>
                    <a:pt x="38" y="66"/>
                    <a:pt x="29" y="75"/>
                  </a:cubicBezTo>
                  <a:cubicBezTo>
                    <a:pt x="23" y="82"/>
                    <a:pt x="15" y="87"/>
                    <a:pt x="8" y="91"/>
                  </a:cubicBezTo>
                  <a:cubicBezTo>
                    <a:pt x="0" y="137"/>
                    <a:pt x="0" y="137"/>
                    <a:pt x="0" y="137"/>
                  </a:cubicBezTo>
                </a:path>
              </a:pathLst>
            </a:custGeom>
            <a:solidFill>
              <a:srgbClr val="BE6F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iṩḻîḍè">
              <a:extLst>
                <a:ext uri="{FF2B5EF4-FFF2-40B4-BE49-F238E27FC236}">
                  <a16:creationId xmlns:a16="http://schemas.microsoft.com/office/drawing/2014/main" id="{5D65D89B-D96A-4A1E-BCBC-6038BA21B448}"/>
                </a:ext>
              </a:extLst>
            </p:cNvPr>
            <p:cNvSpPr/>
            <p:nvPr/>
          </p:nvSpPr>
          <p:spPr bwMode="auto">
            <a:xfrm>
              <a:off x="5054601" y="2636838"/>
              <a:ext cx="304800" cy="111125"/>
            </a:xfrm>
            <a:custGeom>
              <a:avLst/>
              <a:gdLst>
                <a:gd name="T0" fmla="*/ 4 w 210"/>
                <a:gd name="T1" fmla="*/ 0 h 77"/>
                <a:gd name="T2" fmla="*/ 22 w 210"/>
                <a:gd name="T3" fmla="*/ 25 h 77"/>
                <a:gd name="T4" fmla="*/ 58 w 210"/>
                <a:gd name="T5" fmla="*/ 28 h 77"/>
                <a:gd name="T6" fmla="*/ 81 w 210"/>
                <a:gd name="T7" fmla="*/ 28 h 77"/>
                <a:gd name="T8" fmla="*/ 105 w 210"/>
                <a:gd name="T9" fmla="*/ 27 h 77"/>
                <a:gd name="T10" fmla="*/ 171 w 210"/>
                <a:gd name="T11" fmla="*/ 46 h 77"/>
                <a:gd name="T12" fmla="*/ 210 w 210"/>
                <a:gd name="T13" fmla="*/ 77 h 77"/>
                <a:gd name="T14" fmla="*/ 210 w 210"/>
                <a:gd name="T15" fmla="*/ 70 h 77"/>
                <a:gd name="T16" fmla="*/ 210 w 210"/>
                <a:gd name="T17" fmla="*/ 70 h 77"/>
                <a:gd name="T18" fmla="*/ 172 w 210"/>
                <a:gd name="T19" fmla="*/ 39 h 77"/>
                <a:gd name="T20" fmla="*/ 106 w 210"/>
                <a:gd name="T21" fmla="*/ 20 h 77"/>
                <a:gd name="T22" fmla="*/ 83 w 210"/>
                <a:gd name="T23" fmla="*/ 21 h 77"/>
                <a:gd name="T24" fmla="*/ 60 w 210"/>
                <a:gd name="T25" fmla="*/ 21 h 77"/>
                <a:gd name="T26" fmla="*/ 23 w 210"/>
                <a:gd name="T27" fmla="*/ 18 h 77"/>
                <a:gd name="T28" fmla="*/ 4 w 210"/>
                <a:gd name="T2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0" h="77">
                  <a:moveTo>
                    <a:pt x="4" y="0"/>
                  </a:moveTo>
                  <a:cubicBezTo>
                    <a:pt x="0" y="9"/>
                    <a:pt x="1" y="19"/>
                    <a:pt x="22" y="25"/>
                  </a:cubicBezTo>
                  <a:cubicBezTo>
                    <a:pt x="32" y="27"/>
                    <a:pt x="44" y="28"/>
                    <a:pt x="58" y="28"/>
                  </a:cubicBezTo>
                  <a:cubicBezTo>
                    <a:pt x="66" y="28"/>
                    <a:pt x="73" y="28"/>
                    <a:pt x="81" y="28"/>
                  </a:cubicBezTo>
                  <a:cubicBezTo>
                    <a:pt x="89" y="27"/>
                    <a:pt x="97" y="27"/>
                    <a:pt x="105" y="27"/>
                  </a:cubicBezTo>
                  <a:cubicBezTo>
                    <a:pt x="133" y="27"/>
                    <a:pt x="160" y="30"/>
                    <a:pt x="171" y="46"/>
                  </a:cubicBezTo>
                  <a:cubicBezTo>
                    <a:pt x="182" y="62"/>
                    <a:pt x="197" y="72"/>
                    <a:pt x="210" y="77"/>
                  </a:cubicBezTo>
                  <a:cubicBezTo>
                    <a:pt x="210" y="75"/>
                    <a:pt x="210" y="72"/>
                    <a:pt x="210" y="70"/>
                  </a:cubicBezTo>
                  <a:cubicBezTo>
                    <a:pt x="210" y="70"/>
                    <a:pt x="210" y="70"/>
                    <a:pt x="210" y="70"/>
                  </a:cubicBezTo>
                  <a:cubicBezTo>
                    <a:pt x="195" y="63"/>
                    <a:pt x="182" y="53"/>
                    <a:pt x="172" y="39"/>
                  </a:cubicBezTo>
                  <a:cubicBezTo>
                    <a:pt x="162" y="23"/>
                    <a:pt x="135" y="20"/>
                    <a:pt x="106" y="20"/>
                  </a:cubicBezTo>
                  <a:cubicBezTo>
                    <a:pt x="98" y="20"/>
                    <a:pt x="91" y="20"/>
                    <a:pt x="83" y="21"/>
                  </a:cubicBezTo>
                  <a:cubicBezTo>
                    <a:pt x="75" y="21"/>
                    <a:pt x="67" y="21"/>
                    <a:pt x="60" y="21"/>
                  </a:cubicBezTo>
                  <a:cubicBezTo>
                    <a:pt x="46" y="21"/>
                    <a:pt x="33" y="20"/>
                    <a:pt x="23" y="18"/>
                  </a:cubicBezTo>
                  <a:cubicBezTo>
                    <a:pt x="8" y="13"/>
                    <a:pt x="4" y="7"/>
                    <a:pt x="4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ïśľîḑé">
              <a:extLst>
                <a:ext uri="{FF2B5EF4-FFF2-40B4-BE49-F238E27FC236}">
                  <a16:creationId xmlns:a16="http://schemas.microsoft.com/office/drawing/2014/main" id="{14BF31CE-DFB4-48BE-89B2-B17F81B30A3B}"/>
                </a:ext>
              </a:extLst>
            </p:cNvPr>
            <p:cNvSpPr/>
            <p:nvPr/>
          </p:nvSpPr>
          <p:spPr bwMode="auto">
            <a:xfrm>
              <a:off x="5043488" y="2157413"/>
              <a:ext cx="396875" cy="592138"/>
            </a:xfrm>
            <a:custGeom>
              <a:avLst/>
              <a:gdLst>
                <a:gd name="T0" fmla="*/ 31 w 274"/>
                <a:gd name="T1" fmla="*/ 349 h 409"/>
                <a:gd name="T2" fmla="*/ 91 w 274"/>
                <a:gd name="T3" fmla="*/ 352 h 409"/>
                <a:gd name="T4" fmla="*/ 180 w 274"/>
                <a:gd name="T5" fmla="*/ 370 h 409"/>
                <a:gd name="T6" fmla="*/ 218 w 274"/>
                <a:gd name="T7" fmla="*/ 401 h 409"/>
                <a:gd name="T8" fmla="*/ 249 w 274"/>
                <a:gd name="T9" fmla="*/ 409 h 409"/>
                <a:gd name="T10" fmla="*/ 251 w 274"/>
                <a:gd name="T11" fmla="*/ 402 h 409"/>
                <a:gd name="T12" fmla="*/ 270 w 274"/>
                <a:gd name="T13" fmla="*/ 284 h 409"/>
                <a:gd name="T14" fmla="*/ 274 w 274"/>
                <a:gd name="T15" fmla="*/ 104 h 409"/>
                <a:gd name="T16" fmla="*/ 233 w 274"/>
                <a:gd name="T17" fmla="*/ 14 h 409"/>
                <a:gd name="T18" fmla="*/ 227 w 274"/>
                <a:gd name="T19" fmla="*/ 1 h 409"/>
                <a:gd name="T20" fmla="*/ 209 w 274"/>
                <a:gd name="T21" fmla="*/ 10 h 409"/>
                <a:gd name="T22" fmla="*/ 156 w 274"/>
                <a:gd name="T23" fmla="*/ 6 h 409"/>
                <a:gd name="T24" fmla="*/ 123 w 274"/>
                <a:gd name="T25" fmla="*/ 35 h 409"/>
                <a:gd name="T26" fmla="*/ 73 w 274"/>
                <a:gd name="T27" fmla="*/ 191 h 409"/>
                <a:gd name="T28" fmla="*/ 24 w 274"/>
                <a:gd name="T29" fmla="*/ 311 h 409"/>
                <a:gd name="T30" fmla="*/ 20 w 274"/>
                <a:gd name="T31" fmla="*/ 314 h 409"/>
                <a:gd name="T32" fmla="*/ 31 w 274"/>
                <a:gd name="T33" fmla="*/ 34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4" h="409">
                  <a:moveTo>
                    <a:pt x="31" y="349"/>
                  </a:moveTo>
                  <a:cubicBezTo>
                    <a:pt x="46" y="353"/>
                    <a:pt x="68" y="352"/>
                    <a:pt x="91" y="352"/>
                  </a:cubicBezTo>
                  <a:cubicBezTo>
                    <a:pt x="128" y="351"/>
                    <a:pt x="167" y="350"/>
                    <a:pt x="180" y="370"/>
                  </a:cubicBezTo>
                  <a:cubicBezTo>
                    <a:pt x="190" y="384"/>
                    <a:pt x="203" y="394"/>
                    <a:pt x="218" y="401"/>
                  </a:cubicBezTo>
                  <a:cubicBezTo>
                    <a:pt x="228" y="405"/>
                    <a:pt x="238" y="408"/>
                    <a:pt x="249" y="409"/>
                  </a:cubicBezTo>
                  <a:cubicBezTo>
                    <a:pt x="249" y="409"/>
                    <a:pt x="250" y="406"/>
                    <a:pt x="251" y="402"/>
                  </a:cubicBezTo>
                  <a:cubicBezTo>
                    <a:pt x="257" y="377"/>
                    <a:pt x="270" y="284"/>
                    <a:pt x="270" y="284"/>
                  </a:cubicBezTo>
                  <a:cubicBezTo>
                    <a:pt x="274" y="104"/>
                    <a:pt x="274" y="104"/>
                    <a:pt x="274" y="104"/>
                  </a:cubicBezTo>
                  <a:cubicBezTo>
                    <a:pt x="233" y="14"/>
                    <a:pt x="233" y="14"/>
                    <a:pt x="233" y="14"/>
                  </a:cubicBezTo>
                  <a:cubicBezTo>
                    <a:pt x="227" y="1"/>
                    <a:pt x="227" y="1"/>
                    <a:pt x="227" y="1"/>
                  </a:cubicBezTo>
                  <a:cubicBezTo>
                    <a:pt x="221" y="5"/>
                    <a:pt x="215" y="8"/>
                    <a:pt x="209" y="10"/>
                  </a:cubicBezTo>
                  <a:cubicBezTo>
                    <a:pt x="191" y="17"/>
                    <a:pt x="172" y="15"/>
                    <a:pt x="156" y="6"/>
                  </a:cubicBezTo>
                  <a:cubicBezTo>
                    <a:pt x="145" y="0"/>
                    <a:pt x="134" y="13"/>
                    <a:pt x="123" y="35"/>
                  </a:cubicBezTo>
                  <a:cubicBezTo>
                    <a:pt x="96" y="88"/>
                    <a:pt x="73" y="191"/>
                    <a:pt x="73" y="191"/>
                  </a:cubicBezTo>
                  <a:cubicBezTo>
                    <a:pt x="24" y="311"/>
                    <a:pt x="24" y="311"/>
                    <a:pt x="24" y="311"/>
                  </a:cubicBezTo>
                  <a:cubicBezTo>
                    <a:pt x="23" y="312"/>
                    <a:pt x="21" y="313"/>
                    <a:pt x="20" y="314"/>
                  </a:cubicBezTo>
                  <a:cubicBezTo>
                    <a:pt x="13" y="322"/>
                    <a:pt x="0" y="340"/>
                    <a:pt x="31" y="349"/>
                  </a:cubicBezTo>
                </a:path>
              </a:pathLst>
            </a:custGeom>
            <a:solidFill>
              <a:srgbClr val="F3F5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$ḷïdè">
              <a:extLst>
                <a:ext uri="{FF2B5EF4-FFF2-40B4-BE49-F238E27FC236}">
                  <a16:creationId xmlns:a16="http://schemas.microsoft.com/office/drawing/2014/main" id="{FC2A8AC6-7A56-4E9A-9559-5D8303A00996}"/>
                </a:ext>
              </a:extLst>
            </p:cNvPr>
            <p:cNvSpPr/>
            <p:nvPr/>
          </p:nvSpPr>
          <p:spPr bwMode="auto">
            <a:xfrm>
              <a:off x="5345113" y="2124075"/>
              <a:ext cx="11113" cy="47625"/>
            </a:xfrm>
            <a:custGeom>
              <a:avLst/>
              <a:gdLst>
                <a:gd name="T0" fmla="*/ 7 w 7"/>
                <a:gd name="T1" fmla="*/ 0 h 33"/>
                <a:gd name="T2" fmla="*/ 4 w 7"/>
                <a:gd name="T3" fmla="*/ 2 h 33"/>
                <a:gd name="T4" fmla="*/ 3 w 7"/>
                <a:gd name="T5" fmla="*/ 3 h 33"/>
                <a:gd name="T6" fmla="*/ 0 w 7"/>
                <a:gd name="T7" fmla="*/ 33 h 33"/>
                <a:gd name="T8" fmla="*/ 4 w 7"/>
                <a:gd name="T9" fmla="*/ 32 h 33"/>
                <a:gd name="T10" fmla="*/ 7 w 7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3">
                  <a:moveTo>
                    <a:pt x="7" y="0"/>
                  </a:moveTo>
                  <a:cubicBezTo>
                    <a:pt x="6" y="1"/>
                    <a:pt x="5" y="2"/>
                    <a:pt x="4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3"/>
                    <a:pt x="2" y="32"/>
                    <a:pt x="4" y="32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AB6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îṧliḍê">
              <a:extLst>
                <a:ext uri="{FF2B5EF4-FFF2-40B4-BE49-F238E27FC236}">
                  <a16:creationId xmlns:a16="http://schemas.microsoft.com/office/drawing/2014/main" id="{6AC0B832-68CC-4853-977C-1945A2BEF0E2}"/>
                </a:ext>
              </a:extLst>
            </p:cNvPr>
            <p:cNvSpPr/>
            <p:nvPr/>
          </p:nvSpPr>
          <p:spPr bwMode="auto">
            <a:xfrm>
              <a:off x="5341938" y="2170113"/>
              <a:ext cx="9525" cy="120650"/>
            </a:xfrm>
            <a:custGeom>
              <a:avLst/>
              <a:gdLst>
                <a:gd name="T0" fmla="*/ 7 w 7"/>
                <a:gd name="T1" fmla="*/ 0 h 83"/>
                <a:gd name="T2" fmla="*/ 3 w 7"/>
                <a:gd name="T3" fmla="*/ 1 h 83"/>
                <a:gd name="T4" fmla="*/ 3 w 7"/>
                <a:gd name="T5" fmla="*/ 1 h 83"/>
                <a:gd name="T6" fmla="*/ 2 w 7"/>
                <a:gd name="T7" fmla="*/ 11 h 83"/>
                <a:gd name="T8" fmla="*/ 0 w 7"/>
                <a:gd name="T9" fmla="*/ 30 h 83"/>
                <a:gd name="T10" fmla="*/ 2 w 7"/>
                <a:gd name="T11" fmla="*/ 83 h 83"/>
                <a:gd name="T12" fmla="*/ 7 w 7"/>
                <a:gd name="T13" fmla="*/ 83 h 83"/>
                <a:gd name="T14" fmla="*/ 4 w 7"/>
                <a:gd name="T15" fmla="*/ 26 h 83"/>
                <a:gd name="T16" fmla="*/ 7 w 7"/>
                <a:gd name="T1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83">
                  <a:moveTo>
                    <a:pt x="7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1" y="52"/>
                    <a:pt x="2" y="83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5" y="50"/>
                    <a:pt x="4" y="26"/>
                    <a:pt x="4" y="26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DA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šlïdé">
              <a:extLst>
                <a:ext uri="{FF2B5EF4-FFF2-40B4-BE49-F238E27FC236}">
                  <a16:creationId xmlns:a16="http://schemas.microsoft.com/office/drawing/2014/main" id="{6FFDEF1D-2495-4CCC-97E0-23BB61E45F06}"/>
                </a:ext>
              </a:extLst>
            </p:cNvPr>
            <p:cNvSpPr/>
            <p:nvPr/>
          </p:nvSpPr>
          <p:spPr bwMode="auto">
            <a:xfrm>
              <a:off x="5359401" y="2747963"/>
              <a:ext cx="19050" cy="88900"/>
            </a:xfrm>
            <a:custGeom>
              <a:avLst/>
              <a:gdLst>
                <a:gd name="T0" fmla="*/ 0 w 13"/>
                <a:gd name="T1" fmla="*/ 0 h 61"/>
                <a:gd name="T2" fmla="*/ 8 w 13"/>
                <a:gd name="T3" fmla="*/ 57 h 61"/>
                <a:gd name="T4" fmla="*/ 9 w 13"/>
                <a:gd name="T5" fmla="*/ 61 h 61"/>
                <a:gd name="T6" fmla="*/ 13 w 13"/>
                <a:gd name="T7" fmla="*/ 60 h 61"/>
                <a:gd name="T8" fmla="*/ 12 w 13"/>
                <a:gd name="T9" fmla="*/ 54 h 61"/>
                <a:gd name="T10" fmla="*/ 4 w 13"/>
                <a:gd name="T11" fmla="*/ 2 h 61"/>
                <a:gd name="T12" fmla="*/ 0 w 13"/>
                <a:gd name="T1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61">
                  <a:moveTo>
                    <a:pt x="0" y="0"/>
                  </a:moveTo>
                  <a:cubicBezTo>
                    <a:pt x="2" y="20"/>
                    <a:pt x="4" y="39"/>
                    <a:pt x="8" y="57"/>
                  </a:cubicBezTo>
                  <a:cubicBezTo>
                    <a:pt x="8" y="59"/>
                    <a:pt x="8" y="60"/>
                    <a:pt x="9" y="61"/>
                  </a:cubicBezTo>
                  <a:cubicBezTo>
                    <a:pt x="10" y="61"/>
                    <a:pt x="12" y="60"/>
                    <a:pt x="13" y="60"/>
                  </a:cubicBezTo>
                  <a:cubicBezTo>
                    <a:pt x="13" y="58"/>
                    <a:pt x="12" y="56"/>
                    <a:pt x="12" y="54"/>
                  </a:cubicBezTo>
                  <a:cubicBezTo>
                    <a:pt x="9" y="38"/>
                    <a:pt x="6" y="20"/>
                    <a:pt x="4" y="2"/>
                  </a:cubicBezTo>
                  <a:cubicBezTo>
                    <a:pt x="3" y="1"/>
                    <a:pt x="2" y="1"/>
                    <a:pt x="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iṣ1iḑe">
              <a:extLst>
                <a:ext uri="{FF2B5EF4-FFF2-40B4-BE49-F238E27FC236}">
                  <a16:creationId xmlns:a16="http://schemas.microsoft.com/office/drawing/2014/main" id="{3F75DE32-DF97-4FA2-82E8-D18725BD7A4D}"/>
                </a:ext>
              </a:extLst>
            </p:cNvPr>
            <p:cNvSpPr/>
            <p:nvPr/>
          </p:nvSpPr>
          <p:spPr bwMode="auto">
            <a:xfrm>
              <a:off x="5359401" y="2738438"/>
              <a:ext cx="4763" cy="12700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0 h 9"/>
                <a:gd name="T4" fmla="*/ 0 w 4"/>
                <a:gd name="T5" fmla="*/ 7 h 9"/>
                <a:gd name="T6" fmla="*/ 4 w 4"/>
                <a:gd name="T7" fmla="*/ 9 h 9"/>
                <a:gd name="T8" fmla="*/ 4 w 4"/>
                <a:gd name="T9" fmla="*/ 1 h 9"/>
                <a:gd name="T10" fmla="*/ 0 w 4"/>
                <a:gd name="T11" fmla="*/ 0 h 9"/>
                <a:gd name="T12" fmla="*/ 0 w 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2" y="8"/>
                    <a:pt x="3" y="8"/>
                    <a:pt x="4" y="9"/>
                  </a:cubicBezTo>
                  <a:cubicBezTo>
                    <a:pt x="4" y="6"/>
                    <a:pt x="4" y="4"/>
                    <a:pt x="4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3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ṥlïḋè">
              <a:extLst>
                <a:ext uri="{FF2B5EF4-FFF2-40B4-BE49-F238E27FC236}">
                  <a16:creationId xmlns:a16="http://schemas.microsoft.com/office/drawing/2014/main" id="{4593624B-0D65-481D-AC85-275C490175DA}"/>
                </a:ext>
              </a:extLst>
            </p:cNvPr>
            <p:cNvSpPr/>
            <p:nvPr/>
          </p:nvSpPr>
          <p:spPr bwMode="auto">
            <a:xfrm>
              <a:off x="5356226" y="2481263"/>
              <a:ext cx="23813" cy="258763"/>
            </a:xfrm>
            <a:custGeom>
              <a:avLst/>
              <a:gdLst>
                <a:gd name="T0" fmla="*/ 0 w 17"/>
                <a:gd name="T1" fmla="*/ 0 h 179"/>
                <a:gd name="T2" fmla="*/ 7 w 17"/>
                <a:gd name="T3" fmla="*/ 59 h 179"/>
                <a:gd name="T4" fmla="*/ 4 w 17"/>
                <a:gd name="T5" fmla="*/ 127 h 179"/>
                <a:gd name="T6" fmla="*/ 3 w 17"/>
                <a:gd name="T7" fmla="*/ 132 h 179"/>
                <a:gd name="T8" fmla="*/ 2 w 17"/>
                <a:gd name="T9" fmla="*/ 178 h 179"/>
                <a:gd name="T10" fmla="*/ 2 w 17"/>
                <a:gd name="T11" fmla="*/ 178 h 179"/>
                <a:gd name="T12" fmla="*/ 6 w 17"/>
                <a:gd name="T13" fmla="*/ 179 h 179"/>
                <a:gd name="T14" fmla="*/ 8 w 17"/>
                <a:gd name="T15" fmla="*/ 123 h 179"/>
                <a:gd name="T16" fmla="*/ 11 w 17"/>
                <a:gd name="T17" fmla="*/ 55 h 179"/>
                <a:gd name="T18" fmla="*/ 4 w 17"/>
                <a:gd name="T19" fmla="*/ 0 h 179"/>
                <a:gd name="T20" fmla="*/ 0 w 17"/>
                <a:gd name="T21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79">
                  <a:moveTo>
                    <a:pt x="0" y="0"/>
                  </a:moveTo>
                  <a:cubicBezTo>
                    <a:pt x="2" y="31"/>
                    <a:pt x="5" y="55"/>
                    <a:pt x="7" y="59"/>
                  </a:cubicBezTo>
                  <a:cubicBezTo>
                    <a:pt x="14" y="72"/>
                    <a:pt x="10" y="97"/>
                    <a:pt x="4" y="127"/>
                  </a:cubicBezTo>
                  <a:cubicBezTo>
                    <a:pt x="4" y="128"/>
                    <a:pt x="3" y="130"/>
                    <a:pt x="3" y="132"/>
                  </a:cubicBezTo>
                  <a:cubicBezTo>
                    <a:pt x="1" y="147"/>
                    <a:pt x="1" y="162"/>
                    <a:pt x="2" y="178"/>
                  </a:cubicBezTo>
                  <a:cubicBezTo>
                    <a:pt x="2" y="178"/>
                    <a:pt x="2" y="178"/>
                    <a:pt x="2" y="178"/>
                  </a:cubicBezTo>
                  <a:cubicBezTo>
                    <a:pt x="3" y="178"/>
                    <a:pt x="4" y="179"/>
                    <a:pt x="6" y="179"/>
                  </a:cubicBezTo>
                  <a:cubicBezTo>
                    <a:pt x="4" y="158"/>
                    <a:pt x="4" y="138"/>
                    <a:pt x="8" y="123"/>
                  </a:cubicBezTo>
                  <a:cubicBezTo>
                    <a:pt x="14" y="93"/>
                    <a:pt x="17" y="68"/>
                    <a:pt x="11" y="55"/>
                  </a:cubicBezTo>
                  <a:cubicBezTo>
                    <a:pt x="9" y="51"/>
                    <a:pt x="6" y="29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A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íṧlîḑe">
              <a:extLst>
                <a:ext uri="{FF2B5EF4-FFF2-40B4-BE49-F238E27FC236}">
                  <a16:creationId xmlns:a16="http://schemas.microsoft.com/office/drawing/2014/main" id="{65255A15-C68F-4D91-AB04-7077BB6B5DE2}"/>
                </a:ext>
              </a:extLst>
            </p:cNvPr>
            <p:cNvSpPr/>
            <p:nvPr/>
          </p:nvSpPr>
          <p:spPr bwMode="auto">
            <a:xfrm>
              <a:off x="5346701" y="2008188"/>
              <a:ext cx="358775" cy="871538"/>
            </a:xfrm>
            <a:custGeom>
              <a:avLst/>
              <a:gdLst>
                <a:gd name="T0" fmla="*/ 14 w 247"/>
                <a:gd name="T1" fmla="*/ 449 h 602"/>
                <a:gd name="T2" fmla="*/ 20 w 247"/>
                <a:gd name="T3" fmla="*/ 565 h 602"/>
                <a:gd name="T4" fmla="*/ 115 w 247"/>
                <a:gd name="T5" fmla="*/ 565 h 602"/>
                <a:gd name="T6" fmla="*/ 170 w 247"/>
                <a:gd name="T7" fmla="*/ 546 h 602"/>
                <a:gd name="T8" fmla="*/ 185 w 247"/>
                <a:gd name="T9" fmla="*/ 353 h 602"/>
                <a:gd name="T10" fmla="*/ 192 w 247"/>
                <a:gd name="T11" fmla="*/ 276 h 602"/>
                <a:gd name="T12" fmla="*/ 190 w 247"/>
                <a:gd name="T13" fmla="*/ 209 h 602"/>
                <a:gd name="T14" fmla="*/ 190 w 247"/>
                <a:gd name="T15" fmla="*/ 205 h 602"/>
                <a:gd name="T16" fmla="*/ 246 w 247"/>
                <a:gd name="T17" fmla="*/ 103 h 602"/>
                <a:gd name="T18" fmla="*/ 229 w 247"/>
                <a:gd name="T19" fmla="*/ 95 h 602"/>
                <a:gd name="T20" fmla="*/ 155 w 247"/>
                <a:gd name="T21" fmla="*/ 52 h 602"/>
                <a:gd name="T22" fmla="*/ 116 w 247"/>
                <a:gd name="T23" fmla="*/ 42 h 602"/>
                <a:gd name="T24" fmla="*/ 72 w 247"/>
                <a:gd name="T25" fmla="*/ 39 h 602"/>
                <a:gd name="T26" fmla="*/ 71 w 247"/>
                <a:gd name="T27" fmla="*/ 36 h 602"/>
                <a:gd name="T28" fmla="*/ 32 w 247"/>
                <a:gd name="T29" fmla="*/ 0 h 602"/>
                <a:gd name="T30" fmla="*/ 7 w 247"/>
                <a:gd name="T31" fmla="*/ 78 h 602"/>
                <a:gd name="T32" fmla="*/ 6 w 247"/>
                <a:gd name="T33" fmla="*/ 79 h 602"/>
                <a:gd name="T34" fmla="*/ 0 w 247"/>
                <a:gd name="T35" fmla="*/ 138 h 602"/>
                <a:gd name="T36" fmla="*/ 17 w 247"/>
                <a:gd name="T37" fmla="*/ 381 h 602"/>
                <a:gd name="T38" fmla="*/ 14 w 247"/>
                <a:gd name="T39" fmla="*/ 44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7" h="602">
                  <a:moveTo>
                    <a:pt x="14" y="449"/>
                  </a:moveTo>
                  <a:cubicBezTo>
                    <a:pt x="7" y="479"/>
                    <a:pt x="13" y="527"/>
                    <a:pt x="20" y="565"/>
                  </a:cubicBezTo>
                  <a:cubicBezTo>
                    <a:pt x="27" y="602"/>
                    <a:pt x="101" y="578"/>
                    <a:pt x="115" y="565"/>
                  </a:cubicBezTo>
                  <a:cubicBezTo>
                    <a:pt x="129" y="552"/>
                    <a:pt x="170" y="546"/>
                    <a:pt x="170" y="546"/>
                  </a:cubicBezTo>
                  <a:cubicBezTo>
                    <a:pt x="170" y="546"/>
                    <a:pt x="171" y="375"/>
                    <a:pt x="185" y="353"/>
                  </a:cubicBezTo>
                  <a:cubicBezTo>
                    <a:pt x="191" y="343"/>
                    <a:pt x="192" y="309"/>
                    <a:pt x="192" y="276"/>
                  </a:cubicBezTo>
                  <a:cubicBezTo>
                    <a:pt x="192" y="247"/>
                    <a:pt x="191" y="219"/>
                    <a:pt x="190" y="209"/>
                  </a:cubicBezTo>
                  <a:cubicBezTo>
                    <a:pt x="190" y="207"/>
                    <a:pt x="190" y="205"/>
                    <a:pt x="190" y="205"/>
                  </a:cubicBezTo>
                  <a:cubicBezTo>
                    <a:pt x="190" y="205"/>
                    <a:pt x="247" y="109"/>
                    <a:pt x="246" y="103"/>
                  </a:cubicBezTo>
                  <a:cubicBezTo>
                    <a:pt x="245" y="96"/>
                    <a:pt x="229" y="95"/>
                    <a:pt x="229" y="95"/>
                  </a:cubicBezTo>
                  <a:cubicBezTo>
                    <a:pt x="229" y="95"/>
                    <a:pt x="166" y="46"/>
                    <a:pt x="155" y="52"/>
                  </a:cubicBezTo>
                  <a:cubicBezTo>
                    <a:pt x="145" y="58"/>
                    <a:pt x="116" y="42"/>
                    <a:pt x="116" y="42"/>
                  </a:cubicBezTo>
                  <a:cubicBezTo>
                    <a:pt x="116" y="42"/>
                    <a:pt x="79" y="46"/>
                    <a:pt x="72" y="39"/>
                  </a:cubicBezTo>
                  <a:cubicBezTo>
                    <a:pt x="71" y="38"/>
                    <a:pt x="71" y="37"/>
                    <a:pt x="71" y="36"/>
                  </a:cubicBezTo>
                  <a:cubicBezTo>
                    <a:pt x="71" y="25"/>
                    <a:pt x="33" y="1"/>
                    <a:pt x="32" y="0"/>
                  </a:cubicBezTo>
                  <a:cubicBezTo>
                    <a:pt x="64" y="29"/>
                    <a:pt x="12" y="74"/>
                    <a:pt x="7" y="78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10" y="368"/>
                    <a:pt x="17" y="381"/>
                  </a:cubicBezTo>
                  <a:cubicBezTo>
                    <a:pt x="23" y="394"/>
                    <a:pt x="20" y="419"/>
                    <a:pt x="14" y="449"/>
                  </a:cubicBezTo>
                </a:path>
              </a:pathLst>
            </a:custGeom>
            <a:solidFill>
              <a:srgbClr val="676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ṡľidê">
              <a:extLst>
                <a:ext uri="{FF2B5EF4-FFF2-40B4-BE49-F238E27FC236}">
                  <a16:creationId xmlns:a16="http://schemas.microsoft.com/office/drawing/2014/main" id="{4BDAA486-02A9-40C1-9D00-19396272FB73}"/>
                </a:ext>
              </a:extLst>
            </p:cNvPr>
            <p:cNvSpPr/>
            <p:nvPr/>
          </p:nvSpPr>
          <p:spPr bwMode="auto">
            <a:xfrm>
              <a:off x="5365751" y="2290763"/>
              <a:ext cx="12700" cy="12700"/>
            </a:xfrm>
            <a:prstGeom prst="ellipse">
              <a:avLst/>
            </a:pr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îS1iḑè">
              <a:extLst>
                <a:ext uri="{FF2B5EF4-FFF2-40B4-BE49-F238E27FC236}">
                  <a16:creationId xmlns:a16="http://schemas.microsoft.com/office/drawing/2014/main" id="{F8DE34A9-95DA-45E6-98A0-BB56EB06975A}"/>
                </a:ext>
              </a:extLst>
            </p:cNvPr>
            <p:cNvSpPr/>
            <p:nvPr/>
          </p:nvSpPr>
          <p:spPr bwMode="auto">
            <a:xfrm>
              <a:off x="5449888" y="2058988"/>
              <a:ext cx="1588" cy="6350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1 h 4"/>
                <a:gd name="T4" fmla="*/ 1 w 1"/>
                <a:gd name="T5" fmla="*/ 4 h 4"/>
                <a:gd name="T6" fmla="*/ 1 w 1"/>
                <a:gd name="T7" fmla="*/ 4 h 4"/>
                <a:gd name="T8" fmla="*/ 0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0" y="2"/>
                    <a:pt x="0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islïḑê">
              <a:extLst>
                <a:ext uri="{FF2B5EF4-FFF2-40B4-BE49-F238E27FC236}">
                  <a16:creationId xmlns:a16="http://schemas.microsoft.com/office/drawing/2014/main" id="{4AE80F77-3AAE-4E0F-ABAB-24699957903F}"/>
                </a:ext>
              </a:extLst>
            </p:cNvPr>
            <p:cNvSpPr/>
            <p:nvPr/>
          </p:nvSpPr>
          <p:spPr bwMode="auto">
            <a:xfrm>
              <a:off x="5359401" y="2057400"/>
              <a:ext cx="93663" cy="107950"/>
            </a:xfrm>
            <a:custGeom>
              <a:avLst/>
              <a:gdLst>
                <a:gd name="T0" fmla="*/ 62 w 65"/>
                <a:gd name="T1" fmla="*/ 0 h 74"/>
                <a:gd name="T2" fmla="*/ 62 w 65"/>
                <a:gd name="T3" fmla="*/ 2 h 74"/>
                <a:gd name="T4" fmla="*/ 64 w 65"/>
                <a:gd name="T5" fmla="*/ 5 h 74"/>
                <a:gd name="T6" fmla="*/ 25 w 65"/>
                <a:gd name="T7" fmla="*/ 70 h 74"/>
                <a:gd name="T8" fmla="*/ 1 w 65"/>
                <a:gd name="T9" fmla="*/ 47 h 74"/>
                <a:gd name="T10" fmla="*/ 0 w 65"/>
                <a:gd name="T11" fmla="*/ 48 h 74"/>
                <a:gd name="T12" fmla="*/ 26 w 65"/>
                <a:gd name="T13" fmla="*/ 74 h 74"/>
                <a:gd name="T14" fmla="*/ 65 w 65"/>
                <a:gd name="T15" fmla="*/ 9 h 74"/>
                <a:gd name="T16" fmla="*/ 64 w 65"/>
                <a:gd name="T17" fmla="*/ 6 h 74"/>
                <a:gd name="T18" fmla="*/ 64 w 65"/>
                <a:gd name="T19" fmla="*/ 5 h 74"/>
                <a:gd name="T20" fmla="*/ 64 w 65"/>
                <a:gd name="T21" fmla="*/ 5 h 74"/>
                <a:gd name="T22" fmla="*/ 63 w 65"/>
                <a:gd name="T23" fmla="*/ 2 h 74"/>
                <a:gd name="T24" fmla="*/ 63 w 65"/>
                <a:gd name="T25" fmla="*/ 1 h 74"/>
                <a:gd name="T26" fmla="*/ 62 w 65"/>
                <a:gd name="T2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74">
                  <a:moveTo>
                    <a:pt x="62" y="0"/>
                  </a:moveTo>
                  <a:cubicBezTo>
                    <a:pt x="62" y="1"/>
                    <a:pt x="62" y="1"/>
                    <a:pt x="62" y="2"/>
                  </a:cubicBezTo>
                  <a:cubicBezTo>
                    <a:pt x="62" y="3"/>
                    <a:pt x="63" y="5"/>
                    <a:pt x="64" y="5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0" y="48"/>
                    <a:pt x="0" y="48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64" y="8"/>
                    <a:pt x="64" y="7"/>
                    <a:pt x="64" y="6"/>
                  </a:cubicBezTo>
                  <a:cubicBezTo>
                    <a:pt x="64" y="6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3" y="3"/>
                    <a:pt x="63" y="2"/>
                  </a:cubicBezTo>
                  <a:cubicBezTo>
                    <a:pt x="63" y="2"/>
                    <a:pt x="63" y="1"/>
                    <a:pt x="63" y="1"/>
                  </a:cubicBezTo>
                  <a:cubicBezTo>
                    <a:pt x="62" y="1"/>
                    <a:pt x="62" y="0"/>
                    <a:pt x="62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îŝļîdé">
              <a:extLst>
                <a:ext uri="{FF2B5EF4-FFF2-40B4-BE49-F238E27FC236}">
                  <a16:creationId xmlns:a16="http://schemas.microsoft.com/office/drawing/2014/main" id="{0F1D486B-8A73-4719-A907-5C91544AD7B8}"/>
                </a:ext>
              </a:extLst>
            </p:cNvPr>
            <p:cNvSpPr/>
            <p:nvPr/>
          </p:nvSpPr>
          <p:spPr bwMode="auto">
            <a:xfrm>
              <a:off x="5378451" y="2493963"/>
              <a:ext cx="12700" cy="12700"/>
            </a:xfrm>
            <a:prstGeom prst="ellipse">
              <a:avLst/>
            </a:pr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iŝļïḑé">
              <a:extLst>
                <a:ext uri="{FF2B5EF4-FFF2-40B4-BE49-F238E27FC236}">
                  <a16:creationId xmlns:a16="http://schemas.microsoft.com/office/drawing/2014/main" id="{F43D9BCE-D319-4076-A8E5-483166C631DF}"/>
                </a:ext>
              </a:extLst>
            </p:cNvPr>
            <p:cNvSpPr/>
            <p:nvPr/>
          </p:nvSpPr>
          <p:spPr bwMode="auto">
            <a:xfrm>
              <a:off x="5378451" y="2490788"/>
              <a:ext cx="12700" cy="12700"/>
            </a:xfrm>
            <a:prstGeom prst="ellipse">
              <a:avLst/>
            </a:pr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îṡliḋé">
              <a:extLst>
                <a:ext uri="{FF2B5EF4-FFF2-40B4-BE49-F238E27FC236}">
                  <a16:creationId xmlns:a16="http://schemas.microsoft.com/office/drawing/2014/main" id="{F5F7EA97-4E12-49F7-8686-24822CEA7B93}"/>
                </a:ext>
              </a:extLst>
            </p:cNvPr>
            <p:cNvSpPr/>
            <p:nvPr/>
          </p:nvSpPr>
          <p:spPr bwMode="auto">
            <a:xfrm>
              <a:off x="5356226" y="2008188"/>
              <a:ext cx="95250" cy="150813"/>
            </a:xfrm>
            <a:custGeom>
              <a:avLst/>
              <a:gdLst>
                <a:gd name="T0" fmla="*/ 0 w 66"/>
                <a:gd name="T1" fmla="*/ 79 h 104"/>
                <a:gd name="T2" fmla="*/ 27 w 66"/>
                <a:gd name="T3" fmla="*/ 104 h 104"/>
                <a:gd name="T4" fmla="*/ 66 w 66"/>
                <a:gd name="T5" fmla="*/ 39 h 104"/>
                <a:gd name="T6" fmla="*/ 64 w 66"/>
                <a:gd name="T7" fmla="*/ 36 h 104"/>
                <a:gd name="T8" fmla="*/ 26 w 66"/>
                <a:gd name="T9" fmla="*/ 0 h 104"/>
                <a:gd name="T10" fmla="*/ 0 w 66"/>
                <a:gd name="T11" fmla="*/ 7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104">
                  <a:moveTo>
                    <a:pt x="0" y="79"/>
                  </a:moveTo>
                  <a:cubicBezTo>
                    <a:pt x="27" y="104"/>
                    <a:pt x="27" y="104"/>
                    <a:pt x="27" y="104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5" y="39"/>
                    <a:pt x="64" y="37"/>
                    <a:pt x="64" y="36"/>
                  </a:cubicBezTo>
                  <a:cubicBezTo>
                    <a:pt x="65" y="25"/>
                    <a:pt x="27" y="1"/>
                    <a:pt x="26" y="0"/>
                  </a:cubicBezTo>
                  <a:cubicBezTo>
                    <a:pt x="58" y="29"/>
                    <a:pt x="6" y="74"/>
                    <a:pt x="0" y="79"/>
                  </a:cubicBezTo>
                </a:path>
              </a:pathLst>
            </a:custGeom>
            <a:solidFill>
              <a:srgbClr val="676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išļiḍé">
              <a:extLst>
                <a:ext uri="{FF2B5EF4-FFF2-40B4-BE49-F238E27FC236}">
                  <a16:creationId xmlns:a16="http://schemas.microsoft.com/office/drawing/2014/main" id="{2E96C947-C99A-4E50-97AD-9AEB052429D1}"/>
                </a:ext>
              </a:extLst>
            </p:cNvPr>
            <p:cNvSpPr/>
            <p:nvPr/>
          </p:nvSpPr>
          <p:spPr bwMode="auto">
            <a:xfrm>
              <a:off x="5316538" y="2290763"/>
              <a:ext cx="92075" cy="187325"/>
            </a:xfrm>
            <a:custGeom>
              <a:avLst/>
              <a:gdLst>
                <a:gd name="T0" fmla="*/ 54 w 63"/>
                <a:gd name="T1" fmla="*/ 129 h 129"/>
                <a:gd name="T2" fmla="*/ 7 w 63"/>
                <a:gd name="T3" fmla="*/ 128 h 129"/>
                <a:gd name="T4" fmla="*/ 0 w 63"/>
                <a:gd name="T5" fmla="*/ 121 h 129"/>
                <a:gd name="T6" fmla="*/ 3 w 63"/>
                <a:gd name="T7" fmla="*/ 6 h 129"/>
                <a:gd name="T8" fmla="*/ 9 w 63"/>
                <a:gd name="T9" fmla="*/ 0 h 129"/>
                <a:gd name="T10" fmla="*/ 57 w 63"/>
                <a:gd name="T11" fmla="*/ 1 h 129"/>
                <a:gd name="T12" fmla="*/ 63 w 63"/>
                <a:gd name="T13" fmla="*/ 8 h 129"/>
                <a:gd name="T14" fmla="*/ 61 w 63"/>
                <a:gd name="T15" fmla="*/ 122 h 129"/>
                <a:gd name="T16" fmla="*/ 54 w 63"/>
                <a:gd name="T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129">
                  <a:moveTo>
                    <a:pt x="54" y="129"/>
                  </a:moveTo>
                  <a:cubicBezTo>
                    <a:pt x="7" y="128"/>
                    <a:pt x="7" y="128"/>
                    <a:pt x="7" y="128"/>
                  </a:cubicBezTo>
                  <a:cubicBezTo>
                    <a:pt x="3" y="128"/>
                    <a:pt x="0" y="125"/>
                    <a:pt x="0" y="121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3"/>
                    <a:pt x="6" y="0"/>
                    <a:pt x="9" y="0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0" y="1"/>
                    <a:pt x="63" y="4"/>
                    <a:pt x="63" y="8"/>
                  </a:cubicBezTo>
                  <a:cubicBezTo>
                    <a:pt x="61" y="122"/>
                    <a:pt x="61" y="122"/>
                    <a:pt x="61" y="122"/>
                  </a:cubicBezTo>
                  <a:cubicBezTo>
                    <a:pt x="61" y="126"/>
                    <a:pt x="57" y="129"/>
                    <a:pt x="54" y="129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š1ïḓe">
              <a:extLst>
                <a:ext uri="{FF2B5EF4-FFF2-40B4-BE49-F238E27FC236}">
                  <a16:creationId xmlns:a16="http://schemas.microsoft.com/office/drawing/2014/main" id="{F20AFFD8-B330-480E-BDA1-5C95D65C165B}"/>
                </a:ext>
              </a:extLst>
            </p:cNvPr>
            <p:cNvSpPr/>
            <p:nvPr/>
          </p:nvSpPr>
          <p:spPr bwMode="auto">
            <a:xfrm>
              <a:off x="5316538" y="2290763"/>
              <a:ext cx="92075" cy="177800"/>
            </a:xfrm>
            <a:custGeom>
              <a:avLst/>
              <a:gdLst>
                <a:gd name="T0" fmla="*/ 1 w 63"/>
                <a:gd name="T1" fmla="*/ 102 h 123"/>
                <a:gd name="T2" fmla="*/ 0 w 63"/>
                <a:gd name="T3" fmla="*/ 102 h 123"/>
                <a:gd name="T4" fmla="*/ 0 w 63"/>
                <a:gd name="T5" fmla="*/ 121 h 123"/>
                <a:gd name="T6" fmla="*/ 0 w 63"/>
                <a:gd name="T7" fmla="*/ 121 h 123"/>
                <a:gd name="T8" fmla="*/ 0 w 63"/>
                <a:gd name="T9" fmla="*/ 123 h 123"/>
                <a:gd name="T10" fmla="*/ 1 w 63"/>
                <a:gd name="T11" fmla="*/ 102 h 123"/>
                <a:gd name="T12" fmla="*/ 9 w 63"/>
                <a:gd name="T13" fmla="*/ 0 h 123"/>
                <a:gd name="T14" fmla="*/ 3 w 63"/>
                <a:gd name="T15" fmla="*/ 6 h 123"/>
                <a:gd name="T16" fmla="*/ 1 w 63"/>
                <a:gd name="T17" fmla="*/ 62 h 123"/>
                <a:gd name="T18" fmla="*/ 2 w 63"/>
                <a:gd name="T19" fmla="*/ 62 h 123"/>
                <a:gd name="T20" fmla="*/ 3 w 63"/>
                <a:gd name="T21" fmla="*/ 9 h 123"/>
                <a:gd name="T22" fmla="*/ 10 w 63"/>
                <a:gd name="T23" fmla="*/ 3 h 123"/>
                <a:gd name="T24" fmla="*/ 10 w 63"/>
                <a:gd name="T25" fmla="*/ 3 h 123"/>
                <a:gd name="T26" fmla="*/ 57 w 63"/>
                <a:gd name="T27" fmla="*/ 4 h 123"/>
                <a:gd name="T28" fmla="*/ 63 w 63"/>
                <a:gd name="T29" fmla="*/ 8 h 123"/>
                <a:gd name="T30" fmla="*/ 63 w 63"/>
                <a:gd name="T31" fmla="*/ 8 h 123"/>
                <a:gd name="T32" fmla="*/ 63 w 63"/>
                <a:gd name="T33" fmla="*/ 8 h 123"/>
                <a:gd name="T34" fmla="*/ 57 w 63"/>
                <a:gd name="T35" fmla="*/ 1 h 123"/>
                <a:gd name="T36" fmla="*/ 39 w 63"/>
                <a:gd name="T37" fmla="*/ 0 h 123"/>
                <a:gd name="T38" fmla="*/ 37 w 63"/>
                <a:gd name="T39" fmla="*/ 0 h 123"/>
                <a:gd name="T40" fmla="*/ 24 w 63"/>
                <a:gd name="T41" fmla="*/ 0 h 123"/>
                <a:gd name="T42" fmla="*/ 19 w 63"/>
                <a:gd name="T43" fmla="*/ 0 h 123"/>
                <a:gd name="T44" fmla="*/ 9 w 63"/>
                <a:gd name="T45" fmla="*/ 0 h 123"/>
                <a:gd name="T46" fmla="*/ 9 w 63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" h="123">
                  <a:moveTo>
                    <a:pt x="1" y="102"/>
                  </a:moveTo>
                  <a:cubicBezTo>
                    <a:pt x="1" y="102"/>
                    <a:pt x="0" y="102"/>
                    <a:pt x="0" y="102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2"/>
                    <a:pt x="0" y="123"/>
                    <a:pt x="0" y="123"/>
                  </a:cubicBezTo>
                  <a:cubicBezTo>
                    <a:pt x="1" y="102"/>
                    <a:pt x="1" y="102"/>
                    <a:pt x="1" y="102"/>
                  </a:cubicBezTo>
                  <a:moveTo>
                    <a:pt x="9" y="0"/>
                  </a:moveTo>
                  <a:cubicBezTo>
                    <a:pt x="6" y="0"/>
                    <a:pt x="3" y="3"/>
                    <a:pt x="3" y="6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1" y="62"/>
                    <a:pt x="2" y="62"/>
                    <a:pt x="2" y="62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5"/>
                    <a:pt x="6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0" y="4"/>
                    <a:pt x="62" y="6"/>
                    <a:pt x="63" y="8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4"/>
                    <a:pt x="60" y="1"/>
                    <a:pt x="57" y="1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ïṥlíḋê">
              <a:extLst>
                <a:ext uri="{FF2B5EF4-FFF2-40B4-BE49-F238E27FC236}">
                  <a16:creationId xmlns:a16="http://schemas.microsoft.com/office/drawing/2014/main" id="{A0A40678-B245-45B8-8577-96556FE1031D}"/>
                </a:ext>
              </a:extLst>
            </p:cNvPr>
            <p:cNvSpPr/>
            <p:nvPr/>
          </p:nvSpPr>
          <p:spPr bwMode="auto">
            <a:xfrm>
              <a:off x="5316538" y="2293938"/>
              <a:ext cx="93663" cy="187325"/>
            </a:xfrm>
            <a:custGeom>
              <a:avLst/>
              <a:gdLst>
                <a:gd name="T0" fmla="*/ 54 w 64"/>
                <a:gd name="T1" fmla="*/ 130 h 130"/>
                <a:gd name="T2" fmla="*/ 7 w 64"/>
                <a:gd name="T3" fmla="*/ 129 h 130"/>
                <a:gd name="T4" fmla="*/ 0 w 64"/>
                <a:gd name="T5" fmla="*/ 122 h 130"/>
                <a:gd name="T6" fmla="*/ 3 w 64"/>
                <a:gd name="T7" fmla="*/ 7 h 130"/>
                <a:gd name="T8" fmla="*/ 10 w 64"/>
                <a:gd name="T9" fmla="*/ 1 h 130"/>
                <a:gd name="T10" fmla="*/ 57 w 64"/>
                <a:gd name="T11" fmla="*/ 2 h 130"/>
                <a:gd name="T12" fmla="*/ 64 w 64"/>
                <a:gd name="T13" fmla="*/ 9 h 130"/>
                <a:gd name="T14" fmla="*/ 61 w 64"/>
                <a:gd name="T15" fmla="*/ 123 h 130"/>
                <a:gd name="T16" fmla="*/ 54 w 64"/>
                <a:gd name="T1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130">
                  <a:moveTo>
                    <a:pt x="54" y="130"/>
                  </a:moveTo>
                  <a:cubicBezTo>
                    <a:pt x="7" y="129"/>
                    <a:pt x="7" y="129"/>
                    <a:pt x="7" y="129"/>
                  </a:cubicBezTo>
                  <a:cubicBezTo>
                    <a:pt x="3" y="129"/>
                    <a:pt x="0" y="126"/>
                    <a:pt x="0" y="122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3"/>
                    <a:pt x="6" y="0"/>
                    <a:pt x="10" y="1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61" y="2"/>
                    <a:pt x="64" y="5"/>
                    <a:pt x="64" y="9"/>
                  </a:cubicBezTo>
                  <a:cubicBezTo>
                    <a:pt x="61" y="123"/>
                    <a:pt x="61" y="123"/>
                    <a:pt x="61" y="123"/>
                  </a:cubicBezTo>
                  <a:cubicBezTo>
                    <a:pt x="61" y="127"/>
                    <a:pt x="58" y="130"/>
                    <a:pt x="54" y="130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îşlïdè">
              <a:extLst>
                <a:ext uri="{FF2B5EF4-FFF2-40B4-BE49-F238E27FC236}">
                  <a16:creationId xmlns:a16="http://schemas.microsoft.com/office/drawing/2014/main" id="{0504F64E-9CF4-4112-B533-E037FA00D5F8}"/>
                </a:ext>
              </a:extLst>
            </p:cNvPr>
            <p:cNvSpPr/>
            <p:nvPr/>
          </p:nvSpPr>
          <p:spPr bwMode="auto">
            <a:xfrm>
              <a:off x="5351463" y="2335213"/>
              <a:ext cx="26988" cy="28575"/>
            </a:xfrm>
            <a:prstGeom prst="ellipse">
              <a:avLst/>
            </a:prstGeom>
            <a:solidFill>
              <a:srgbClr val="676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íṧľíḍe">
              <a:extLst>
                <a:ext uri="{FF2B5EF4-FFF2-40B4-BE49-F238E27FC236}">
                  <a16:creationId xmlns:a16="http://schemas.microsoft.com/office/drawing/2014/main" id="{FCCBF7CE-05ED-4FA0-963B-C9E6B1B0C2BB}"/>
                </a:ext>
              </a:extLst>
            </p:cNvPr>
            <p:cNvSpPr/>
            <p:nvPr/>
          </p:nvSpPr>
          <p:spPr bwMode="auto">
            <a:xfrm>
              <a:off x="5254626" y="2112963"/>
              <a:ext cx="3175" cy="9525"/>
            </a:xfrm>
            <a:custGeom>
              <a:avLst/>
              <a:gdLst>
                <a:gd name="T0" fmla="*/ 0 w 2"/>
                <a:gd name="T1" fmla="*/ 0 h 7"/>
                <a:gd name="T2" fmla="*/ 0 w 2"/>
                <a:gd name="T3" fmla="*/ 7 h 7"/>
                <a:gd name="T4" fmla="*/ 2 w 2"/>
                <a:gd name="T5" fmla="*/ 5 h 7"/>
                <a:gd name="T6" fmla="*/ 2 w 2"/>
                <a:gd name="T7" fmla="*/ 0 h 7"/>
                <a:gd name="T8" fmla="*/ 0 w 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7">
                  <a:moveTo>
                    <a:pt x="0" y="0"/>
                  </a:moveTo>
                  <a:cubicBezTo>
                    <a:pt x="0" y="2"/>
                    <a:pt x="0" y="4"/>
                    <a:pt x="0" y="7"/>
                  </a:cubicBezTo>
                  <a:cubicBezTo>
                    <a:pt x="1" y="6"/>
                    <a:pt x="1" y="6"/>
                    <a:pt x="2" y="5"/>
                  </a:cubicBezTo>
                  <a:cubicBezTo>
                    <a:pt x="2" y="4"/>
                    <a:pt x="2" y="2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iSḷîḓé">
              <a:extLst>
                <a:ext uri="{FF2B5EF4-FFF2-40B4-BE49-F238E27FC236}">
                  <a16:creationId xmlns:a16="http://schemas.microsoft.com/office/drawing/2014/main" id="{612E7AE2-02A2-495D-B099-7021E9EC242F}"/>
                </a:ext>
              </a:extLst>
            </p:cNvPr>
            <p:cNvSpPr/>
            <p:nvPr/>
          </p:nvSpPr>
          <p:spPr bwMode="auto">
            <a:xfrm>
              <a:off x="5254626" y="2119313"/>
              <a:ext cx="4763" cy="22225"/>
            </a:xfrm>
            <a:custGeom>
              <a:avLst/>
              <a:gdLst>
                <a:gd name="T0" fmla="*/ 2 w 3"/>
                <a:gd name="T1" fmla="*/ 0 h 15"/>
                <a:gd name="T2" fmla="*/ 0 w 3"/>
                <a:gd name="T3" fmla="*/ 2 h 15"/>
                <a:gd name="T4" fmla="*/ 3 w 3"/>
                <a:gd name="T5" fmla="*/ 15 h 15"/>
                <a:gd name="T6" fmla="*/ 2 w 3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5">
                  <a:moveTo>
                    <a:pt x="2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1" y="7"/>
                    <a:pt x="2" y="12"/>
                    <a:pt x="3" y="15"/>
                  </a:cubicBezTo>
                  <a:cubicBezTo>
                    <a:pt x="2" y="11"/>
                    <a:pt x="2" y="6"/>
                    <a:pt x="2" y="0"/>
                  </a:cubicBezTo>
                </a:path>
              </a:pathLst>
            </a:custGeom>
            <a:solidFill>
              <a:srgbClr val="AB6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íṡľiḍè">
              <a:extLst>
                <a:ext uri="{FF2B5EF4-FFF2-40B4-BE49-F238E27FC236}">
                  <a16:creationId xmlns:a16="http://schemas.microsoft.com/office/drawing/2014/main" id="{4F802BEB-6C26-4FCD-879C-E3E22DD39F9B}"/>
                </a:ext>
              </a:extLst>
            </p:cNvPr>
            <p:cNvSpPr/>
            <p:nvPr/>
          </p:nvSpPr>
          <p:spPr bwMode="auto">
            <a:xfrm>
              <a:off x="5200651" y="2184400"/>
              <a:ext cx="109538" cy="255588"/>
            </a:xfrm>
            <a:custGeom>
              <a:avLst/>
              <a:gdLst>
                <a:gd name="T0" fmla="*/ 73 w 75"/>
                <a:gd name="T1" fmla="*/ 0 h 176"/>
                <a:gd name="T2" fmla="*/ 49 w 75"/>
                <a:gd name="T3" fmla="*/ 57 h 176"/>
                <a:gd name="T4" fmla="*/ 11 w 75"/>
                <a:gd name="T5" fmla="*/ 138 h 176"/>
                <a:gd name="T6" fmla="*/ 0 w 75"/>
                <a:gd name="T7" fmla="*/ 176 h 176"/>
                <a:gd name="T8" fmla="*/ 2 w 75"/>
                <a:gd name="T9" fmla="*/ 175 h 176"/>
                <a:gd name="T10" fmla="*/ 12 w 75"/>
                <a:gd name="T11" fmla="*/ 143 h 176"/>
                <a:gd name="T12" fmla="*/ 51 w 75"/>
                <a:gd name="T13" fmla="*/ 63 h 176"/>
                <a:gd name="T14" fmla="*/ 74 w 75"/>
                <a:gd name="T15" fmla="*/ 5 h 176"/>
                <a:gd name="T16" fmla="*/ 73 w 75"/>
                <a:gd name="T17" fmla="*/ 1 h 176"/>
                <a:gd name="T18" fmla="*/ 73 w 75"/>
                <a:gd name="T19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176">
                  <a:moveTo>
                    <a:pt x="73" y="0"/>
                  </a:moveTo>
                  <a:cubicBezTo>
                    <a:pt x="70" y="8"/>
                    <a:pt x="56" y="45"/>
                    <a:pt x="49" y="57"/>
                  </a:cubicBezTo>
                  <a:cubicBezTo>
                    <a:pt x="42" y="70"/>
                    <a:pt x="11" y="138"/>
                    <a:pt x="11" y="138"/>
                  </a:cubicBezTo>
                  <a:cubicBezTo>
                    <a:pt x="11" y="138"/>
                    <a:pt x="1" y="154"/>
                    <a:pt x="0" y="176"/>
                  </a:cubicBezTo>
                  <a:cubicBezTo>
                    <a:pt x="1" y="176"/>
                    <a:pt x="1" y="176"/>
                    <a:pt x="2" y="175"/>
                  </a:cubicBezTo>
                  <a:cubicBezTo>
                    <a:pt x="4" y="156"/>
                    <a:pt x="12" y="143"/>
                    <a:pt x="12" y="143"/>
                  </a:cubicBezTo>
                  <a:cubicBezTo>
                    <a:pt x="12" y="143"/>
                    <a:pt x="44" y="76"/>
                    <a:pt x="51" y="63"/>
                  </a:cubicBezTo>
                  <a:cubicBezTo>
                    <a:pt x="60" y="44"/>
                    <a:pt x="67" y="25"/>
                    <a:pt x="74" y="5"/>
                  </a:cubicBezTo>
                  <a:cubicBezTo>
                    <a:pt x="75" y="4"/>
                    <a:pt x="74" y="2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</a:path>
              </a:pathLst>
            </a:custGeom>
            <a:solidFill>
              <a:srgbClr val="DA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î$ḻîde">
              <a:extLst>
                <a:ext uri="{FF2B5EF4-FFF2-40B4-BE49-F238E27FC236}">
                  <a16:creationId xmlns:a16="http://schemas.microsoft.com/office/drawing/2014/main" id="{94189839-68A1-4364-B5F8-69310E9FC2BA}"/>
                </a:ext>
              </a:extLst>
            </p:cNvPr>
            <p:cNvSpPr/>
            <p:nvPr/>
          </p:nvSpPr>
          <p:spPr bwMode="auto">
            <a:xfrm>
              <a:off x="4889501" y="2625725"/>
              <a:ext cx="173038" cy="23813"/>
            </a:xfrm>
            <a:custGeom>
              <a:avLst/>
              <a:gdLst>
                <a:gd name="T0" fmla="*/ 120 w 120"/>
                <a:gd name="T1" fmla="*/ 0 h 17"/>
                <a:gd name="T2" fmla="*/ 16 w 120"/>
                <a:gd name="T3" fmla="*/ 12 h 17"/>
                <a:gd name="T4" fmla="*/ 2 w 120"/>
                <a:gd name="T5" fmla="*/ 11 h 17"/>
                <a:gd name="T6" fmla="*/ 0 w 120"/>
                <a:gd name="T7" fmla="*/ 15 h 17"/>
                <a:gd name="T8" fmla="*/ 18 w 120"/>
                <a:gd name="T9" fmla="*/ 17 h 17"/>
                <a:gd name="T10" fmla="*/ 118 w 120"/>
                <a:gd name="T11" fmla="*/ 6 h 17"/>
                <a:gd name="T12" fmla="*/ 120 w 120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7">
                  <a:moveTo>
                    <a:pt x="120" y="0"/>
                  </a:moveTo>
                  <a:cubicBezTo>
                    <a:pt x="83" y="6"/>
                    <a:pt x="41" y="12"/>
                    <a:pt x="16" y="12"/>
                  </a:cubicBezTo>
                  <a:cubicBezTo>
                    <a:pt x="10" y="12"/>
                    <a:pt x="6" y="12"/>
                    <a:pt x="2" y="11"/>
                  </a:cubicBezTo>
                  <a:cubicBezTo>
                    <a:pt x="0" y="13"/>
                    <a:pt x="0" y="15"/>
                    <a:pt x="0" y="15"/>
                  </a:cubicBezTo>
                  <a:cubicBezTo>
                    <a:pt x="3" y="17"/>
                    <a:pt x="10" y="17"/>
                    <a:pt x="18" y="17"/>
                  </a:cubicBezTo>
                  <a:cubicBezTo>
                    <a:pt x="42" y="17"/>
                    <a:pt x="82" y="12"/>
                    <a:pt x="118" y="6"/>
                  </a:cubicBezTo>
                  <a:cubicBezTo>
                    <a:pt x="118" y="4"/>
                    <a:pt x="119" y="2"/>
                    <a:pt x="12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ś1íḍè">
              <a:extLst>
                <a:ext uri="{FF2B5EF4-FFF2-40B4-BE49-F238E27FC236}">
                  <a16:creationId xmlns:a16="http://schemas.microsoft.com/office/drawing/2014/main" id="{9FAAB09A-208A-402E-B3AC-9D1C0103B796}"/>
                </a:ext>
              </a:extLst>
            </p:cNvPr>
            <p:cNvSpPr/>
            <p:nvPr/>
          </p:nvSpPr>
          <p:spPr bwMode="auto">
            <a:xfrm>
              <a:off x="5060951" y="2546350"/>
              <a:ext cx="150813" cy="87313"/>
            </a:xfrm>
            <a:custGeom>
              <a:avLst/>
              <a:gdLst>
                <a:gd name="T0" fmla="*/ 105 w 105"/>
                <a:gd name="T1" fmla="*/ 0 h 61"/>
                <a:gd name="T2" fmla="*/ 94 w 105"/>
                <a:gd name="T3" fmla="*/ 16 h 61"/>
                <a:gd name="T4" fmla="*/ 87 w 105"/>
                <a:gd name="T5" fmla="*/ 26 h 61"/>
                <a:gd name="T6" fmla="*/ 90 w 105"/>
                <a:gd name="T7" fmla="*/ 27 h 61"/>
                <a:gd name="T8" fmla="*/ 85 w 105"/>
                <a:gd name="T9" fmla="*/ 28 h 61"/>
                <a:gd name="T10" fmla="*/ 66 w 105"/>
                <a:gd name="T11" fmla="*/ 43 h 61"/>
                <a:gd name="T12" fmla="*/ 2 w 105"/>
                <a:gd name="T13" fmla="*/ 55 h 61"/>
                <a:gd name="T14" fmla="*/ 0 w 105"/>
                <a:gd name="T15" fmla="*/ 61 h 61"/>
                <a:gd name="T16" fmla="*/ 68 w 105"/>
                <a:gd name="T17" fmla="*/ 48 h 61"/>
                <a:gd name="T18" fmla="*/ 105 w 105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61">
                  <a:moveTo>
                    <a:pt x="105" y="0"/>
                  </a:moveTo>
                  <a:cubicBezTo>
                    <a:pt x="94" y="16"/>
                    <a:pt x="94" y="16"/>
                    <a:pt x="94" y="16"/>
                  </a:cubicBezTo>
                  <a:cubicBezTo>
                    <a:pt x="92" y="19"/>
                    <a:pt x="90" y="23"/>
                    <a:pt x="87" y="26"/>
                  </a:cubicBezTo>
                  <a:cubicBezTo>
                    <a:pt x="89" y="27"/>
                    <a:pt x="90" y="27"/>
                    <a:pt x="90" y="27"/>
                  </a:cubicBezTo>
                  <a:cubicBezTo>
                    <a:pt x="89" y="27"/>
                    <a:pt x="87" y="28"/>
                    <a:pt x="85" y="28"/>
                  </a:cubicBezTo>
                  <a:cubicBezTo>
                    <a:pt x="79" y="36"/>
                    <a:pt x="72" y="41"/>
                    <a:pt x="66" y="43"/>
                  </a:cubicBezTo>
                  <a:cubicBezTo>
                    <a:pt x="58" y="45"/>
                    <a:pt x="32" y="51"/>
                    <a:pt x="2" y="55"/>
                  </a:cubicBezTo>
                  <a:cubicBezTo>
                    <a:pt x="1" y="57"/>
                    <a:pt x="0" y="59"/>
                    <a:pt x="0" y="61"/>
                  </a:cubicBezTo>
                  <a:cubicBezTo>
                    <a:pt x="32" y="56"/>
                    <a:pt x="59" y="51"/>
                    <a:pt x="68" y="48"/>
                  </a:cubicBezTo>
                  <a:cubicBezTo>
                    <a:pt x="81" y="44"/>
                    <a:pt x="98" y="24"/>
                    <a:pt x="105" y="0"/>
                  </a:cubicBezTo>
                </a:path>
              </a:pathLst>
            </a:custGeom>
            <a:solidFill>
              <a:srgbClr val="DA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í$ḷíḓé">
              <a:extLst>
                <a:ext uri="{FF2B5EF4-FFF2-40B4-BE49-F238E27FC236}">
                  <a16:creationId xmlns:a16="http://schemas.microsoft.com/office/drawing/2014/main" id="{5A12D606-D7B3-4B7E-9C97-3BF6ACCAFFD4}"/>
                </a:ext>
              </a:extLst>
            </p:cNvPr>
            <p:cNvSpPr/>
            <p:nvPr/>
          </p:nvSpPr>
          <p:spPr bwMode="auto">
            <a:xfrm>
              <a:off x="4886326" y="2084388"/>
              <a:ext cx="420688" cy="568325"/>
            </a:xfrm>
            <a:custGeom>
              <a:avLst/>
              <a:gdLst>
                <a:gd name="T0" fmla="*/ 0 w 290"/>
                <a:gd name="T1" fmla="*/ 384 h 393"/>
                <a:gd name="T2" fmla="*/ 186 w 290"/>
                <a:gd name="T3" fmla="*/ 362 h 393"/>
                <a:gd name="T4" fmla="*/ 222 w 290"/>
                <a:gd name="T5" fmla="*/ 275 h 393"/>
                <a:gd name="T6" fmla="*/ 228 w 290"/>
                <a:gd name="T7" fmla="*/ 208 h 393"/>
                <a:gd name="T8" fmla="*/ 266 w 290"/>
                <a:gd name="T9" fmla="*/ 127 h 393"/>
                <a:gd name="T10" fmla="*/ 290 w 290"/>
                <a:gd name="T11" fmla="*/ 70 h 393"/>
                <a:gd name="T12" fmla="*/ 288 w 290"/>
                <a:gd name="T13" fmla="*/ 66 h 393"/>
                <a:gd name="T14" fmla="*/ 261 w 290"/>
                <a:gd name="T15" fmla="*/ 42 h 393"/>
                <a:gd name="T16" fmla="*/ 254 w 290"/>
                <a:gd name="T17" fmla="*/ 13 h 393"/>
                <a:gd name="T18" fmla="*/ 255 w 290"/>
                <a:gd name="T19" fmla="*/ 0 h 393"/>
                <a:gd name="T20" fmla="*/ 247 w 290"/>
                <a:gd name="T21" fmla="*/ 7 h 393"/>
                <a:gd name="T22" fmla="*/ 241 w 290"/>
                <a:gd name="T23" fmla="*/ 12 h 393"/>
                <a:gd name="T24" fmla="*/ 214 w 290"/>
                <a:gd name="T25" fmla="*/ 27 h 393"/>
                <a:gd name="T26" fmla="*/ 163 w 290"/>
                <a:gd name="T27" fmla="*/ 62 h 393"/>
                <a:gd name="T28" fmla="*/ 172 w 290"/>
                <a:gd name="T29" fmla="*/ 196 h 393"/>
                <a:gd name="T30" fmla="*/ 131 w 290"/>
                <a:gd name="T31" fmla="*/ 346 h 393"/>
                <a:gd name="T32" fmla="*/ 26 w 290"/>
                <a:gd name="T33" fmla="*/ 370 h 393"/>
                <a:gd name="T34" fmla="*/ 0 w 290"/>
                <a:gd name="T35" fmla="*/ 384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0" h="393">
                  <a:moveTo>
                    <a:pt x="0" y="384"/>
                  </a:moveTo>
                  <a:cubicBezTo>
                    <a:pt x="22" y="393"/>
                    <a:pt x="165" y="368"/>
                    <a:pt x="186" y="362"/>
                  </a:cubicBezTo>
                  <a:cubicBezTo>
                    <a:pt x="207" y="356"/>
                    <a:pt x="237" y="309"/>
                    <a:pt x="222" y="275"/>
                  </a:cubicBezTo>
                  <a:cubicBezTo>
                    <a:pt x="208" y="241"/>
                    <a:pt x="228" y="208"/>
                    <a:pt x="228" y="208"/>
                  </a:cubicBezTo>
                  <a:cubicBezTo>
                    <a:pt x="228" y="208"/>
                    <a:pt x="259" y="140"/>
                    <a:pt x="266" y="127"/>
                  </a:cubicBezTo>
                  <a:cubicBezTo>
                    <a:pt x="273" y="114"/>
                    <a:pt x="288" y="76"/>
                    <a:pt x="290" y="70"/>
                  </a:cubicBezTo>
                  <a:cubicBezTo>
                    <a:pt x="290" y="68"/>
                    <a:pt x="289" y="67"/>
                    <a:pt x="288" y="66"/>
                  </a:cubicBezTo>
                  <a:cubicBezTo>
                    <a:pt x="283" y="57"/>
                    <a:pt x="261" y="42"/>
                    <a:pt x="261" y="42"/>
                  </a:cubicBezTo>
                  <a:cubicBezTo>
                    <a:pt x="255" y="44"/>
                    <a:pt x="254" y="26"/>
                    <a:pt x="254" y="13"/>
                  </a:cubicBezTo>
                  <a:cubicBezTo>
                    <a:pt x="254" y="6"/>
                    <a:pt x="255" y="0"/>
                    <a:pt x="255" y="0"/>
                  </a:cubicBezTo>
                  <a:cubicBezTo>
                    <a:pt x="255" y="0"/>
                    <a:pt x="252" y="3"/>
                    <a:pt x="247" y="7"/>
                  </a:cubicBezTo>
                  <a:cubicBezTo>
                    <a:pt x="245" y="9"/>
                    <a:pt x="243" y="10"/>
                    <a:pt x="241" y="12"/>
                  </a:cubicBezTo>
                  <a:cubicBezTo>
                    <a:pt x="233" y="19"/>
                    <a:pt x="224" y="24"/>
                    <a:pt x="214" y="27"/>
                  </a:cubicBezTo>
                  <a:cubicBezTo>
                    <a:pt x="193" y="33"/>
                    <a:pt x="163" y="62"/>
                    <a:pt x="163" y="62"/>
                  </a:cubicBezTo>
                  <a:cubicBezTo>
                    <a:pt x="172" y="196"/>
                    <a:pt x="172" y="196"/>
                    <a:pt x="172" y="196"/>
                  </a:cubicBezTo>
                  <a:cubicBezTo>
                    <a:pt x="172" y="196"/>
                    <a:pt x="152" y="322"/>
                    <a:pt x="131" y="346"/>
                  </a:cubicBezTo>
                  <a:cubicBezTo>
                    <a:pt x="110" y="371"/>
                    <a:pt x="47" y="370"/>
                    <a:pt x="26" y="370"/>
                  </a:cubicBezTo>
                  <a:cubicBezTo>
                    <a:pt x="5" y="370"/>
                    <a:pt x="0" y="384"/>
                    <a:pt x="0" y="384"/>
                  </a:cubicBezTo>
                </a:path>
              </a:pathLst>
            </a:custGeom>
            <a:solidFill>
              <a:srgbClr val="676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ŝľïḑê">
              <a:extLst>
                <a:ext uri="{FF2B5EF4-FFF2-40B4-BE49-F238E27FC236}">
                  <a16:creationId xmlns:a16="http://schemas.microsoft.com/office/drawing/2014/main" id="{DDD4C86B-AD0B-498E-9A3D-940224384309}"/>
                </a:ext>
              </a:extLst>
            </p:cNvPr>
            <p:cNvSpPr/>
            <p:nvPr/>
          </p:nvSpPr>
          <p:spPr bwMode="auto">
            <a:xfrm>
              <a:off x="5230813" y="2097088"/>
              <a:ext cx="4763" cy="6350"/>
            </a:xfrm>
            <a:custGeom>
              <a:avLst/>
              <a:gdLst>
                <a:gd name="T0" fmla="*/ 0 w 3"/>
                <a:gd name="T1" fmla="*/ 0 h 5"/>
                <a:gd name="T2" fmla="*/ 1 w 3"/>
                <a:gd name="T3" fmla="*/ 5 h 5"/>
                <a:gd name="T4" fmla="*/ 3 w 3"/>
                <a:gd name="T5" fmla="*/ 3 h 5"/>
                <a:gd name="T6" fmla="*/ 3 w 3"/>
                <a:gd name="T7" fmla="*/ 2 h 5"/>
                <a:gd name="T8" fmla="*/ 0 w 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0" y="0"/>
                  </a:moveTo>
                  <a:cubicBezTo>
                    <a:pt x="0" y="1"/>
                    <a:pt x="1" y="3"/>
                    <a:pt x="1" y="5"/>
                  </a:cubicBezTo>
                  <a:cubicBezTo>
                    <a:pt x="2" y="4"/>
                    <a:pt x="3" y="4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iśḷîďê">
              <a:extLst>
                <a:ext uri="{FF2B5EF4-FFF2-40B4-BE49-F238E27FC236}">
                  <a16:creationId xmlns:a16="http://schemas.microsoft.com/office/drawing/2014/main" id="{B8BCA795-7F39-43F8-85BB-D4D0F040C428}"/>
                </a:ext>
              </a:extLst>
            </p:cNvPr>
            <p:cNvSpPr/>
            <p:nvPr/>
          </p:nvSpPr>
          <p:spPr bwMode="auto">
            <a:xfrm>
              <a:off x="5232401" y="2101850"/>
              <a:ext cx="69850" cy="112713"/>
            </a:xfrm>
            <a:custGeom>
              <a:avLst/>
              <a:gdLst>
                <a:gd name="T0" fmla="*/ 2 w 48"/>
                <a:gd name="T1" fmla="*/ 0 h 78"/>
                <a:gd name="T2" fmla="*/ 0 w 48"/>
                <a:gd name="T3" fmla="*/ 2 h 78"/>
                <a:gd name="T4" fmla="*/ 0 w 48"/>
                <a:gd name="T5" fmla="*/ 4 h 78"/>
                <a:gd name="T6" fmla="*/ 24 w 48"/>
                <a:gd name="T7" fmla="*/ 78 h 78"/>
                <a:gd name="T8" fmla="*/ 24 w 48"/>
                <a:gd name="T9" fmla="*/ 78 h 78"/>
                <a:gd name="T10" fmla="*/ 48 w 48"/>
                <a:gd name="T11" fmla="*/ 57 h 78"/>
                <a:gd name="T12" fmla="*/ 47 w 48"/>
                <a:gd name="T13" fmla="*/ 56 h 78"/>
                <a:gd name="T14" fmla="*/ 26 w 48"/>
                <a:gd name="T15" fmla="*/ 74 h 78"/>
                <a:gd name="T16" fmla="*/ 26 w 48"/>
                <a:gd name="T17" fmla="*/ 74 h 78"/>
                <a:gd name="T18" fmla="*/ 2 w 48"/>
                <a:gd name="T19" fmla="*/ 0 h 78"/>
                <a:gd name="T20" fmla="*/ 2 w 48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78">
                  <a:moveTo>
                    <a:pt x="2" y="0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5" y="27"/>
                    <a:pt x="16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30" y="76"/>
                    <a:pt x="40" y="66"/>
                    <a:pt x="48" y="57"/>
                  </a:cubicBezTo>
                  <a:cubicBezTo>
                    <a:pt x="48" y="57"/>
                    <a:pt x="47" y="57"/>
                    <a:pt x="47" y="56"/>
                  </a:cubicBezTo>
                  <a:cubicBezTo>
                    <a:pt x="40" y="65"/>
                    <a:pt x="31" y="73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18" y="74"/>
                    <a:pt x="7" y="24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îṥļiḍê">
              <a:extLst>
                <a:ext uri="{FF2B5EF4-FFF2-40B4-BE49-F238E27FC236}">
                  <a16:creationId xmlns:a16="http://schemas.microsoft.com/office/drawing/2014/main" id="{38A505B4-BF16-4A71-B73C-0C214551E2F1}"/>
                </a:ext>
              </a:extLst>
            </p:cNvPr>
            <p:cNvSpPr/>
            <p:nvPr/>
          </p:nvSpPr>
          <p:spPr bwMode="auto">
            <a:xfrm>
              <a:off x="5232401" y="2084388"/>
              <a:ext cx="71438" cy="127000"/>
            </a:xfrm>
            <a:custGeom>
              <a:avLst/>
              <a:gdLst>
                <a:gd name="T0" fmla="*/ 0 w 49"/>
                <a:gd name="T1" fmla="*/ 0 h 88"/>
                <a:gd name="T2" fmla="*/ 2 w 49"/>
                <a:gd name="T3" fmla="*/ 12 h 88"/>
                <a:gd name="T4" fmla="*/ 26 w 49"/>
                <a:gd name="T5" fmla="*/ 86 h 88"/>
                <a:gd name="T6" fmla="*/ 49 w 49"/>
                <a:gd name="T7" fmla="*/ 66 h 88"/>
                <a:gd name="T8" fmla="*/ 22 w 49"/>
                <a:gd name="T9" fmla="*/ 42 h 88"/>
                <a:gd name="T10" fmla="*/ 15 w 49"/>
                <a:gd name="T11" fmla="*/ 13 h 88"/>
                <a:gd name="T12" fmla="*/ 8 w 49"/>
                <a:gd name="T13" fmla="*/ 7 h 88"/>
                <a:gd name="T14" fmla="*/ 0 w 49"/>
                <a:gd name="T1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88">
                  <a:moveTo>
                    <a:pt x="0" y="0"/>
                  </a:moveTo>
                  <a:cubicBezTo>
                    <a:pt x="0" y="0"/>
                    <a:pt x="1" y="5"/>
                    <a:pt x="2" y="12"/>
                  </a:cubicBezTo>
                  <a:cubicBezTo>
                    <a:pt x="7" y="36"/>
                    <a:pt x="18" y="88"/>
                    <a:pt x="26" y="86"/>
                  </a:cubicBezTo>
                  <a:cubicBezTo>
                    <a:pt x="32" y="85"/>
                    <a:pt x="42" y="75"/>
                    <a:pt x="49" y="66"/>
                  </a:cubicBezTo>
                  <a:cubicBezTo>
                    <a:pt x="44" y="57"/>
                    <a:pt x="22" y="42"/>
                    <a:pt x="22" y="42"/>
                  </a:cubicBezTo>
                  <a:cubicBezTo>
                    <a:pt x="16" y="44"/>
                    <a:pt x="15" y="26"/>
                    <a:pt x="15" y="1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76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ṧḷíde">
              <a:extLst>
                <a:ext uri="{FF2B5EF4-FFF2-40B4-BE49-F238E27FC236}">
                  <a16:creationId xmlns:a16="http://schemas.microsoft.com/office/drawing/2014/main" id="{0BF8683B-7446-4003-A8E1-A3410BFB5BB6}"/>
                </a:ext>
              </a:extLst>
            </p:cNvPr>
            <p:cNvSpPr/>
            <p:nvPr/>
          </p:nvSpPr>
          <p:spPr bwMode="auto">
            <a:xfrm>
              <a:off x="5095876" y="2365375"/>
              <a:ext cx="274638" cy="219075"/>
            </a:xfrm>
            <a:custGeom>
              <a:avLst/>
              <a:gdLst>
                <a:gd name="T0" fmla="*/ 38 w 189"/>
                <a:gd name="T1" fmla="*/ 63 h 152"/>
                <a:gd name="T2" fmla="*/ 94 w 189"/>
                <a:gd name="T3" fmla="*/ 35 h 152"/>
                <a:gd name="T4" fmla="*/ 179 w 189"/>
                <a:gd name="T5" fmla="*/ 20 h 152"/>
                <a:gd name="T6" fmla="*/ 94 w 189"/>
                <a:gd name="T7" fmla="*/ 105 h 152"/>
                <a:gd name="T8" fmla="*/ 61 w 189"/>
                <a:gd name="T9" fmla="*/ 152 h 152"/>
                <a:gd name="T10" fmla="*/ 18 w 189"/>
                <a:gd name="T11" fmla="*/ 141 h 152"/>
                <a:gd name="T12" fmla="*/ 0 w 189"/>
                <a:gd name="T13" fmla="*/ 105 h 152"/>
                <a:gd name="T14" fmla="*/ 38 w 189"/>
                <a:gd name="T15" fmla="*/ 6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9" h="152">
                  <a:moveTo>
                    <a:pt x="38" y="63"/>
                  </a:moveTo>
                  <a:cubicBezTo>
                    <a:pt x="38" y="63"/>
                    <a:pt x="82" y="55"/>
                    <a:pt x="94" y="35"/>
                  </a:cubicBezTo>
                  <a:cubicBezTo>
                    <a:pt x="107" y="16"/>
                    <a:pt x="189" y="0"/>
                    <a:pt x="179" y="20"/>
                  </a:cubicBezTo>
                  <a:cubicBezTo>
                    <a:pt x="169" y="40"/>
                    <a:pt x="94" y="105"/>
                    <a:pt x="94" y="105"/>
                  </a:cubicBezTo>
                  <a:cubicBezTo>
                    <a:pt x="61" y="152"/>
                    <a:pt x="61" y="152"/>
                    <a:pt x="61" y="152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38" y="63"/>
                    <a:pt x="38" y="63"/>
                    <a:pt x="38" y="63"/>
                  </a:cubicBezTo>
                </a:path>
              </a:pathLst>
            </a:custGeom>
            <a:solidFill>
              <a:srgbClr val="BE6F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iṧļíḍé">
              <a:extLst>
                <a:ext uri="{FF2B5EF4-FFF2-40B4-BE49-F238E27FC236}">
                  <a16:creationId xmlns:a16="http://schemas.microsoft.com/office/drawing/2014/main" id="{3B829AC1-332C-4259-9689-9D0F24C19978}"/>
                </a:ext>
              </a:extLst>
            </p:cNvPr>
            <p:cNvSpPr/>
            <p:nvPr/>
          </p:nvSpPr>
          <p:spPr bwMode="auto">
            <a:xfrm>
              <a:off x="5229226" y="2528888"/>
              <a:ext cx="71438" cy="58738"/>
            </a:xfrm>
            <a:custGeom>
              <a:avLst/>
              <a:gdLst>
                <a:gd name="T0" fmla="*/ 49 w 49"/>
                <a:gd name="T1" fmla="*/ 0 h 41"/>
                <a:gd name="T2" fmla="*/ 1 w 49"/>
                <a:gd name="T3" fmla="*/ 37 h 41"/>
                <a:gd name="T4" fmla="*/ 2 w 49"/>
                <a:gd name="T5" fmla="*/ 41 h 41"/>
                <a:gd name="T6" fmla="*/ 49 w 49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41">
                  <a:moveTo>
                    <a:pt x="49" y="0"/>
                  </a:moveTo>
                  <a:cubicBezTo>
                    <a:pt x="49" y="0"/>
                    <a:pt x="7" y="16"/>
                    <a:pt x="1" y="37"/>
                  </a:cubicBezTo>
                  <a:cubicBezTo>
                    <a:pt x="0" y="40"/>
                    <a:pt x="0" y="41"/>
                    <a:pt x="2" y="41"/>
                  </a:cubicBezTo>
                  <a:cubicBezTo>
                    <a:pt x="10" y="41"/>
                    <a:pt x="49" y="0"/>
                    <a:pt x="49" y="0"/>
                  </a:cubicBezTo>
                </a:path>
              </a:pathLst>
            </a:custGeom>
            <a:solidFill>
              <a:srgbClr val="DA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ïSļïďé">
              <a:extLst>
                <a:ext uri="{FF2B5EF4-FFF2-40B4-BE49-F238E27FC236}">
                  <a16:creationId xmlns:a16="http://schemas.microsoft.com/office/drawing/2014/main" id="{457DF2ED-F182-4D53-B4A7-ABD11C98892A}"/>
                </a:ext>
              </a:extLst>
            </p:cNvPr>
            <p:cNvSpPr/>
            <p:nvPr/>
          </p:nvSpPr>
          <p:spPr bwMode="auto">
            <a:xfrm>
              <a:off x="5267326" y="2563813"/>
              <a:ext cx="77788" cy="30163"/>
            </a:xfrm>
            <a:custGeom>
              <a:avLst/>
              <a:gdLst>
                <a:gd name="T0" fmla="*/ 49 w 53"/>
                <a:gd name="T1" fmla="*/ 0 h 20"/>
                <a:gd name="T2" fmla="*/ 0 w 53"/>
                <a:gd name="T3" fmla="*/ 20 h 20"/>
                <a:gd name="T4" fmla="*/ 6 w 53"/>
                <a:gd name="T5" fmla="*/ 20 h 20"/>
                <a:gd name="T6" fmla="*/ 49 w 53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0">
                  <a:moveTo>
                    <a:pt x="49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4" y="20"/>
                    <a:pt x="6" y="20"/>
                  </a:cubicBezTo>
                  <a:cubicBezTo>
                    <a:pt x="53" y="20"/>
                    <a:pt x="49" y="0"/>
                    <a:pt x="49" y="0"/>
                  </a:cubicBezTo>
                </a:path>
              </a:pathLst>
            </a:custGeom>
            <a:solidFill>
              <a:srgbClr val="DA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ïŝļiḍê">
              <a:extLst>
                <a:ext uri="{FF2B5EF4-FFF2-40B4-BE49-F238E27FC236}">
                  <a16:creationId xmlns:a16="http://schemas.microsoft.com/office/drawing/2014/main" id="{5F4716AE-8FBF-43D8-8F9E-433C6113271F}"/>
                </a:ext>
              </a:extLst>
            </p:cNvPr>
            <p:cNvSpPr/>
            <p:nvPr/>
          </p:nvSpPr>
          <p:spPr bwMode="auto">
            <a:xfrm>
              <a:off x="5622926" y="2160588"/>
              <a:ext cx="274638" cy="158750"/>
            </a:xfrm>
            <a:custGeom>
              <a:avLst/>
              <a:gdLst>
                <a:gd name="T0" fmla="*/ 55 w 190"/>
                <a:gd name="T1" fmla="*/ 0 h 110"/>
                <a:gd name="T2" fmla="*/ 0 w 190"/>
                <a:gd name="T3" fmla="*/ 100 h 110"/>
                <a:gd name="T4" fmla="*/ 52 w 190"/>
                <a:gd name="T5" fmla="*/ 89 h 110"/>
                <a:gd name="T6" fmla="*/ 59 w 190"/>
                <a:gd name="T7" fmla="*/ 88 h 110"/>
                <a:gd name="T8" fmla="*/ 96 w 190"/>
                <a:gd name="T9" fmla="*/ 110 h 110"/>
                <a:gd name="T10" fmla="*/ 190 w 190"/>
                <a:gd name="T11" fmla="*/ 110 h 110"/>
                <a:gd name="T12" fmla="*/ 178 w 190"/>
                <a:gd name="T13" fmla="*/ 80 h 110"/>
                <a:gd name="T14" fmla="*/ 127 w 190"/>
                <a:gd name="T15" fmla="*/ 80 h 110"/>
                <a:gd name="T16" fmla="*/ 127 w 190"/>
                <a:gd name="T17" fmla="*/ 63 h 110"/>
                <a:gd name="T18" fmla="*/ 167 w 190"/>
                <a:gd name="T19" fmla="*/ 63 h 110"/>
                <a:gd name="T20" fmla="*/ 168 w 190"/>
                <a:gd name="T21" fmla="*/ 61 h 110"/>
                <a:gd name="T22" fmla="*/ 149 w 190"/>
                <a:gd name="T23" fmla="*/ 47 h 110"/>
                <a:gd name="T24" fmla="*/ 114 w 190"/>
                <a:gd name="T25" fmla="*/ 33 h 110"/>
                <a:gd name="T26" fmla="*/ 89 w 190"/>
                <a:gd name="T27" fmla="*/ 13 h 110"/>
                <a:gd name="T28" fmla="*/ 55 w 190"/>
                <a:gd name="T2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110">
                  <a:moveTo>
                    <a:pt x="55" y="0"/>
                  </a:moveTo>
                  <a:cubicBezTo>
                    <a:pt x="50" y="16"/>
                    <a:pt x="2" y="97"/>
                    <a:pt x="0" y="100"/>
                  </a:cubicBezTo>
                  <a:cubicBezTo>
                    <a:pt x="9" y="100"/>
                    <a:pt x="34" y="98"/>
                    <a:pt x="52" y="89"/>
                  </a:cubicBezTo>
                  <a:cubicBezTo>
                    <a:pt x="54" y="88"/>
                    <a:pt x="56" y="88"/>
                    <a:pt x="59" y="88"/>
                  </a:cubicBezTo>
                  <a:cubicBezTo>
                    <a:pt x="70" y="88"/>
                    <a:pt x="84" y="98"/>
                    <a:pt x="96" y="110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99"/>
                    <a:pt x="183" y="85"/>
                    <a:pt x="178" y="80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67" y="63"/>
                    <a:pt x="167" y="63"/>
                    <a:pt x="167" y="63"/>
                  </a:cubicBezTo>
                  <a:cubicBezTo>
                    <a:pt x="167" y="62"/>
                    <a:pt x="168" y="62"/>
                    <a:pt x="168" y="61"/>
                  </a:cubicBezTo>
                  <a:cubicBezTo>
                    <a:pt x="173" y="58"/>
                    <a:pt x="158" y="49"/>
                    <a:pt x="149" y="47"/>
                  </a:cubicBezTo>
                  <a:cubicBezTo>
                    <a:pt x="140" y="46"/>
                    <a:pt x="114" y="33"/>
                    <a:pt x="114" y="33"/>
                  </a:cubicBezTo>
                  <a:cubicBezTo>
                    <a:pt x="114" y="33"/>
                    <a:pt x="104" y="13"/>
                    <a:pt x="89" y="13"/>
                  </a:cubicBezTo>
                  <a:cubicBezTo>
                    <a:pt x="77" y="13"/>
                    <a:pt x="62" y="4"/>
                    <a:pt x="55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íṧlíḓê">
              <a:extLst>
                <a:ext uri="{FF2B5EF4-FFF2-40B4-BE49-F238E27FC236}">
                  <a16:creationId xmlns:a16="http://schemas.microsoft.com/office/drawing/2014/main" id="{A7ED067F-6ADA-49DD-8184-8F09BE6B8E6E}"/>
                </a:ext>
              </a:extLst>
            </p:cNvPr>
            <p:cNvSpPr/>
            <p:nvPr/>
          </p:nvSpPr>
          <p:spPr bwMode="auto">
            <a:xfrm>
              <a:off x="5807076" y="2251075"/>
              <a:ext cx="73025" cy="25400"/>
            </a:xfrm>
            <a:custGeom>
              <a:avLst/>
              <a:gdLst>
                <a:gd name="T0" fmla="*/ 40 w 51"/>
                <a:gd name="T1" fmla="*/ 0 h 17"/>
                <a:gd name="T2" fmla="*/ 0 w 51"/>
                <a:gd name="T3" fmla="*/ 0 h 17"/>
                <a:gd name="T4" fmla="*/ 0 w 51"/>
                <a:gd name="T5" fmla="*/ 17 h 17"/>
                <a:gd name="T6" fmla="*/ 51 w 51"/>
                <a:gd name="T7" fmla="*/ 17 h 17"/>
                <a:gd name="T8" fmla="*/ 50 w 51"/>
                <a:gd name="T9" fmla="*/ 16 h 17"/>
                <a:gd name="T10" fmla="*/ 40 w 51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7">
                  <a:moveTo>
                    <a:pt x="4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6"/>
                    <a:pt x="50" y="16"/>
                    <a:pt x="50" y="16"/>
                  </a:cubicBezTo>
                  <a:cubicBezTo>
                    <a:pt x="43" y="10"/>
                    <a:pt x="38" y="3"/>
                    <a:pt x="40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ïśḻïďe">
              <a:extLst>
                <a:ext uri="{FF2B5EF4-FFF2-40B4-BE49-F238E27FC236}">
                  <a16:creationId xmlns:a16="http://schemas.microsoft.com/office/drawing/2014/main" id="{C5FA7F51-5F8D-4CEC-BB5C-F8C4227DC3B4}"/>
                </a:ext>
              </a:extLst>
            </p:cNvPr>
            <p:cNvSpPr/>
            <p:nvPr/>
          </p:nvSpPr>
          <p:spPr bwMode="auto">
            <a:xfrm>
              <a:off x="5762626" y="2319338"/>
              <a:ext cx="136525" cy="44450"/>
            </a:xfrm>
            <a:custGeom>
              <a:avLst/>
              <a:gdLst>
                <a:gd name="T0" fmla="*/ 94 w 95"/>
                <a:gd name="T1" fmla="*/ 0 h 30"/>
                <a:gd name="T2" fmla="*/ 0 w 95"/>
                <a:gd name="T3" fmla="*/ 0 h 30"/>
                <a:gd name="T4" fmla="*/ 26 w 95"/>
                <a:gd name="T5" fmla="*/ 28 h 30"/>
                <a:gd name="T6" fmla="*/ 35 w 95"/>
                <a:gd name="T7" fmla="*/ 30 h 30"/>
                <a:gd name="T8" fmla="*/ 43 w 95"/>
                <a:gd name="T9" fmla="*/ 28 h 30"/>
                <a:gd name="T10" fmla="*/ 90 w 95"/>
                <a:gd name="T11" fmla="*/ 11 h 30"/>
                <a:gd name="T12" fmla="*/ 94 w 95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3"/>
                    <a:pt x="26" y="28"/>
                    <a:pt x="26" y="28"/>
                  </a:cubicBezTo>
                  <a:cubicBezTo>
                    <a:pt x="29" y="29"/>
                    <a:pt x="32" y="30"/>
                    <a:pt x="35" y="30"/>
                  </a:cubicBezTo>
                  <a:cubicBezTo>
                    <a:pt x="38" y="30"/>
                    <a:pt x="41" y="29"/>
                    <a:pt x="43" y="28"/>
                  </a:cubicBezTo>
                  <a:cubicBezTo>
                    <a:pt x="51" y="24"/>
                    <a:pt x="80" y="15"/>
                    <a:pt x="90" y="11"/>
                  </a:cubicBezTo>
                  <a:cubicBezTo>
                    <a:pt x="94" y="9"/>
                    <a:pt x="95" y="5"/>
                    <a:pt x="94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ïšḷíḓê">
              <a:extLst>
                <a:ext uri="{FF2B5EF4-FFF2-40B4-BE49-F238E27FC236}">
                  <a16:creationId xmlns:a16="http://schemas.microsoft.com/office/drawing/2014/main" id="{E7B2B77E-9D96-494F-AEC9-1ED15A76F0B1}"/>
                </a:ext>
              </a:extLst>
            </p:cNvPr>
            <p:cNvSpPr/>
            <p:nvPr/>
          </p:nvSpPr>
          <p:spPr bwMode="auto">
            <a:xfrm>
              <a:off x="5580063" y="2157413"/>
              <a:ext cx="122238" cy="147638"/>
            </a:xfrm>
            <a:custGeom>
              <a:avLst/>
              <a:gdLst>
                <a:gd name="T0" fmla="*/ 81 w 84"/>
                <a:gd name="T1" fmla="*/ 0 h 102"/>
                <a:gd name="T2" fmla="*/ 62 w 84"/>
                <a:gd name="T3" fmla="*/ 1 h 102"/>
                <a:gd name="T4" fmla="*/ 0 w 84"/>
                <a:gd name="T5" fmla="*/ 49 h 102"/>
                <a:gd name="T6" fmla="*/ 25 w 84"/>
                <a:gd name="T7" fmla="*/ 102 h 102"/>
                <a:gd name="T8" fmla="*/ 29 w 84"/>
                <a:gd name="T9" fmla="*/ 102 h 102"/>
                <a:gd name="T10" fmla="*/ 84 w 84"/>
                <a:gd name="T11" fmla="*/ 2 h 102"/>
                <a:gd name="T12" fmla="*/ 81 w 84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02">
                  <a:moveTo>
                    <a:pt x="81" y="0"/>
                  </a:moveTo>
                  <a:cubicBezTo>
                    <a:pt x="62" y="1"/>
                    <a:pt x="62" y="1"/>
                    <a:pt x="62" y="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7" y="102"/>
                    <a:pt x="29" y="102"/>
                  </a:cubicBezTo>
                  <a:cubicBezTo>
                    <a:pt x="31" y="99"/>
                    <a:pt x="79" y="18"/>
                    <a:pt x="84" y="2"/>
                  </a:cubicBezTo>
                  <a:cubicBezTo>
                    <a:pt x="82" y="0"/>
                    <a:pt x="81" y="0"/>
                    <a:pt x="81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ṧḻiḓê">
              <a:extLst>
                <a:ext uri="{FF2B5EF4-FFF2-40B4-BE49-F238E27FC236}">
                  <a16:creationId xmlns:a16="http://schemas.microsoft.com/office/drawing/2014/main" id="{0686725A-A06B-42E2-975F-291A064F7698}"/>
                </a:ext>
              </a:extLst>
            </p:cNvPr>
            <p:cNvSpPr/>
            <p:nvPr/>
          </p:nvSpPr>
          <p:spPr bwMode="auto">
            <a:xfrm>
              <a:off x="5059363" y="2173288"/>
              <a:ext cx="127000" cy="422275"/>
            </a:xfrm>
            <a:custGeom>
              <a:avLst/>
              <a:gdLst>
                <a:gd name="T0" fmla="*/ 20 w 88"/>
                <a:gd name="T1" fmla="*/ 277 h 291"/>
                <a:gd name="T2" fmla="*/ 37 w 88"/>
                <a:gd name="T3" fmla="*/ 289 h 291"/>
                <a:gd name="T4" fmla="*/ 88 w 88"/>
                <a:gd name="T5" fmla="*/ 284 h 291"/>
                <a:gd name="T6" fmla="*/ 84 w 88"/>
                <a:gd name="T7" fmla="*/ 188 h 291"/>
                <a:gd name="T8" fmla="*/ 62 w 88"/>
                <a:gd name="T9" fmla="*/ 188 h 291"/>
                <a:gd name="T10" fmla="*/ 54 w 88"/>
                <a:gd name="T11" fmla="*/ 185 h 291"/>
                <a:gd name="T12" fmla="*/ 57 w 88"/>
                <a:gd name="T13" fmla="*/ 167 h 291"/>
                <a:gd name="T14" fmla="*/ 62 w 88"/>
                <a:gd name="T15" fmla="*/ 4 h 291"/>
                <a:gd name="T16" fmla="*/ 44 w 88"/>
                <a:gd name="T17" fmla="*/ 0 h 291"/>
                <a:gd name="T18" fmla="*/ 26 w 88"/>
                <a:gd name="T19" fmla="*/ 120 h 291"/>
                <a:gd name="T20" fmla="*/ 20 w 88"/>
                <a:gd name="T21" fmla="*/ 184 h 291"/>
                <a:gd name="T22" fmla="*/ 11 w 88"/>
                <a:gd name="T23" fmla="*/ 215 h 291"/>
                <a:gd name="T24" fmla="*/ 20 w 88"/>
                <a:gd name="T25" fmla="*/ 27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291">
                  <a:moveTo>
                    <a:pt x="20" y="277"/>
                  </a:moveTo>
                  <a:cubicBezTo>
                    <a:pt x="24" y="283"/>
                    <a:pt x="30" y="288"/>
                    <a:pt x="37" y="289"/>
                  </a:cubicBezTo>
                  <a:cubicBezTo>
                    <a:pt x="54" y="291"/>
                    <a:pt x="71" y="289"/>
                    <a:pt x="88" y="284"/>
                  </a:cubicBezTo>
                  <a:cubicBezTo>
                    <a:pt x="88" y="284"/>
                    <a:pt x="0" y="256"/>
                    <a:pt x="84" y="188"/>
                  </a:cubicBezTo>
                  <a:cubicBezTo>
                    <a:pt x="62" y="188"/>
                    <a:pt x="62" y="188"/>
                    <a:pt x="62" y="188"/>
                  </a:cubicBezTo>
                  <a:cubicBezTo>
                    <a:pt x="54" y="185"/>
                    <a:pt x="54" y="185"/>
                    <a:pt x="54" y="185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29" y="107"/>
                    <a:pt x="26" y="120"/>
                  </a:cubicBezTo>
                  <a:cubicBezTo>
                    <a:pt x="22" y="133"/>
                    <a:pt x="20" y="184"/>
                    <a:pt x="20" y="184"/>
                  </a:cubicBezTo>
                  <a:cubicBezTo>
                    <a:pt x="20" y="184"/>
                    <a:pt x="16" y="205"/>
                    <a:pt x="11" y="215"/>
                  </a:cubicBezTo>
                  <a:cubicBezTo>
                    <a:pt x="7" y="223"/>
                    <a:pt x="8" y="259"/>
                    <a:pt x="20" y="277"/>
                  </a:cubicBezTo>
                </a:path>
              </a:pathLst>
            </a:custGeom>
            <a:solidFill>
              <a:srgbClr val="676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iṧļïḋé">
              <a:extLst>
                <a:ext uri="{FF2B5EF4-FFF2-40B4-BE49-F238E27FC236}">
                  <a16:creationId xmlns:a16="http://schemas.microsoft.com/office/drawing/2014/main" id="{E32BFB27-736A-4DC9-A52F-3DC5004ED19F}"/>
                </a:ext>
              </a:extLst>
            </p:cNvPr>
            <p:cNvSpPr/>
            <p:nvPr/>
          </p:nvSpPr>
          <p:spPr bwMode="auto">
            <a:xfrm>
              <a:off x="5183188" y="2582863"/>
              <a:ext cx="7938" cy="3175"/>
            </a:xfrm>
            <a:custGeom>
              <a:avLst/>
              <a:gdLst>
                <a:gd name="T0" fmla="*/ 2 w 5"/>
                <a:gd name="T1" fmla="*/ 0 h 2"/>
                <a:gd name="T2" fmla="*/ 2 w 5"/>
                <a:gd name="T3" fmla="*/ 1 h 2"/>
                <a:gd name="T4" fmla="*/ 2 w 5"/>
                <a:gd name="T5" fmla="*/ 1 h 2"/>
                <a:gd name="T6" fmla="*/ 2 w 5"/>
                <a:gd name="T7" fmla="*/ 1 h 2"/>
                <a:gd name="T8" fmla="*/ 0 w 5"/>
                <a:gd name="T9" fmla="*/ 2 h 2"/>
                <a:gd name="T10" fmla="*/ 5 w 5"/>
                <a:gd name="T11" fmla="*/ 1 h 2"/>
                <a:gd name="T12" fmla="*/ 2 w 5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">
                  <a:moveTo>
                    <a:pt x="2" y="0"/>
                  </a:move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2" y="2"/>
                    <a:pt x="4" y="1"/>
                    <a:pt x="5" y="1"/>
                  </a:cubicBezTo>
                  <a:cubicBezTo>
                    <a:pt x="5" y="1"/>
                    <a:pt x="4" y="1"/>
                    <a:pt x="2" y="0"/>
                  </a:cubicBezTo>
                </a:path>
              </a:pathLst>
            </a:custGeom>
            <a:solidFill>
              <a:srgbClr val="C4C6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íśľiḓè">
              <a:extLst>
                <a:ext uri="{FF2B5EF4-FFF2-40B4-BE49-F238E27FC236}">
                  <a16:creationId xmlns:a16="http://schemas.microsoft.com/office/drawing/2014/main" id="{F0E1C912-5B06-4CF7-B582-66D1332008BB}"/>
                </a:ext>
              </a:extLst>
            </p:cNvPr>
            <p:cNvSpPr/>
            <p:nvPr/>
          </p:nvSpPr>
          <p:spPr bwMode="auto">
            <a:xfrm>
              <a:off x="5135563" y="2441575"/>
              <a:ext cx="50800" cy="152400"/>
            </a:xfrm>
            <a:custGeom>
              <a:avLst/>
              <a:gdLst>
                <a:gd name="T0" fmla="*/ 35 w 35"/>
                <a:gd name="T1" fmla="*/ 99 h 105"/>
                <a:gd name="T2" fmla="*/ 0 w 35"/>
                <a:gd name="T3" fmla="*/ 105 h 105"/>
                <a:gd name="T4" fmla="*/ 2 w 35"/>
                <a:gd name="T5" fmla="*/ 105 h 105"/>
                <a:gd name="T6" fmla="*/ 33 w 35"/>
                <a:gd name="T7" fmla="*/ 100 h 105"/>
                <a:gd name="T8" fmla="*/ 35 w 35"/>
                <a:gd name="T9" fmla="*/ 99 h 105"/>
                <a:gd name="T10" fmla="*/ 35 w 35"/>
                <a:gd name="T11" fmla="*/ 98 h 105"/>
                <a:gd name="T12" fmla="*/ 34 w 35"/>
                <a:gd name="T13" fmla="*/ 99 h 105"/>
                <a:gd name="T14" fmla="*/ 35 w 35"/>
                <a:gd name="T15" fmla="*/ 99 h 105"/>
                <a:gd name="T16" fmla="*/ 35 w 35"/>
                <a:gd name="T17" fmla="*/ 98 h 105"/>
                <a:gd name="T18" fmla="*/ 35 w 35"/>
                <a:gd name="T19" fmla="*/ 98 h 105"/>
                <a:gd name="T20" fmla="*/ 5 w 35"/>
                <a:gd name="T21" fmla="*/ 0 h 105"/>
                <a:gd name="T22" fmla="*/ 4 w 35"/>
                <a:gd name="T23" fmla="*/ 1 h 105"/>
                <a:gd name="T24" fmla="*/ 9 w 35"/>
                <a:gd name="T25" fmla="*/ 3 h 105"/>
                <a:gd name="T26" fmla="*/ 31 w 35"/>
                <a:gd name="T27" fmla="*/ 3 h 105"/>
                <a:gd name="T28" fmla="*/ 28 w 35"/>
                <a:gd name="T29" fmla="*/ 6 h 105"/>
                <a:gd name="T30" fmla="*/ 34 w 35"/>
                <a:gd name="T31" fmla="*/ 4 h 105"/>
                <a:gd name="T32" fmla="*/ 35 w 35"/>
                <a:gd name="T33" fmla="*/ 3 h 105"/>
                <a:gd name="T34" fmla="*/ 12 w 35"/>
                <a:gd name="T35" fmla="*/ 3 h 105"/>
                <a:gd name="T36" fmla="*/ 5 w 35"/>
                <a:gd name="T3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105">
                  <a:moveTo>
                    <a:pt x="35" y="99"/>
                  </a:moveTo>
                  <a:cubicBezTo>
                    <a:pt x="23" y="103"/>
                    <a:pt x="12" y="104"/>
                    <a:pt x="0" y="105"/>
                  </a:cubicBezTo>
                  <a:cubicBezTo>
                    <a:pt x="0" y="105"/>
                    <a:pt x="1" y="105"/>
                    <a:pt x="2" y="105"/>
                  </a:cubicBezTo>
                  <a:cubicBezTo>
                    <a:pt x="12" y="105"/>
                    <a:pt x="23" y="103"/>
                    <a:pt x="33" y="100"/>
                  </a:cubicBezTo>
                  <a:cubicBezTo>
                    <a:pt x="34" y="100"/>
                    <a:pt x="34" y="99"/>
                    <a:pt x="35" y="99"/>
                  </a:cubicBezTo>
                  <a:moveTo>
                    <a:pt x="35" y="98"/>
                  </a:moveTo>
                  <a:cubicBezTo>
                    <a:pt x="34" y="99"/>
                    <a:pt x="34" y="99"/>
                    <a:pt x="34" y="99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35" y="99"/>
                    <a:pt x="35" y="98"/>
                    <a:pt x="35" y="98"/>
                  </a:cubicBezTo>
                  <a:cubicBezTo>
                    <a:pt x="35" y="98"/>
                    <a:pt x="35" y="98"/>
                    <a:pt x="35" y="98"/>
                  </a:cubicBezTo>
                  <a:moveTo>
                    <a:pt x="5" y="0"/>
                  </a:moveTo>
                  <a:cubicBezTo>
                    <a:pt x="4" y="0"/>
                    <a:pt x="4" y="1"/>
                    <a:pt x="4" y="1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0" y="4"/>
                    <a:pt x="29" y="5"/>
                    <a:pt x="28" y="6"/>
                  </a:cubicBezTo>
                  <a:cubicBezTo>
                    <a:pt x="30" y="5"/>
                    <a:pt x="32" y="5"/>
                    <a:pt x="34" y="4"/>
                  </a:cubicBezTo>
                  <a:cubicBezTo>
                    <a:pt x="34" y="4"/>
                    <a:pt x="34" y="3"/>
                    <a:pt x="35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ïŝ1îḑe">
              <a:extLst>
                <a:ext uri="{FF2B5EF4-FFF2-40B4-BE49-F238E27FC236}">
                  <a16:creationId xmlns:a16="http://schemas.microsoft.com/office/drawing/2014/main" id="{C1F18D5A-5473-4C8E-B180-6FC3355552D0}"/>
                </a:ext>
              </a:extLst>
            </p:cNvPr>
            <p:cNvSpPr/>
            <p:nvPr/>
          </p:nvSpPr>
          <p:spPr bwMode="auto">
            <a:xfrm>
              <a:off x="5062538" y="2447925"/>
              <a:ext cx="123825" cy="136525"/>
            </a:xfrm>
            <a:custGeom>
              <a:avLst/>
              <a:gdLst>
                <a:gd name="T0" fmla="*/ 84 w 85"/>
                <a:gd name="T1" fmla="*/ 0 h 95"/>
                <a:gd name="T2" fmla="*/ 78 w 85"/>
                <a:gd name="T3" fmla="*/ 2 h 95"/>
                <a:gd name="T4" fmla="*/ 84 w 85"/>
                <a:gd name="T5" fmla="*/ 95 h 95"/>
                <a:gd name="T6" fmla="*/ 85 w 85"/>
                <a:gd name="T7" fmla="*/ 94 h 95"/>
                <a:gd name="T8" fmla="*/ 84 w 85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95">
                  <a:moveTo>
                    <a:pt x="84" y="0"/>
                  </a:moveTo>
                  <a:cubicBezTo>
                    <a:pt x="82" y="1"/>
                    <a:pt x="80" y="1"/>
                    <a:pt x="78" y="2"/>
                  </a:cubicBezTo>
                  <a:cubicBezTo>
                    <a:pt x="0" y="67"/>
                    <a:pt x="83" y="94"/>
                    <a:pt x="84" y="95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71" y="88"/>
                    <a:pt x="10" y="60"/>
                    <a:pt x="84" y="0"/>
                  </a:cubicBezTo>
                </a:path>
              </a:pathLst>
            </a:custGeom>
            <a:solidFill>
              <a:srgbClr val="AB6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ïşlîďe">
              <a:extLst>
                <a:ext uri="{FF2B5EF4-FFF2-40B4-BE49-F238E27FC236}">
                  <a16:creationId xmlns:a16="http://schemas.microsoft.com/office/drawing/2014/main" id="{42160FA4-D6C8-4A55-885A-DAFA869C0068}"/>
                </a:ext>
              </a:extLst>
            </p:cNvPr>
            <p:cNvSpPr/>
            <p:nvPr/>
          </p:nvSpPr>
          <p:spPr bwMode="auto">
            <a:xfrm>
              <a:off x="5062538" y="2443163"/>
              <a:ext cx="123825" cy="150813"/>
            </a:xfrm>
            <a:custGeom>
              <a:avLst/>
              <a:gdLst>
                <a:gd name="T0" fmla="*/ 54 w 85"/>
                <a:gd name="T1" fmla="*/ 0 h 104"/>
                <a:gd name="T2" fmla="*/ 21 w 85"/>
                <a:gd name="T3" fmla="*/ 91 h 104"/>
                <a:gd name="T4" fmla="*/ 37 w 85"/>
                <a:gd name="T5" fmla="*/ 103 h 104"/>
                <a:gd name="T6" fmla="*/ 50 w 85"/>
                <a:gd name="T7" fmla="*/ 104 h 104"/>
                <a:gd name="T8" fmla="*/ 85 w 85"/>
                <a:gd name="T9" fmla="*/ 98 h 104"/>
                <a:gd name="T10" fmla="*/ 85 w 85"/>
                <a:gd name="T11" fmla="*/ 98 h 104"/>
                <a:gd name="T12" fmla="*/ 85 w 85"/>
                <a:gd name="T13" fmla="*/ 98 h 104"/>
                <a:gd name="T14" fmla="*/ 84 w 85"/>
                <a:gd name="T15" fmla="*/ 98 h 104"/>
                <a:gd name="T16" fmla="*/ 78 w 85"/>
                <a:gd name="T17" fmla="*/ 5 h 104"/>
                <a:gd name="T18" fmla="*/ 81 w 85"/>
                <a:gd name="T19" fmla="*/ 2 h 104"/>
                <a:gd name="T20" fmla="*/ 59 w 85"/>
                <a:gd name="T21" fmla="*/ 2 h 104"/>
                <a:gd name="T22" fmla="*/ 54 w 85"/>
                <a:gd name="T2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04">
                  <a:moveTo>
                    <a:pt x="54" y="0"/>
                  </a:moveTo>
                  <a:cubicBezTo>
                    <a:pt x="41" y="23"/>
                    <a:pt x="22" y="61"/>
                    <a:pt x="21" y="91"/>
                  </a:cubicBezTo>
                  <a:cubicBezTo>
                    <a:pt x="24" y="97"/>
                    <a:pt x="30" y="102"/>
                    <a:pt x="37" y="103"/>
                  </a:cubicBezTo>
                  <a:cubicBezTo>
                    <a:pt x="41" y="103"/>
                    <a:pt x="46" y="103"/>
                    <a:pt x="50" y="104"/>
                  </a:cubicBezTo>
                  <a:cubicBezTo>
                    <a:pt x="62" y="103"/>
                    <a:pt x="73" y="102"/>
                    <a:pt x="85" y="98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85" y="98"/>
                    <a:pt x="85" y="98"/>
                    <a:pt x="84" y="98"/>
                  </a:cubicBezTo>
                  <a:cubicBezTo>
                    <a:pt x="83" y="97"/>
                    <a:pt x="0" y="70"/>
                    <a:pt x="78" y="5"/>
                  </a:cubicBezTo>
                  <a:cubicBezTo>
                    <a:pt x="79" y="4"/>
                    <a:pt x="80" y="3"/>
                    <a:pt x="81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ïṥḻîďé">
              <a:extLst>
                <a:ext uri="{FF2B5EF4-FFF2-40B4-BE49-F238E27FC236}">
                  <a16:creationId xmlns:a16="http://schemas.microsoft.com/office/drawing/2014/main" id="{96250C7F-F155-4BA5-B513-D9E487A9AA74}"/>
                </a:ext>
              </a:extLst>
            </p:cNvPr>
            <p:cNvSpPr/>
            <p:nvPr/>
          </p:nvSpPr>
          <p:spPr bwMode="auto">
            <a:xfrm>
              <a:off x="5059363" y="2441575"/>
              <a:ext cx="127000" cy="153988"/>
            </a:xfrm>
            <a:custGeom>
              <a:avLst/>
              <a:gdLst>
                <a:gd name="T0" fmla="*/ 20 w 88"/>
                <a:gd name="T1" fmla="*/ 92 h 106"/>
                <a:gd name="T2" fmla="*/ 37 w 88"/>
                <a:gd name="T3" fmla="*/ 104 h 106"/>
                <a:gd name="T4" fmla="*/ 88 w 88"/>
                <a:gd name="T5" fmla="*/ 99 h 106"/>
                <a:gd name="T6" fmla="*/ 84 w 88"/>
                <a:gd name="T7" fmla="*/ 3 h 106"/>
                <a:gd name="T8" fmla="*/ 62 w 88"/>
                <a:gd name="T9" fmla="*/ 3 h 106"/>
                <a:gd name="T10" fmla="*/ 54 w 88"/>
                <a:gd name="T11" fmla="*/ 0 h 106"/>
                <a:gd name="T12" fmla="*/ 20 w 88"/>
                <a:gd name="T13" fmla="*/ 9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06">
                  <a:moveTo>
                    <a:pt x="20" y="92"/>
                  </a:moveTo>
                  <a:cubicBezTo>
                    <a:pt x="24" y="98"/>
                    <a:pt x="30" y="103"/>
                    <a:pt x="37" y="104"/>
                  </a:cubicBezTo>
                  <a:cubicBezTo>
                    <a:pt x="54" y="106"/>
                    <a:pt x="71" y="104"/>
                    <a:pt x="88" y="99"/>
                  </a:cubicBezTo>
                  <a:cubicBezTo>
                    <a:pt x="88" y="99"/>
                    <a:pt x="0" y="71"/>
                    <a:pt x="84" y="3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42" y="22"/>
                    <a:pt x="22" y="61"/>
                    <a:pt x="20" y="92"/>
                  </a:cubicBezTo>
                  <a:close/>
                </a:path>
              </a:pathLst>
            </a:custGeom>
            <a:solidFill>
              <a:srgbClr val="676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ïṡ1íde">
              <a:extLst>
                <a:ext uri="{FF2B5EF4-FFF2-40B4-BE49-F238E27FC236}">
                  <a16:creationId xmlns:a16="http://schemas.microsoft.com/office/drawing/2014/main" id="{5886182A-B8FA-4750-81D4-1E02E2793D4E}"/>
                </a:ext>
              </a:extLst>
            </p:cNvPr>
            <p:cNvSpPr/>
            <p:nvPr/>
          </p:nvSpPr>
          <p:spPr bwMode="auto">
            <a:xfrm>
              <a:off x="5259388" y="2116138"/>
              <a:ext cx="1588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íş1iḑé">
              <a:extLst>
                <a:ext uri="{FF2B5EF4-FFF2-40B4-BE49-F238E27FC236}">
                  <a16:creationId xmlns:a16="http://schemas.microsoft.com/office/drawing/2014/main" id="{83E90973-B1F1-4F43-8207-FC41A417FE95}"/>
                </a:ext>
              </a:extLst>
            </p:cNvPr>
            <p:cNvSpPr/>
            <p:nvPr/>
          </p:nvSpPr>
          <p:spPr bwMode="auto">
            <a:xfrm>
              <a:off x="5259388" y="2093913"/>
              <a:ext cx="123825" cy="34925"/>
            </a:xfrm>
            <a:custGeom>
              <a:avLst/>
              <a:gdLst>
                <a:gd name="T0" fmla="*/ 86 w 86"/>
                <a:gd name="T1" fmla="*/ 0 h 24"/>
                <a:gd name="T2" fmla="*/ 48 w 86"/>
                <a:gd name="T3" fmla="*/ 19 h 24"/>
                <a:gd name="T4" fmla="*/ 33 w 86"/>
                <a:gd name="T5" fmla="*/ 21 h 24"/>
                <a:gd name="T6" fmla="*/ 2 w 86"/>
                <a:gd name="T7" fmla="*/ 15 h 24"/>
                <a:gd name="T8" fmla="*/ 0 w 86"/>
                <a:gd name="T9" fmla="*/ 17 h 24"/>
                <a:gd name="T10" fmla="*/ 33 w 86"/>
                <a:gd name="T11" fmla="*/ 24 h 24"/>
                <a:gd name="T12" fmla="*/ 77 w 86"/>
                <a:gd name="T13" fmla="*/ 11 h 24"/>
                <a:gd name="T14" fmla="*/ 79 w 86"/>
                <a:gd name="T15" fmla="*/ 8 h 24"/>
                <a:gd name="T16" fmla="*/ 86 w 86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24">
                  <a:moveTo>
                    <a:pt x="86" y="0"/>
                  </a:moveTo>
                  <a:cubicBezTo>
                    <a:pt x="75" y="10"/>
                    <a:pt x="62" y="17"/>
                    <a:pt x="48" y="19"/>
                  </a:cubicBezTo>
                  <a:cubicBezTo>
                    <a:pt x="43" y="20"/>
                    <a:pt x="38" y="21"/>
                    <a:pt x="33" y="21"/>
                  </a:cubicBezTo>
                  <a:cubicBezTo>
                    <a:pt x="22" y="21"/>
                    <a:pt x="11" y="19"/>
                    <a:pt x="2" y="15"/>
                  </a:cubicBezTo>
                  <a:cubicBezTo>
                    <a:pt x="1" y="16"/>
                    <a:pt x="1" y="16"/>
                    <a:pt x="0" y="17"/>
                  </a:cubicBezTo>
                  <a:cubicBezTo>
                    <a:pt x="10" y="22"/>
                    <a:pt x="21" y="24"/>
                    <a:pt x="33" y="24"/>
                  </a:cubicBezTo>
                  <a:cubicBezTo>
                    <a:pt x="48" y="24"/>
                    <a:pt x="63" y="20"/>
                    <a:pt x="77" y="11"/>
                  </a:cubicBezTo>
                  <a:cubicBezTo>
                    <a:pt x="77" y="10"/>
                    <a:pt x="78" y="9"/>
                    <a:pt x="79" y="8"/>
                  </a:cubicBezTo>
                  <a:cubicBezTo>
                    <a:pt x="82" y="6"/>
                    <a:pt x="84" y="3"/>
                    <a:pt x="86" y="0"/>
                  </a:cubicBezTo>
                </a:path>
              </a:pathLst>
            </a:custGeom>
            <a:solidFill>
              <a:srgbClr val="AB6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îṧ1íḍe">
              <a:extLst>
                <a:ext uri="{FF2B5EF4-FFF2-40B4-BE49-F238E27FC236}">
                  <a16:creationId xmlns:a16="http://schemas.microsoft.com/office/drawing/2014/main" id="{B21844A1-C4D6-44A4-93FB-E1FBB9105F2B}"/>
                </a:ext>
              </a:extLst>
            </p:cNvPr>
            <p:cNvSpPr/>
            <p:nvPr/>
          </p:nvSpPr>
          <p:spPr bwMode="auto">
            <a:xfrm>
              <a:off x="5373688" y="2092325"/>
              <a:ext cx="12700" cy="12700"/>
            </a:xfrm>
            <a:custGeom>
              <a:avLst/>
              <a:gdLst>
                <a:gd name="T0" fmla="*/ 9 w 9"/>
                <a:gd name="T1" fmla="*/ 0 h 9"/>
                <a:gd name="T2" fmla="*/ 7 w 9"/>
                <a:gd name="T3" fmla="*/ 1 h 9"/>
                <a:gd name="T4" fmla="*/ 0 w 9"/>
                <a:gd name="T5" fmla="*/ 9 h 9"/>
                <a:gd name="T6" fmla="*/ 9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9" y="0"/>
                  </a:moveTo>
                  <a:cubicBezTo>
                    <a:pt x="8" y="0"/>
                    <a:pt x="7" y="1"/>
                    <a:pt x="7" y="1"/>
                  </a:cubicBezTo>
                  <a:cubicBezTo>
                    <a:pt x="5" y="4"/>
                    <a:pt x="3" y="7"/>
                    <a:pt x="0" y="9"/>
                  </a:cubicBezTo>
                  <a:cubicBezTo>
                    <a:pt x="3" y="6"/>
                    <a:pt x="6" y="3"/>
                    <a:pt x="9" y="0"/>
                  </a:cubicBezTo>
                </a:path>
              </a:pathLst>
            </a:custGeom>
            <a:solidFill>
              <a:srgbClr val="9A5A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ŝ1ïḋê">
              <a:extLst>
                <a:ext uri="{FF2B5EF4-FFF2-40B4-BE49-F238E27FC236}">
                  <a16:creationId xmlns:a16="http://schemas.microsoft.com/office/drawing/2014/main" id="{4D03E31B-8DE8-41D4-8FD4-34AE97701C12}"/>
                </a:ext>
              </a:extLst>
            </p:cNvPr>
            <p:cNvSpPr/>
            <p:nvPr/>
          </p:nvSpPr>
          <p:spPr bwMode="auto">
            <a:xfrm>
              <a:off x="5370513" y="2090738"/>
              <a:ext cx="19050" cy="19050"/>
            </a:xfrm>
            <a:custGeom>
              <a:avLst/>
              <a:gdLst>
                <a:gd name="T0" fmla="*/ 12 w 13"/>
                <a:gd name="T1" fmla="*/ 0 h 13"/>
                <a:gd name="T2" fmla="*/ 11 w 13"/>
                <a:gd name="T3" fmla="*/ 1 h 13"/>
                <a:gd name="T4" fmla="*/ 2 w 13"/>
                <a:gd name="T5" fmla="*/ 10 h 13"/>
                <a:gd name="T6" fmla="*/ 0 w 13"/>
                <a:gd name="T7" fmla="*/ 13 h 13"/>
                <a:gd name="T8" fmla="*/ 13 w 13"/>
                <a:gd name="T9" fmla="*/ 2 h 13"/>
                <a:gd name="T10" fmla="*/ 12 w 13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2" y="0"/>
                  </a:moveTo>
                  <a:cubicBezTo>
                    <a:pt x="12" y="0"/>
                    <a:pt x="11" y="0"/>
                    <a:pt x="11" y="1"/>
                  </a:cubicBezTo>
                  <a:cubicBezTo>
                    <a:pt x="8" y="4"/>
                    <a:pt x="5" y="7"/>
                    <a:pt x="2" y="10"/>
                  </a:cubicBezTo>
                  <a:cubicBezTo>
                    <a:pt x="1" y="11"/>
                    <a:pt x="0" y="12"/>
                    <a:pt x="0" y="13"/>
                  </a:cubicBezTo>
                  <a:cubicBezTo>
                    <a:pt x="4" y="10"/>
                    <a:pt x="9" y="6"/>
                    <a:pt x="13" y="2"/>
                  </a:cubicBezTo>
                  <a:cubicBezTo>
                    <a:pt x="12" y="1"/>
                    <a:pt x="12" y="0"/>
                    <a:pt x="12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îṣḷîďé">
              <a:extLst>
                <a:ext uri="{FF2B5EF4-FFF2-40B4-BE49-F238E27FC236}">
                  <a16:creationId xmlns:a16="http://schemas.microsoft.com/office/drawing/2014/main" id="{F533F150-5C16-4814-A737-E90A6A16E079}"/>
                </a:ext>
              </a:extLst>
            </p:cNvPr>
            <p:cNvSpPr/>
            <p:nvPr/>
          </p:nvSpPr>
          <p:spPr bwMode="auto">
            <a:xfrm>
              <a:off x="5191126" y="1889125"/>
              <a:ext cx="230188" cy="246063"/>
            </a:xfrm>
            <a:custGeom>
              <a:avLst/>
              <a:gdLst>
                <a:gd name="T0" fmla="*/ 0 w 159"/>
                <a:gd name="T1" fmla="*/ 82 h 169"/>
                <a:gd name="T2" fmla="*/ 0 w 159"/>
                <a:gd name="T3" fmla="*/ 83 h 169"/>
                <a:gd name="T4" fmla="*/ 1 w 159"/>
                <a:gd name="T5" fmla="*/ 91 h 169"/>
                <a:gd name="T6" fmla="*/ 2 w 159"/>
                <a:gd name="T7" fmla="*/ 98 h 169"/>
                <a:gd name="T8" fmla="*/ 95 w 159"/>
                <a:gd name="T9" fmla="*/ 160 h 169"/>
                <a:gd name="T10" fmla="*/ 155 w 159"/>
                <a:gd name="T11" fmla="*/ 108 h 169"/>
                <a:gd name="T12" fmla="*/ 156 w 159"/>
                <a:gd name="T13" fmla="*/ 104 h 169"/>
                <a:gd name="T14" fmla="*/ 159 w 159"/>
                <a:gd name="T15" fmla="*/ 82 h 169"/>
                <a:gd name="T16" fmla="*/ 159 w 159"/>
                <a:gd name="T17" fmla="*/ 77 h 169"/>
                <a:gd name="T18" fmla="*/ 74 w 159"/>
                <a:gd name="T19" fmla="*/ 3 h 169"/>
                <a:gd name="T20" fmla="*/ 0 w 159"/>
                <a:gd name="T21" fmla="*/ 82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9" h="169">
                  <a:moveTo>
                    <a:pt x="0" y="8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86"/>
                    <a:pt x="0" y="88"/>
                    <a:pt x="1" y="91"/>
                  </a:cubicBezTo>
                  <a:cubicBezTo>
                    <a:pt x="1" y="93"/>
                    <a:pt x="1" y="96"/>
                    <a:pt x="2" y="98"/>
                  </a:cubicBezTo>
                  <a:cubicBezTo>
                    <a:pt x="10" y="141"/>
                    <a:pt x="52" y="169"/>
                    <a:pt x="95" y="160"/>
                  </a:cubicBezTo>
                  <a:cubicBezTo>
                    <a:pt x="123" y="155"/>
                    <a:pt x="146" y="135"/>
                    <a:pt x="155" y="108"/>
                  </a:cubicBezTo>
                  <a:cubicBezTo>
                    <a:pt x="155" y="107"/>
                    <a:pt x="156" y="105"/>
                    <a:pt x="156" y="104"/>
                  </a:cubicBezTo>
                  <a:cubicBezTo>
                    <a:pt x="158" y="97"/>
                    <a:pt x="159" y="90"/>
                    <a:pt x="159" y="82"/>
                  </a:cubicBezTo>
                  <a:cubicBezTo>
                    <a:pt x="159" y="81"/>
                    <a:pt x="159" y="79"/>
                    <a:pt x="159" y="77"/>
                  </a:cubicBezTo>
                  <a:cubicBezTo>
                    <a:pt x="156" y="33"/>
                    <a:pt x="118" y="0"/>
                    <a:pt x="74" y="3"/>
                  </a:cubicBezTo>
                  <a:cubicBezTo>
                    <a:pt x="33" y="6"/>
                    <a:pt x="0" y="41"/>
                    <a:pt x="0" y="82"/>
                  </a:cubicBezTo>
                </a:path>
              </a:pathLst>
            </a:custGeom>
            <a:solidFill>
              <a:srgbClr val="BE6F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îṣľïdè">
              <a:extLst>
                <a:ext uri="{FF2B5EF4-FFF2-40B4-BE49-F238E27FC236}">
                  <a16:creationId xmlns:a16="http://schemas.microsoft.com/office/drawing/2014/main" id="{01415485-ECFB-4955-8416-41EC6E3D8314}"/>
                </a:ext>
              </a:extLst>
            </p:cNvPr>
            <p:cNvSpPr/>
            <p:nvPr/>
          </p:nvSpPr>
          <p:spPr bwMode="auto">
            <a:xfrm>
              <a:off x="5192713" y="2000250"/>
              <a:ext cx="228600" cy="31750"/>
            </a:xfrm>
            <a:custGeom>
              <a:avLst/>
              <a:gdLst>
                <a:gd name="T0" fmla="*/ 0 w 158"/>
                <a:gd name="T1" fmla="*/ 16 h 22"/>
                <a:gd name="T2" fmla="*/ 0 w 158"/>
                <a:gd name="T3" fmla="*/ 19 h 22"/>
                <a:gd name="T4" fmla="*/ 1 w 158"/>
                <a:gd name="T5" fmla="*/ 22 h 22"/>
                <a:gd name="T6" fmla="*/ 0 w 158"/>
                <a:gd name="T7" fmla="*/ 19 h 22"/>
                <a:gd name="T8" fmla="*/ 0 w 158"/>
                <a:gd name="T9" fmla="*/ 17 h 22"/>
                <a:gd name="T10" fmla="*/ 0 w 158"/>
                <a:gd name="T11" fmla="*/ 16 h 22"/>
                <a:gd name="T12" fmla="*/ 158 w 158"/>
                <a:gd name="T13" fmla="*/ 0 h 22"/>
                <a:gd name="T14" fmla="*/ 158 w 158"/>
                <a:gd name="T15" fmla="*/ 0 h 22"/>
                <a:gd name="T16" fmla="*/ 158 w 158"/>
                <a:gd name="T17" fmla="*/ 1 h 22"/>
                <a:gd name="T18" fmla="*/ 158 w 158"/>
                <a:gd name="T19" fmla="*/ 1 h 22"/>
                <a:gd name="T20" fmla="*/ 158 w 158"/>
                <a:gd name="T21" fmla="*/ 1 h 22"/>
                <a:gd name="T22" fmla="*/ 158 w 158"/>
                <a:gd name="T2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8" h="22">
                  <a:moveTo>
                    <a:pt x="0" y="16"/>
                  </a:moveTo>
                  <a:cubicBezTo>
                    <a:pt x="0" y="17"/>
                    <a:pt x="0" y="18"/>
                    <a:pt x="0" y="19"/>
                  </a:cubicBezTo>
                  <a:cubicBezTo>
                    <a:pt x="0" y="20"/>
                    <a:pt x="0" y="21"/>
                    <a:pt x="1" y="22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18"/>
                    <a:pt x="0" y="18"/>
                    <a:pt x="0" y="17"/>
                  </a:cubicBezTo>
                  <a:cubicBezTo>
                    <a:pt x="0" y="17"/>
                    <a:pt x="0" y="16"/>
                    <a:pt x="0" y="16"/>
                  </a:cubicBezTo>
                  <a:moveTo>
                    <a:pt x="158" y="0"/>
                  </a:moveTo>
                  <a:cubicBezTo>
                    <a:pt x="158" y="0"/>
                    <a:pt x="158" y="0"/>
                    <a:pt x="158" y="0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0"/>
                    <a:pt x="158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íṡļiḋé">
              <a:extLst>
                <a:ext uri="{FF2B5EF4-FFF2-40B4-BE49-F238E27FC236}">
                  <a16:creationId xmlns:a16="http://schemas.microsoft.com/office/drawing/2014/main" id="{562687C7-C9FA-4B06-8ABC-18B803D478B4}"/>
                </a:ext>
              </a:extLst>
            </p:cNvPr>
            <p:cNvSpPr/>
            <p:nvPr/>
          </p:nvSpPr>
          <p:spPr bwMode="auto">
            <a:xfrm>
              <a:off x="5414963" y="2038350"/>
              <a:ext cx="1588" cy="7938"/>
            </a:xfrm>
            <a:custGeom>
              <a:avLst/>
              <a:gdLst>
                <a:gd name="T0" fmla="*/ 1 w 1"/>
                <a:gd name="T1" fmla="*/ 0 h 5"/>
                <a:gd name="T2" fmla="*/ 1 w 1"/>
                <a:gd name="T3" fmla="*/ 1 h 5"/>
                <a:gd name="T4" fmla="*/ 1 w 1"/>
                <a:gd name="T5" fmla="*/ 1 h 5"/>
                <a:gd name="T6" fmla="*/ 1 w 1"/>
                <a:gd name="T7" fmla="*/ 4 h 5"/>
                <a:gd name="T8" fmla="*/ 0 w 1"/>
                <a:gd name="T9" fmla="*/ 4 h 5"/>
                <a:gd name="T10" fmla="*/ 0 w 1"/>
                <a:gd name="T11" fmla="*/ 5 h 5"/>
                <a:gd name="T12" fmla="*/ 0 w 1"/>
                <a:gd name="T13" fmla="*/ 5 h 5"/>
                <a:gd name="T14" fmla="*/ 1 w 1"/>
                <a:gd name="T15" fmla="*/ 5 h 5"/>
                <a:gd name="T16" fmla="*/ 1 w 1"/>
                <a:gd name="T17" fmla="*/ 1 h 5"/>
                <a:gd name="T18" fmla="*/ 1 w 1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5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ïṥľîďe">
              <a:extLst>
                <a:ext uri="{FF2B5EF4-FFF2-40B4-BE49-F238E27FC236}">
                  <a16:creationId xmlns:a16="http://schemas.microsoft.com/office/drawing/2014/main" id="{4D34AF44-13BA-407F-8594-B560608FFBF3}"/>
                </a:ext>
              </a:extLst>
            </p:cNvPr>
            <p:cNvSpPr/>
            <p:nvPr/>
          </p:nvSpPr>
          <p:spPr bwMode="auto">
            <a:xfrm>
              <a:off x="5191126" y="1971675"/>
              <a:ext cx="230188" cy="74613"/>
            </a:xfrm>
            <a:custGeom>
              <a:avLst/>
              <a:gdLst>
                <a:gd name="T0" fmla="*/ 0 w 159"/>
                <a:gd name="T1" fmla="*/ 25 h 51"/>
                <a:gd name="T2" fmla="*/ 0 w 159"/>
                <a:gd name="T3" fmla="*/ 25 h 51"/>
                <a:gd name="T4" fmla="*/ 0 w 159"/>
                <a:gd name="T5" fmla="*/ 26 h 51"/>
                <a:gd name="T6" fmla="*/ 1 w 159"/>
                <a:gd name="T7" fmla="*/ 30 h 51"/>
                <a:gd name="T8" fmla="*/ 0 w 159"/>
                <a:gd name="T9" fmla="*/ 25 h 51"/>
                <a:gd name="T10" fmla="*/ 159 w 159"/>
                <a:gd name="T11" fmla="*/ 19 h 51"/>
                <a:gd name="T12" fmla="*/ 156 w 159"/>
                <a:gd name="T13" fmla="*/ 47 h 51"/>
                <a:gd name="T14" fmla="*/ 156 w 159"/>
                <a:gd name="T15" fmla="*/ 47 h 51"/>
                <a:gd name="T16" fmla="*/ 156 w 159"/>
                <a:gd name="T17" fmla="*/ 46 h 51"/>
                <a:gd name="T18" fmla="*/ 159 w 159"/>
                <a:gd name="T19" fmla="*/ 20 h 51"/>
                <a:gd name="T20" fmla="*/ 159 w 159"/>
                <a:gd name="T21" fmla="*/ 20 h 51"/>
                <a:gd name="T22" fmla="*/ 159 w 159"/>
                <a:gd name="T23" fmla="*/ 19 h 51"/>
                <a:gd name="T24" fmla="*/ 114 w 159"/>
                <a:gd name="T25" fmla="*/ 0 h 51"/>
                <a:gd name="T26" fmla="*/ 112 w 159"/>
                <a:gd name="T27" fmla="*/ 1 h 51"/>
                <a:gd name="T28" fmla="*/ 102 w 159"/>
                <a:gd name="T29" fmla="*/ 11 h 51"/>
                <a:gd name="T30" fmla="*/ 90 w 159"/>
                <a:gd name="T31" fmla="*/ 15 h 51"/>
                <a:gd name="T32" fmla="*/ 82 w 159"/>
                <a:gd name="T33" fmla="*/ 14 h 51"/>
                <a:gd name="T34" fmla="*/ 62 w 159"/>
                <a:gd name="T35" fmla="*/ 9 h 51"/>
                <a:gd name="T36" fmla="*/ 62 w 159"/>
                <a:gd name="T37" fmla="*/ 9 h 51"/>
                <a:gd name="T38" fmla="*/ 29 w 159"/>
                <a:gd name="T39" fmla="*/ 39 h 51"/>
                <a:gd name="T40" fmla="*/ 22 w 159"/>
                <a:gd name="T41" fmla="*/ 47 h 51"/>
                <a:gd name="T42" fmla="*/ 16 w 159"/>
                <a:gd name="T43" fmla="*/ 49 h 51"/>
                <a:gd name="T44" fmla="*/ 1 w 159"/>
                <a:gd name="T45" fmla="*/ 38 h 51"/>
                <a:gd name="T46" fmla="*/ 1 w 159"/>
                <a:gd name="T47" fmla="*/ 38 h 51"/>
                <a:gd name="T48" fmla="*/ 2 w 159"/>
                <a:gd name="T49" fmla="*/ 41 h 51"/>
                <a:gd name="T50" fmla="*/ 2 w 159"/>
                <a:gd name="T51" fmla="*/ 41 h 51"/>
                <a:gd name="T52" fmla="*/ 16 w 159"/>
                <a:gd name="T53" fmla="*/ 50 h 51"/>
                <a:gd name="T54" fmla="*/ 22 w 159"/>
                <a:gd name="T55" fmla="*/ 48 h 51"/>
                <a:gd name="T56" fmla="*/ 29 w 159"/>
                <a:gd name="T57" fmla="*/ 40 h 51"/>
                <a:gd name="T58" fmla="*/ 62 w 159"/>
                <a:gd name="T59" fmla="*/ 11 h 51"/>
                <a:gd name="T60" fmla="*/ 82 w 159"/>
                <a:gd name="T61" fmla="*/ 15 h 51"/>
                <a:gd name="T62" fmla="*/ 90 w 159"/>
                <a:gd name="T63" fmla="*/ 16 h 51"/>
                <a:gd name="T64" fmla="*/ 102 w 159"/>
                <a:gd name="T65" fmla="*/ 13 h 51"/>
                <a:gd name="T66" fmla="*/ 112 w 159"/>
                <a:gd name="T67" fmla="*/ 2 h 51"/>
                <a:gd name="T68" fmla="*/ 114 w 159"/>
                <a:gd name="T69" fmla="*/ 2 h 51"/>
                <a:gd name="T70" fmla="*/ 124 w 159"/>
                <a:gd name="T71" fmla="*/ 10 h 51"/>
                <a:gd name="T72" fmla="*/ 133 w 159"/>
                <a:gd name="T73" fmla="*/ 22 h 51"/>
                <a:gd name="T74" fmla="*/ 140 w 159"/>
                <a:gd name="T75" fmla="*/ 25 h 51"/>
                <a:gd name="T76" fmla="*/ 155 w 159"/>
                <a:gd name="T77" fmla="*/ 51 h 51"/>
                <a:gd name="T78" fmla="*/ 155 w 159"/>
                <a:gd name="T79" fmla="*/ 50 h 51"/>
                <a:gd name="T80" fmla="*/ 148 w 159"/>
                <a:gd name="T81" fmla="*/ 42 h 51"/>
                <a:gd name="T82" fmla="*/ 145 w 159"/>
                <a:gd name="T83" fmla="*/ 31 h 51"/>
                <a:gd name="T84" fmla="*/ 140 w 159"/>
                <a:gd name="T85" fmla="*/ 23 h 51"/>
                <a:gd name="T86" fmla="*/ 133 w 159"/>
                <a:gd name="T87" fmla="*/ 21 h 51"/>
                <a:gd name="T88" fmla="*/ 124 w 159"/>
                <a:gd name="T89" fmla="*/ 9 h 51"/>
                <a:gd name="T90" fmla="*/ 114 w 159"/>
                <a:gd name="T9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9" h="51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1" y="30"/>
                  </a:cubicBezTo>
                  <a:cubicBezTo>
                    <a:pt x="1" y="28"/>
                    <a:pt x="1" y="26"/>
                    <a:pt x="0" y="25"/>
                  </a:cubicBezTo>
                  <a:moveTo>
                    <a:pt x="159" y="19"/>
                  </a:moveTo>
                  <a:cubicBezTo>
                    <a:pt x="156" y="47"/>
                    <a:pt x="156" y="47"/>
                    <a:pt x="156" y="47"/>
                  </a:cubicBezTo>
                  <a:cubicBezTo>
                    <a:pt x="156" y="47"/>
                    <a:pt x="156" y="47"/>
                    <a:pt x="156" y="47"/>
                  </a:cubicBezTo>
                  <a:cubicBezTo>
                    <a:pt x="156" y="47"/>
                    <a:pt x="156" y="47"/>
                    <a:pt x="156" y="46"/>
                  </a:cubicBezTo>
                  <a:cubicBezTo>
                    <a:pt x="157" y="38"/>
                    <a:pt x="158" y="29"/>
                    <a:pt x="159" y="20"/>
                  </a:cubicBezTo>
                  <a:cubicBezTo>
                    <a:pt x="159" y="20"/>
                    <a:pt x="159" y="20"/>
                    <a:pt x="159" y="20"/>
                  </a:cubicBezTo>
                  <a:cubicBezTo>
                    <a:pt x="159" y="20"/>
                    <a:pt x="159" y="20"/>
                    <a:pt x="159" y="19"/>
                  </a:cubicBezTo>
                  <a:moveTo>
                    <a:pt x="114" y="0"/>
                  </a:moveTo>
                  <a:cubicBezTo>
                    <a:pt x="113" y="0"/>
                    <a:pt x="113" y="0"/>
                    <a:pt x="112" y="1"/>
                  </a:cubicBezTo>
                  <a:cubicBezTo>
                    <a:pt x="107" y="2"/>
                    <a:pt x="105" y="8"/>
                    <a:pt x="102" y="11"/>
                  </a:cubicBezTo>
                  <a:cubicBezTo>
                    <a:pt x="99" y="14"/>
                    <a:pt x="95" y="15"/>
                    <a:pt x="90" y="15"/>
                  </a:cubicBezTo>
                  <a:cubicBezTo>
                    <a:pt x="88" y="15"/>
                    <a:pt x="85" y="14"/>
                    <a:pt x="82" y="14"/>
                  </a:cubicBezTo>
                  <a:cubicBezTo>
                    <a:pt x="76" y="12"/>
                    <a:pt x="69" y="9"/>
                    <a:pt x="62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46" y="10"/>
                    <a:pt x="36" y="25"/>
                    <a:pt x="29" y="39"/>
                  </a:cubicBezTo>
                  <a:cubicBezTo>
                    <a:pt x="27" y="42"/>
                    <a:pt x="25" y="45"/>
                    <a:pt x="22" y="47"/>
                  </a:cubicBezTo>
                  <a:cubicBezTo>
                    <a:pt x="20" y="48"/>
                    <a:pt x="18" y="49"/>
                    <a:pt x="16" y="49"/>
                  </a:cubicBezTo>
                  <a:cubicBezTo>
                    <a:pt x="10" y="49"/>
                    <a:pt x="3" y="44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9"/>
                    <a:pt x="1" y="40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4" y="46"/>
                    <a:pt x="10" y="50"/>
                    <a:pt x="16" y="50"/>
                  </a:cubicBezTo>
                  <a:cubicBezTo>
                    <a:pt x="18" y="50"/>
                    <a:pt x="20" y="50"/>
                    <a:pt x="22" y="48"/>
                  </a:cubicBezTo>
                  <a:cubicBezTo>
                    <a:pt x="25" y="46"/>
                    <a:pt x="27" y="44"/>
                    <a:pt x="29" y="40"/>
                  </a:cubicBezTo>
                  <a:cubicBezTo>
                    <a:pt x="36" y="27"/>
                    <a:pt x="46" y="11"/>
                    <a:pt x="62" y="11"/>
                  </a:cubicBezTo>
                  <a:cubicBezTo>
                    <a:pt x="69" y="11"/>
                    <a:pt x="75" y="14"/>
                    <a:pt x="82" y="15"/>
                  </a:cubicBezTo>
                  <a:cubicBezTo>
                    <a:pt x="85" y="16"/>
                    <a:pt x="88" y="16"/>
                    <a:pt x="90" y="16"/>
                  </a:cubicBezTo>
                  <a:cubicBezTo>
                    <a:pt x="95" y="16"/>
                    <a:pt x="99" y="15"/>
                    <a:pt x="102" y="13"/>
                  </a:cubicBezTo>
                  <a:cubicBezTo>
                    <a:pt x="105" y="9"/>
                    <a:pt x="107" y="3"/>
                    <a:pt x="112" y="2"/>
                  </a:cubicBezTo>
                  <a:cubicBezTo>
                    <a:pt x="113" y="2"/>
                    <a:pt x="113" y="2"/>
                    <a:pt x="114" y="2"/>
                  </a:cubicBezTo>
                  <a:cubicBezTo>
                    <a:pt x="118" y="2"/>
                    <a:pt x="122" y="6"/>
                    <a:pt x="124" y="10"/>
                  </a:cubicBezTo>
                  <a:cubicBezTo>
                    <a:pt x="126" y="15"/>
                    <a:pt x="128" y="20"/>
                    <a:pt x="133" y="22"/>
                  </a:cubicBezTo>
                  <a:cubicBezTo>
                    <a:pt x="135" y="23"/>
                    <a:pt x="138" y="24"/>
                    <a:pt x="140" y="25"/>
                  </a:cubicBezTo>
                  <a:cubicBezTo>
                    <a:pt x="149" y="30"/>
                    <a:pt x="145" y="48"/>
                    <a:pt x="155" y="51"/>
                  </a:cubicBezTo>
                  <a:cubicBezTo>
                    <a:pt x="155" y="51"/>
                    <a:pt x="155" y="50"/>
                    <a:pt x="155" y="50"/>
                  </a:cubicBezTo>
                  <a:cubicBezTo>
                    <a:pt x="152" y="49"/>
                    <a:pt x="150" y="46"/>
                    <a:pt x="148" y="42"/>
                  </a:cubicBezTo>
                  <a:cubicBezTo>
                    <a:pt x="147" y="39"/>
                    <a:pt x="147" y="35"/>
                    <a:pt x="145" y="31"/>
                  </a:cubicBezTo>
                  <a:cubicBezTo>
                    <a:pt x="144" y="28"/>
                    <a:pt x="143" y="25"/>
                    <a:pt x="140" y="23"/>
                  </a:cubicBezTo>
                  <a:cubicBezTo>
                    <a:pt x="138" y="22"/>
                    <a:pt x="135" y="22"/>
                    <a:pt x="133" y="21"/>
                  </a:cubicBezTo>
                  <a:cubicBezTo>
                    <a:pt x="128" y="18"/>
                    <a:pt x="127" y="13"/>
                    <a:pt x="124" y="9"/>
                  </a:cubicBezTo>
                  <a:cubicBezTo>
                    <a:pt x="122" y="4"/>
                    <a:pt x="118" y="0"/>
                    <a:pt x="114" y="0"/>
                  </a:cubicBezTo>
                </a:path>
              </a:pathLst>
            </a:custGeom>
            <a:solidFill>
              <a:srgbClr val="AB6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ïṥ1ïďe">
              <a:extLst>
                <a:ext uri="{FF2B5EF4-FFF2-40B4-BE49-F238E27FC236}">
                  <a16:creationId xmlns:a16="http://schemas.microsoft.com/office/drawing/2014/main" id="{4BF9CCBE-E81F-4995-8AF2-A89C6147AE5A}"/>
                </a:ext>
              </a:extLst>
            </p:cNvPr>
            <p:cNvSpPr/>
            <p:nvPr/>
          </p:nvSpPr>
          <p:spPr bwMode="auto">
            <a:xfrm>
              <a:off x="5140326" y="1798638"/>
              <a:ext cx="303213" cy="249238"/>
            </a:xfrm>
            <a:custGeom>
              <a:avLst/>
              <a:gdLst>
                <a:gd name="T0" fmla="*/ 176 w 209"/>
                <a:gd name="T1" fmla="*/ 27 h 172"/>
                <a:gd name="T2" fmla="*/ 197 w 209"/>
                <a:gd name="T3" fmla="*/ 47 h 172"/>
                <a:gd name="T4" fmla="*/ 198 w 209"/>
                <a:gd name="T5" fmla="*/ 59 h 172"/>
                <a:gd name="T6" fmla="*/ 205 w 209"/>
                <a:gd name="T7" fmla="*/ 84 h 172"/>
                <a:gd name="T8" fmla="*/ 203 w 209"/>
                <a:gd name="T9" fmla="*/ 109 h 172"/>
                <a:gd name="T10" fmla="*/ 198 w 209"/>
                <a:gd name="T11" fmla="*/ 115 h 172"/>
                <a:gd name="T12" fmla="*/ 195 w 209"/>
                <a:gd name="T13" fmla="*/ 127 h 172"/>
                <a:gd name="T14" fmla="*/ 191 w 209"/>
                <a:gd name="T15" fmla="*/ 170 h 172"/>
                <a:gd name="T16" fmla="*/ 175 w 209"/>
                <a:gd name="T17" fmla="*/ 143 h 172"/>
                <a:gd name="T18" fmla="*/ 168 w 209"/>
                <a:gd name="T19" fmla="*/ 141 h 172"/>
                <a:gd name="T20" fmla="*/ 159 w 209"/>
                <a:gd name="T21" fmla="*/ 128 h 172"/>
                <a:gd name="T22" fmla="*/ 147 w 209"/>
                <a:gd name="T23" fmla="*/ 120 h 172"/>
                <a:gd name="T24" fmla="*/ 137 w 209"/>
                <a:gd name="T25" fmla="*/ 131 h 172"/>
                <a:gd name="T26" fmla="*/ 117 w 209"/>
                <a:gd name="T27" fmla="*/ 134 h 172"/>
                <a:gd name="T28" fmla="*/ 97 w 209"/>
                <a:gd name="T29" fmla="*/ 129 h 172"/>
                <a:gd name="T30" fmla="*/ 63 w 209"/>
                <a:gd name="T31" fmla="*/ 159 h 172"/>
                <a:gd name="T32" fmla="*/ 57 w 209"/>
                <a:gd name="T33" fmla="*/ 167 h 172"/>
                <a:gd name="T34" fmla="*/ 36 w 209"/>
                <a:gd name="T35" fmla="*/ 156 h 172"/>
                <a:gd name="T36" fmla="*/ 34 w 209"/>
                <a:gd name="T37" fmla="*/ 141 h 172"/>
                <a:gd name="T38" fmla="*/ 19 w 209"/>
                <a:gd name="T39" fmla="*/ 133 h 172"/>
                <a:gd name="T40" fmla="*/ 5 w 209"/>
                <a:gd name="T41" fmla="*/ 98 h 172"/>
                <a:gd name="T42" fmla="*/ 7 w 209"/>
                <a:gd name="T43" fmla="*/ 69 h 172"/>
                <a:gd name="T44" fmla="*/ 3 w 209"/>
                <a:gd name="T45" fmla="*/ 60 h 172"/>
                <a:gd name="T46" fmla="*/ 12 w 209"/>
                <a:gd name="T47" fmla="*/ 35 h 172"/>
                <a:gd name="T48" fmla="*/ 38 w 209"/>
                <a:gd name="T49" fmla="*/ 22 h 172"/>
                <a:gd name="T50" fmla="*/ 112 w 209"/>
                <a:gd name="T51" fmla="*/ 5 h 172"/>
                <a:gd name="T52" fmla="*/ 146 w 209"/>
                <a:gd name="T53" fmla="*/ 7 h 172"/>
                <a:gd name="T54" fmla="*/ 176 w 209"/>
                <a:gd name="T55" fmla="*/ 27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9" h="172">
                  <a:moveTo>
                    <a:pt x="176" y="27"/>
                  </a:moveTo>
                  <a:cubicBezTo>
                    <a:pt x="186" y="31"/>
                    <a:pt x="195" y="37"/>
                    <a:pt x="197" y="47"/>
                  </a:cubicBezTo>
                  <a:cubicBezTo>
                    <a:pt x="198" y="51"/>
                    <a:pt x="198" y="55"/>
                    <a:pt x="198" y="59"/>
                  </a:cubicBezTo>
                  <a:cubicBezTo>
                    <a:pt x="198" y="68"/>
                    <a:pt x="202" y="76"/>
                    <a:pt x="205" y="84"/>
                  </a:cubicBezTo>
                  <a:cubicBezTo>
                    <a:pt x="208" y="92"/>
                    <a:pt x="209" y="102"/>
                    <a:pt x="203" y="109"/>
                  </a:cubicBezTo>
                  <a:cubicBezTo>
                    <a:pt x="202" y="111"/>
                    <a:pt x="200" y="113"/>
                    <a:pt x="198" y="115"/>
                  </a:cubicBezTo>
                  <a:cubicBezTo>
                    <a:pt x="196" y="119"/>
                    <a:pt x="195" y="123"/>
                    <a:pt x="195" y="127"/>
                  </a:cubicBezTo>
                  <a:cubicBezTo>
                    <a:pt x="191" y="170"/>
                    <a:pt x="191" y="170"/>
                    <a:pt x="191" y="170"/>
                  </a:cubicBezTo>
                  <a:cubicBezTo>
                    <a:pt x="180" y="168"/>
                    <a:pt x="185" y="149"/>
                    <a:pt x="175" y="143"/>
                  </a:cubicBezTo>
                  <a:cubicBezTo>
                    <a:pt x="173" y="142"/>
                    <a:pt x="170" y="142"/>
                    <a:pt x="168" y="141"/>
                  </a:cubicBezTo>
                  <a:cubicBezTo>
                    <a:pt x="163" y="138"/>
                    <a:pt x="162" y="133"/>
                    <a:pt x="159" y="128"/>
                  </a:cubicBezTo>
                  <a:cubicBezTo>
                    <a:pt x="157" y="124"/>
                    <a:pt x="152" y="119"/>
                    <a:pt x="147" y="120"/>
                  </a:cubicBezTo>
                  <a:cubicBezTo>
                    <a:pt x="142" y="122"/>
                    <a:pt x="140" y="128"/>
                    <a:pt x="137" y="131"/>
                  </a:cubicBezTo>
                  <a:cubicBezTo>
                    <a:pt x="132" y="135"/>
                    <a:pt x="124" y="135"/>
                    <a:pt x="117" y="134"/>
                  </a:cubicBezTo>
                  <a:cubicBezTo>
                    <a:pt x="110" y="132"/>
                    <a:pt x="104" y="129"/>
                    <a:pt x="97" y="129"/>
                  </a:cubicBezTo>
                  <a:cubicBezTo>
                    <a:pt x="81" y="129"/>
                    <a:pt x="71" y="145"/>
                    <a:pt x="63" y="159"/>
                  </a:cubicBezTo>
                  <a:cubicBezTo>
                    <a:pt x="62" y="162"/>
                    <a:pt x="60" y="165"/>
                    <a:pt x="57" y="167"/>
                  </a:cubicBezTo>
                  <a:cubicBezTo>
                    <a:pt x="50" y="172"/>
                    <a:pt x="37" y="165"/>
                    <a:pt x="36" y="156"/>
                  </a:cubicBezTo>
                  <a:cubicBezTo>
                    <a:pt x="35" y="151"/>
                    <a:pt x="37" y="145"/>
                    <a:pt x="34" y="141"/>
                  </a:cubicBezTo>
                  <a:cubicBezTo>
                    <a:pt x="31" y="137"/>
                    <a:pt x="24" y="136"/>
                    <a:pt x="19" y="133"/>
                  </a:cubicBezTo>
                  <a:cubicBezTo>
                    <a:pt x="7" y="128"/>
                    <a:pt x="3" y="112"/>
                    <a:pt x="5" y="98"/>
                  </a:cubicBezTo>
                  <a:cubicBezTo>
                    <a:pt x="6" y="89"/>
                    <a:pt x="10" y="79"/>
                    <a:pt x="7" y="69"/>
                  </a:cubicBezTo>
                  <a:cubicBezTo>
                    <a:pt x="6" y="66"/>
                    <a:pt x="4" y="63"/>
                    <a:pt x="3" y="60"/>
                  </a:cubicBezTo>
                  <a:cubicBezTo>
                    <a:pt x="0" y="51"/>
                    <a:pt x="5" y="41"/>
                    <a:pt x="12" y="35"/>
                  </a:cubicBezTo>
                  <a:cubicBezTo>
                    <a:pt x="20" y="29"/>
                    <a:pt x="29" y="24"/>
                    <a:pt x="38" y="22"/>
                  </a:cubicBezTo>
                  <a:cubicBezTo>
                    <a:pt x="62" y="14"/>
                    <a:pt x="87" y="6"/>
                    <a:pt x="112" y="5"/>
                  </a:cubicBezTo>
                  <a:cubicBezTo>
                    <a:pt x="123" y="4"/>
                    <a:pt x="138" y="0"/>
                    <a:pt x="146" y="7"/>
                  </a:cubicBezTo>
                  <a:cubicBezTo>
                    <a:pt x="157" y="16"/>
                    <a:pt x="163" y="21"/>
                    <a:pt x="176" y="27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S1iḓè">
              <a:extLst>
                <a:ext uri="{FF2B5EF4-FFF2-40B4-BE49-F238E27FC236}">
                  <a16:creationId xmlns:a16="http://schemas.microsoft.com/office/drawing/2014/main" id="{7E232CC4-1BF9-4974-9DA7-474735D1E4F8}"/>
                </a:ext>
              </a:extLst>
            </p:cNvPr>
            <p:cNvSpPr/>
            <p:nvPr/>
          </p:nvSpPr>
          <p:spPr bwMode="auto">
            <a:xfrm>
              <a:off x="5359401" y="2190750"/>
              <a:ext cx="12700" cy="12700"/>
            </a:xfrm>
            <a:prstGeom prst="ellipse">
              <a:avLst/>
            </a:pr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iṧ1îḑê">
              <a:extLst>
                <a:ext uri="{FF2B5EF4-FFF2-40B4-BE49-F238E27FC236}">
                  <a16:creationId xmlns:a16="http://schemas.microsoft.com/office/drawing/2014/main" id="{65751DB2-A3B1-471D-824C-C37D3D195E13}"/>
                </a:ext>
              </a:extLst>
            </p:cNvPr>
            <p:cNvSpPr/>
            <p:nvPr/>
          </p:nvSpPr>
          <p:spPr bwMode="auto">
            <a:xfrm>
              <a:off x="5359401" y="2189163"/>
              <a:ext cx="12700" cy="12700"/>
            </a:xfrm>
            <a:prstGeom prst="ellipse">
              <a:avLst/>
            </a:pr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iṧḷîḋe">
              <a:extLst>
                <a:ext uri="{FF2B5EF4-FFF2-40B4-BE49-F238E27FC236}">
                  <a16:creationId xmlns:a16="http://schemas.microsoft.com/office/drawing/2014/main" id="{800D1D48-140C-42AB-9DF9-4C0CFD60A829}"/>
                </a:ext>
              </a:extLst>
            </p:cNvPr>
            <p:cNvSpPr/>
            <p:nvPr/>
          </p:nvSpPr>
          <p:spPr bwMode="auto">
            <a:xfrm>
              <a:off x="5399088" y="2587625"/>
              <a:ext cx="12700" cy="12700"/>
            </a:xfrm>
            <a:prstGeom prst="ellipse">
              <a:avLst/>
            </a:pr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ṧļíďé">
              <a:extLst>
                <a:ext uri="{FF2B5EF4-FFF2-40B4-BE49-F238E27FC236}">
                  <a16:creationId xmlns:a16="http://schemas.microsoft.com/office/drawing/2014/main" id="{C0A6E4FC-8D84-42B4-8CAE-4160A0E9EDB4}"/>
                </a:ext>
              </a:extLst>
            </p:cNvPr>
            <p:cNvSpPr/>
            <p:nvPr/>
          </p:nvSpPr>
          <p:spPr bwMode="auto">
            <a:xfrm>
              <a:off x="5399088" y="2586038"/>
              <a:ext cx="12700" cy="11113"/>
            </a:xfrm>
            <a:prstGeom prst="ellipse">
              <a:avLst/>
            </a:pr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íSḷîḑè">
              <a:extLst>
                <a:ext uri="{FF2B5EF4-FFF2-40B4-BE49-F238E27FC236}">
                  <a16:creationId xmlns:a16="http://schemas.microsoft.com/office/drawing/2014/main" id="{771B9C3D-62BF-4054-8C21-CCD7F25AEF49}"/>
                </a:ext>
              </a:extLst>
            </p:cNvPr>
            <p:cNvSpPr/>
            <p:nvPr/>
          </p:nvSpPr>
          <p:spPr bwMode="auto">
            <a:xfrm>
              <a:off x="5378451" y="2693988"/>
              <a:ext cx="12700" cy="11113"/>
            </a:xfrm>
            <a:prstGeom prst="ellipse">
              <a:avLst/>
            </a:pr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îšḷíḍe">
              <a:extLst>
                <a:ext uri="{FF2B5EF4-FFF2-40B4-BE49-F238E27FC236}">
                  <a16:creationId xmlns:a16="http://schemas.microsoft.com/office/drawing/2014/main" id="{9FA65CED-D20B-41C3-9E48-D60311921C9E}"/>
                </a:ext>
              </a:extLst>
            </p:cNvPr>
            <p:cNvSpPr/>
            <p:nvPr/>
          </p:nvSpPr>
          <p:spPr bwMode="auto">
            <a:xfrm>
              <a:off x="5378451" y="2690813"/>
              <a:ext cx="12700" cy="12700"/>
            </a:xfrm>
            <a:prstGeom prst="ellipse">
              <a:avLst/>
            </a:pr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íSḷiḓè">
              <a:extLst>
                <a:ext uri="{FF2B5EF4-FFF2-40B4-BE49-F238E27FC236}">
                  <a16:creationId xmlns:a16="http://schemas.microsoft.com/office/drawing/2014/main" id="{08BE32D4-B60B-45AB-B79F-289F67AEC5C9}"/>
                </a:ext>
              </a:extLst>
            </p:cNvPr>
            <p:cNvSpPr/>
            <p:nvPr/>
          </p:nvSpPr>
          <p:spPr bwMode="auto">
            <a:xfrm>
              <a:off x="5153026" y="2298700"/>
              <a:ext cx="25400" cy="111125"/>
            </a:xfrm>
            <a:custGeom>
              <a:avLst/>
              <a:gdLst>
                <a:gd name="T0" fmla="*/ 10 w 18"/>
                <a:gd name="T1" fmla="*/ 0 h 77"/>
                <a:gd name="T2" fmla="*/ 10 w 18"/>
                <a:gd name="T3" fmla="*/ 76 h 77"/>
                <a:gd name="T4" fmla="*/ 11 w 18"/>
                <a:gd name="T5" fmla="*/ 77 h 77"/>
                <a:gd name="T6" fmla="*/ 10 w 18"/>
                <a:gd name="T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77">
                  <a:moveTo>
                    <a:pt x="10" y="0"/>
                  </a:moveTo>
                  <a:cubicBezTo>
                    <a:pt x="10" y="0"/>
                    <a:pt x="0" y="65"/>
                    <a:pt x="10" y="76"/>
                  </a:cubicBezTo>
                  <a:cubicBezTo>
                    <a:pt x="10" y="77"/>
                    <a:pt x="11" y="77"/>
                    <a:pt x="11" y="77"/>
                  </a:cubicBezTo>
                  <a:cubicBezTo>
                    <a:pt x="18" y="77"/>
                    <a:pt x="10" y="0"/>
                    <a:pt x="10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îṡ1îḑe">
              <a:extLst>
                <a:ext uri="{FF2B5EF4-FFF2-40B4-BE49-F238E27FC236}">
                  <a16:creationId xmlns:a16="http://schemas.microsoft.com/office/drawing/2014/main" id="{C9656E44-A053-4B38-974B-25D2049B8FB9}"/>
                </a:ext>
              </a:extLst>
            </p:cNvPr>
            <p:cNvSpPr/>
            <p:nvPr/>
          </p:nvSpPr>
          <p:spPr bwMode="auto">
            <a:xfrm>
              <a:off x="5540376" y="2473325"/>
              <a:ext cx="66675" cy="227013"/>
            </a:xfrm>
            <a:custGeom>
              <a:avLst/>
              <a:gdLst>
                <a:gd name="T0" fmla="*/ 17 w 46"/>
                <a:gd name="T1" fmla="*/ 99 h 157"/>
                <a:gd name="T2" fmla="*/ 4 w 46"/>
                <a:gd name="T3" fmla="*/ 154 h 157"/>
                <a:gd name="T4" fmla="*/ 6 w 46"/>
                <a:gd name="T5" fmla="*/ 157 h 157"/>
                <a:gd name="T6" fmla="*/ 17 w 46"/>
                <a:gd name="T7" fmla="*/ 99 h 157"/>
                <a:gd name="T8" fmla="*/ 28 w 46"/>
                <a:gd name="T9" fmla="*/ 0 h 157"/>
                <a:gd name="T10" fmla="*/ 17 w 46"/>
                <a:gd name="T11" fmla="*/ 99 h 157"/>
                <a:gd name="T12" fmla="*/ 28 w 46"/>
                <a:gd name="T13" fmla="*/ 77 h 157"/>
                <a:gd name="T14" fmla="*/ 28 w 46"/>
                <a:gd name="T1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157">
                  <a:moveTo>
                    <a:pt x="17" y="99"/>
                  </a:moveTo>
                  <a:cubicBezTo>
                    <a:pt x="5" y="122"/>
                    <a:pt x="0" y="136"/>
                    <a:pt x="4" y="154"/>
                  </a:cubicBezTo>
                  <a:cubicBezTo>
                    <a:pt x="5" y="156"/>
                    <a:pt x="5" y="157"/>
                    <a:pt x="6" y="157"/>
                  </a:cubicBezTo>
                  <a:cubicBezTo>
                    <a:pt x="9" y="157"/>
                    <a:pt x="13" y="130"/>
                    <a:pt x="17" y="99"/>
                  </a:cubicBezTo>
                  <a:moveTo>
                    <a:pt x="28" y="0"/>
                  </a:moveTo>
                  <a:cubicBezTo>
                    <a:pt x="28" y="0"/>
                    <a:pt x="23" y="55"/>
                    <a:pt x="17" y="99"/>
                  </a:cubicBezTo>
                  <a:cubicBezTo>
                    <a:pt x="20" y="93"/>
                    <a:pt x="24" y="85"/>
                    <a:pt x="28" y="77"/>
                  </a:cubicBezTo>
                  <a:cubicBezTo>
                    <a:pt x="46" y="39"/>
                    <a:pt x="28" y="0"/>
                    <a:pt x="28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íṡľiḋe">
              <a:extLst>
                <a:ext uri="{FF2B5EF4-FFF2-40B4-BE49-F238E27FC236}">
                  <a16:creationId xmlns:a16="http://schemas.microsoft.com/office/drawing/2014/main" id="{B1FBEFC5-6D69-4DE5-B814-2842BB061702}"/>
                </a:ext>
              </a:extLst>
            </p:cNvPr>
            <p:cNvSpPr/>
            <p:nvPr/>
          </p:nvSpPr>
          <p:spPr bwMode="auto">
            <a:xfrm>
              <a:off x="4308476" y="3494088"/>
              <a:ext cx="15875" cy="25400"/>
            </a:xfrm>
            <a:custGeom>
              <a:avLst/>
              <a:gdLst>
                <a:gd name="T0" fmla="*/ 2 w 10"/>
                <a:gd name="T1" fmla="*/ 0 h 18"/>
                <a:gd name="T2" fmla="*/ 10 w 10"/>
                <a:gd name="T3" fmla="*/ 18 h 18"/>
                <a:gd name="T4" fmla="*/ 2 w 10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8">
                  <a:moveTo>
                    <a:pt x="2" y="0"/>
                  </a:moveTo>
                  <a:cubicBezTo>
                    <a:pt x="0" y="6"/>
                    <a:pt x="2" y="13"/>
                    <a:pt x="10" y="18"/>
                  </a:cubicBezTo>
                  <a:cubicBezTo>
                    <a:pt x="2" y="13"/>
                    <a:pt x="0" y="6"/>
                    <a:pt x="2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îş1íďé">
              <a:extLst>
                <a:ext uri="{FF2B5EF4-FFF2-40B4-BE49-F238E27FC236}">
                  <a16:creationId xmlns:a16="http://schemas.microsoft.com/office/drawing/2014/main" id="{76DE774C-FC4C-47F3-9384-85BF4F6CE2DE}"/>
                </a:ext>
              </a:extLst>
            </p:cNvPr>
            <p:cNvSpPr/>
            <p:nvPr/>
          </p:nvSpPr>
          <p:spPr bwMode="auto">
            <a:xfrm>
              <a:off x="4308476" y="3448050"/>
              <a:ext cx="322263" cy="90488"/>
            </a:xfrm>
            <a:custGeom>
              <a:avLst/>
              <a:gdLst>
                <a:gd name="T0" fmla="*/ 220 w 222"/>
                <a:gd name="T1" fmla="*/ 0 h 63"/>
                <a:gd name="T2" fmla="*/ 156 w 222"/>
                <a:gd name="T3" fmla="*/ 16 h 63"/>
                <a:gd name="T4" fmla="*/ 75 w 222"/>
                <a:gd name="T5" fmla="*/ 47 h 63"/>
                <a:gd name="T6" fmla="*/ 10 w 222"/>
                <a:gd name="T7" fmla="*/ 19 h 63"/>
                <a:gd name="T8" fmla="*/ 2 w 222"/>
                <a:gd name="T9" fmla="*/ 32 h 63"/>
                <a:gd name="T10" fmla="*/ 10 w 222"/>
                <a:gd name="T11" fmla="*/ 50 h 63"/>
                <a:gd name="T12" fmla="*/ 11 w 222"/>
                <a:gd name="T13" fmla="*/ 51 h 63"/>
                <a:gd name="T14" fmla="*/ 56 w 222"/>
                <a:gd name="T15" fmla="*/ 63 h 63"/>
                <a:gd name="T16" fmla="*/ 79 w 222"/>
                <a:gd name="T17" fmla="*/ 60 h 63"/>
                <a:gd name="T18" fmla="*/ 159 w 222"/>
                <a:gd name="T19" fmla="*/ 31 h 63"/>
                <a:gd name="T20" fmla="*/ 222 w 222"/>
                <a:gd name="T21" fmla="*/ 13 h 63"/>
                <a:gd name="T22" fmla="*/ 221 w 222"/>
                <a:gd name="T23" fmla="*/ 9 h 63"/>
                <a:gd name="T24" fmla="*/ 220 w 222"/>
                <a:gd name="T2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2" h="63">
                  <a:moveTo>
                    <a:pt x="220" y="0"/>
                  </a:moveTo>
                  <a:cubicBezTo>
                    <a:pt x="202" y="4"/>
                    <a:pt x="161" y="12"/>
                    <a:pt x="156" y="16"/>
                  </a:cubicBezTo>
                  <a:cubicBezTo>
                    <a:pt x="150" y="21"/>
                    <a:pt x="75" y="47"/>
                    <a:pt x="75" y="47"/>
                  </a:cubicBezTo>
                  <a:cubicBezTo>
                    <a:pt x="75" y="47"/>
                    <a:pt x="24" y="40"/>
                    <a:pt x="10" y="19"/>
                  </a:cubicBezTo>
                  <a:cubicBezTo>
                    <a:pt x="6" y="23"/>
                    <a:pt x="3" y="28"/>
                    <a:pt x="2" y="32"/>
                  </a:cubicBezTo>
                  <a:cubicBezTo>
                    <a:pt x="0" y="38"/>
                    <a:pt x="2" y="45"/>
                    <a:pt x="10" y="50"/>
                  </a:cubicBezTo>
                  <a:cubicBezTo>
                    <a:pt x="10" y="51"/>
                    <a:pt x="10" y="51"/>
                    <a:pt x="11" y="51"/>
                  </a:cubicBezTo>
                  <a:cubicBezTo>
                    <a:pt x="24" y="60"/>
                    <a:pt x="42" y="63"/>
                    <a:pt x="56" y="63"/>
                  </a:cubicBezTo>
                  <a:cubicBezTo>
                    <a:pt x="69" y="63"/>
                    <a:pt x="79" y="60"/>
                    <a:pt x="79" y="60"/>
                  </a:cubicBezTo>
                  <a:cubicBezTo>
                    <a:pt x="79" y="60"/>
                    <a:pt x="140" y="31"/>
                    <a:pt x="159" y="31"/>
                  </a:cubicBezTo>
                  <a:cubicBezTo>
                    <a:pt x="177" y="31"/>
                    <a:pt x="222" y="13"/>
                    <a:pt x="222" y="13"/>
                  </a:cubicBezTo>
                  <a:cubicBezTo>
                    <a:pt x="221" y="9"/>
                    <a:pt x="221" y="9"/>
                    <a:pt x="221" y="9"/>
                  </a:cubicBezTo>
                  <a:cubicBezTo>
                    <a:pt x="220" y="0"/>
                    <a:pt x="220" y="0"/>
                    <a:pt x="22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ïṥlïdé">
              <a:extLst>
                <a:ext uri="{FF2B5EF4-FFF2-40B4-BE49-F238E27FC236}">
                  <a16:creationId xmlns:a16="http://schemas.microsoft.com/office/drawing/2014/main" id="{A7D8E788-0BAB-43A4-8EDF-18E7C227D0E7}"/>
                </a:ext>
              </a:extLst>
            </p:cNvPr>
            <p:cNvSpPr/>
            <p:nvPr/>
          </p:nvSpPr>
          <p:spPr bwMode="auto">
            <a:xfrm>
              <a:off x="5427663" y="1870075"/>
              <a:ext cx="0" cy="3175"/>
            </a:xfrm>
            <a:custGeom>
              <a:avLst/>
              <a:gdLst>
                <a:gd name="T0" fmla="*/ 0 h 3"/>
                <a:gd name="T1" fmla="*/ 3 h 3"/>
                <a:gd name="T2" fmla="*/ 3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iŝľîḋe">
              <a:extLst>
                <a:ext uri="{FF2B5EF4-FFF2-40B4-BE49-F238E27FC236}">
                  <a16:creationId xmlns:a16="http://schemas.microsoft.com/office/drawing/2014/main" id="{9E4743D1-21D3-4015-915E-935097B9D1CF}"/>
                </a:ext>
              </a:extLst>
            </p:cNvPr>
            <p:cNvSpPr/>
            <p:nvPr/>
          </p:nvSpPr>
          <p:spPr bwMode="auto">
            <a:xfrm>
              <a:off x="5427663" y="1873250"/>
              <a:ext cx="0" cy="1588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íṩḻiďé">
              <a:extLst>
                <a:ext uri="{FF2B5EF4-FFF2-40B4-BE49-F238E27FC236}">
                  <a16:creationId xmlns:a16="http://schemas.microsoft.com/office/drawing/2014/main" id="{922C8643-52E3-42D1-8D03-D5F53F0DF4A2}"/>
                </a:ext>
              </a:extLst>
            </p:cNvPr>
            <p:cNvSpPr/>
            <p:nvPr/>
          </p:nvSpPr>
          <p:spPr bwMode="auto">
            <a:xfrm>
              <a:off x="5421313" y="1954213"/>
              <a:ext cx="14288" cy="46038"/>
            </a:xfrm>
            <a:custGeom>
              <a:avLst/>
              <a:gdLst>
                <a:gd name="T0" fmla="*/ 10 w 10"/>
                <a:gd name="T1" fmla="*/ 0 h 31"/>
                <a:gd name="T2" fmla="*/ 10 w 10"/>
                <a:gd name="T3" fmla="*/ 0 h 31"/>
                <a:gd name="T4" fmla="*/ 9 w 10"/>
                <a:gd name="T5" fmla="*/ 1 h 31"/>
                <a:gd name="T6" fmla="*/ 4 w 10"/>
                <a:gd name="T7" fmla="*/ 7 h 31"/>
                <a:gd name="T8" fmla="*/ 1 w 10"/>
                <a:gd name="T9" fmla="*/ 19 h 31"/>
                <a:gd name="T10" fmla="*/ 0 w 10"/>
                <a:gd name="T11" fmla="*/ 31 h 31"/>
                <a:gd name="T12" fmla="*/ 0 w 10"/>
                <a:gd name="T13" fmla="*/ 31 h 31"/>
                <a:gd name="T14" fmla="*/ 1 w 10"/>
                <a:gd name="T15" fmla="*/ 19 h 31"/>
                <a:gd name="T16" fmla="*/ 4 w 10"/>
                <a:gd name="T17" fmla="*/ 7 h 31"/>
                <a:gd name="T18" fmla="*/ 9 w 10"/>
                <a:gd name="T19" fmla="*/ 1 h 31"/>
                <a:gd name="T20" fmla="*/ 10 w 10"/>
                <a:gd name="T2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31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1"/>
                    <a:pt x="9" y="1"/>
                  </a:cubicBezTo>
                  <a:cubicBezTo>
                    <a:pt x="8" y="3"/>
                    <a:pt x="6" y="5"/>
                    <a:pt x="4" y="7"/>
                  </a:cubicBezTo>
                  <a:cubicBezTo>
                    <a:pt x="2" y="11"/>
                    <a:pt x="1" y="15"/>
                    <a:pt x="1" y="1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5"/>
                    <a:pt x="2" y="11"/>
                    <a:pt x="4" y="7"/>
                  </a:cubicBezTo>
                  <a:cubicBezTo>
                    <a:pt x="6" y="5"/>
                    <a:pt x="8" y="3"/>
                    <a:pt x="9" y="1"/>
                  </a:cubicBezTo>
                  <a:cubicBezTo>
                    <a:pt x="10" y="1"/>
                    <a:pt x="10" y="0"/>
                    <a:pt x="1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îṧľîḋe">
              <a:extLst>
                <a:ext uri="{FF2B5EF4-FFF2-40B4-BE49-F238E27FC236}">
                  <a16:creationId xmlns:a16="http://schemas.microsoft.com/office/drawing/2014/main" id="{590AA707-6748-41B5-B0A9-8F692685B82F}"/>
                </a:ext>
              </a:extLst>
            </p:cNvPr>
            <p:cNvSpPr/>
            <p:nvPr/>
          </p:nvSpPr>
          <p:spPr bwMode="auto">
            <a:xfrm>
              <a:off x="5435601" y="1933575"/>
              <a:ext cx="6350" cy="20638"/>
            </a:xfrm>
            <a:custGeom>
              <a:avLst/>
              <a:gdLst>
                <a:gd name="T0" fmla="*/ 3 w 4"/>
                <a:gd name="T1" fmla="*/ 0 h 15"/>
                <a:gd name="T2" fmla="*/ 3 w 4"/>
                <a:gd name="T3" fmla="*/ 0 h 15"/>
                <a:gd name="T4" fmla="*/ 0 w 4"/>
                <a:gd name="T5" fmla="*/ 15 h 15"/>
                <a:gd name="T6" fmla="*/ 0 w 4"/>
                <a:gd name="T7" fmla="*/ 15 h 15"/>
                <a:gd name="T8" fmla="*/ 3 w 4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5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5"/>
                    <a:pt x="3" y="10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0"/>
                    <a:pt x="4" y="5"/>
                    <a:pt x="3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ïṩļîḓè">
              <a:extLst>
                <a:ext uri="{FF2B5EF4-FFF2-40B4-BE49-F238E27FC236}">
                  <a16:creationId xmlns:a16="http://schemas.microsoft.com/office/drawing/2014/main" id="{CB054E31-E6B4-4E40-B02C-74F7F84AE3A6}"/>
                </a:ext>
              </a:extLst>
            </p:cNvPr>
            <p:cNvSpPr/>
            <p:nvPr/>
          </p:nvSpPr>
          <p:spPr bwMode="auto">
            <a:xfrm>
              <a:off x="5146676" y="1965325"/>
              <a:ext cx="1588" cy="3175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şlïḋè">
              <a:extLst>
                <a:ext uri="{FF2B5EF4-FFF2-40B4-BE49-F238E27FC236}">
                  <a16:creationId xmlns:a16="http://schemas.microsoft.com/office/drawing/2014/main" id="{1FB8591C-F453-4F74-B737-6FE34C14E2F6}"/>
                </a:ext>
              </a:extLst>
            </p:cNvPr>
            <p:cNvSpPr/>
            <p:nvPr/>
          </p:nvSpPr>
          <p:spPr bwMode="auto">
            <a:xfrm>
              <a:off x="5148263" y="1968500"/>
              <a:ext cx="42863" cy="36513"/>
            </a:xfrm>
            <a:custGeom>
              <a:avLst/>
              <a:gdLst>
                <a:gd name="T0" fmla="*/ 0 w 29"/>
                <a:gd name="T1" fmla="*/ 0 h 26"/>
                <a:gd name="T2" fmla="*/ 0 w 29"/>
                <a:gd name="T3" fmla="*/ 0 h 26"/>
                <a:gd name="T4" fmla="*/ 13 w 29"/>
                <a:gd name="T5" fmla="*/ 17 h 26"/>
                <a:gd name="T6" fmla="*/ 28 w 29"/>
                <a:gd name="T7" fmla="*/ 24 h 26"/>
                <a:gd name="T8" fmla="*/ 29 w 29"/>
                <a:gd name="T9" fmla="*/ 26 h 26"/>
                <a:gd name="T10" fmla="*/ 28 w 29"/>
                <a:gd name="T11" fmla="*/ 24 h 26"/>
                <a:gd name="T12" fmla="*/ 13 w 29"/>
                <a:gd name="T13" fmla="*/ 16 h 26"/>
                <a:gd name="T14" fmla="*/ 0 w 29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7"/>
                    <a:pt x="7" y="13"/>
                    <a:pt x="13" y="17"/>
                  </a:cubicBezTo>
                  <a:cubicBezTo>
                    <a:pt x="18" y="19"/>
                    <a:pt x="25" y="20"/>
                    <a:pt x="28" y="24"/>
                  </a:cubicBezTo>
                  <a:cubicBezTo>
                    <a:pt x="28" y="25"/>
                    <a:pt x="29" y="26"/>
                    <a:pt x="29" y="26"/>
                  </a:cubicBezTo>
                  <a:cubicBezTo>
                    <a:pt x="29" y="26"/>
                    <a:pt x="28" y="25"/>
                    <a:pt x="28" y="24"/>
                  </a:cubicBezTo>
                  <a:cubicBezTo>
                    <a:pt x="25" y="20"/>
                    <a:pt x="18" y="19"/>
                    <a:pt x="13" y="16"/>
                  </a:cubicBezTo>
                  <a:cubicBezTo>
                    <a:pt x="7" y="13"/>
                    <a:pt x="2" y="7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iṧľíḍê">
              <a:extLst>
                <a:ext uri="{FF2B5EF4-FFF2-40B4-BE49-F238E27FC236}">
                  <a16:creationId xmlns:a16="http://schemas.microsoft.com/office/drawing/2014/main" id="{776029AD-5B5D-4FDB-88F5-293CFAA9B50B}"/>
                </a:ext>
              </a:extLst>
            </p:cNvPr>
            <p:cNvSpPr/>
            <p:nvPr/>
          </p:nvSpPr>
          <p:spPr bwMode="auto">
            <a:xfrm>
              <a:off x="5421313" y="2000250"/>
              <a:ext cx="1588" cy="1588"/>
            </a:xfrm>
            <a:prstGeom prst="ellipse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šliḑê">
              <a:extLst>
                <a:ext uri="{FF2B5EF4-FFF2-40B4-BE49-F238E27FC236}">
                  <a16:creationId xmlns:a16="http://schemas.microsoft.com/office/drawing/2014/main" id="{1A774917-1BED-457E-A7E4-2F16776E0945}"/>
                </a:ext>
              </a:extLst>
            </p:cNvPr>
            <p:cNvSpPr/>
            <p:nvPr/>
          </p:nvSpPr>
          <p:spPr bwMode="auto">
            <a:xfrm>
              <a:off x="5414963" y="2039938"/>
              <a:ext cx="1588" cy="4763"/>
            </a:xfrm>
            <a:custGeom>
              <a:avLst/>
              <a:gdLst>
                <a:gd name="T0" fmla="*/ 1 w 1"/>
                <a:gd name="T1" fmla="*/ 0 h 3"/>
                <a:gd name="T2" fmla="*/ 1 w 1"/>
                <a:gd name="T3" fmla="*/ 1 h 3"/>
                <a:gd name="T4" fmla="*/ 1 w 1"/>
                <a:gd name="T5" fmla="*/ 3 h 3"/>
                <a:gd name="T6" fmla="*/ 0 w 1"/>
                <a:gd name="T7" fmla="*/ 3 h 3"/>
                <a:gd name="T8" fmla="*/ 0 w 1"/>
                <a:gd name="T9" fmla="*/ 3 h 3"/>
                <a:gd name="T10" fmla="*/ 1 w 1"/>
                <a:gd name="T11" fmla="*/ 3 h 3"/>
                <a:gd name="T12" fmla="*/ 1 w 1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351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iṡ1îḓe">
              <a:extLst>
                <a:ext uri="{FF2B5EF4-FFF2-40B4-BE49-F238E27FC236}">
                  <a16:creationId xmlns:a16="http://schemas.microsoft.com/office/drawing/2014/main" id="{3B5252C0-E9DA-4572-BA96-AE823F68E4B5}"/>
                </a:ext>
              </a:extLst>
            </p:cNvPr>
            <p:cNvSpPr/>
            <p:nvPr/>
          </p:nvSpPr>
          <p:spPr bwMode="auto">
            <a:xfrm>
              <a:off x="5192713" y="1971675"/>
              <a:ext cx="228600" cy="73025"/>
            </a:xfrm>
            <a:custGeom>
              <a:avLst/>
              <a:gdLst>
                <a:gd name="T0" fmla="*/ 147 w 158"/>
                <a:gd name="T1" fmla="*/ 42 h 50"/>
                <a:gd name="T2" fmla="*/ 154 w 158"/>
                <a:gd name="T3" fmla="*/ 50 h 50"/>
                <a:gd name="T4" fmla="*/ 154 w 158"/>
                <a:gd name="T5" fmla="*/ 50 h 50"/>
                <a:gd name="T6" fmla="*/ 147 w 158"/>
                <a:gd name="T7" fmla="*/ 42 h 50"/>
                <a:gd name="T8" fmla="*/ 158 w 158"/>
                <a:gd name="T9" fmla="*/ 19 h 50"/>
                <a:gd name="T10" fmla="*/ 155 w 158"/>
                <a:gd name="T11" fmla="*/ 48 h 50"/>
                <a:gd name="T12" fmla="*/ 155 w 158"/>
                <a:gd name="T13" fmla="*/ 47 h 50"/>
                <a:gd name="T14" fmla="*/ 158 w 158"/>
                <a:gd name="T15" fmla="*/ 19 h 50"/>
                <a:gd name="T16" fmla="*/ 158 w 158"/>
                <a:gd name="T17" fmla="*/ 19 h 50"/>
                <a:gd name="T18" fmla="*/ 113 w 158"/>
                <a:gd name="T19" fmla="*/ 0 h 50"/>
                <a:gd name="T20" fmla="*/ 111 w 158"/>
                <a:gd name="T21" fmla="*/ 0 h 50"/>
                <a:gd name="T22" fmla="*/ 101 w 158"/>
                <a:gd name="T23" fmla="*/ 11 h 50"/>
                <a:gd name="T24" fmla="*/ 89 w 158"/>
                <a:gd name="T25" fmla="*/ 15 h 50"/>
                <a:gd name="T26" fmla="*/ 81 w 158"/>
                <a:gd name="T27" fmla="*/ 14 h 50"/>
                <a:gd name="T28" fmla="*/ 61 w 158"/>
                <a:gd name="T29" fmla="*/ 9 h 50"/>
                <a:gd name="T30" fmla="*/ 61 w 158"/>
                <a:gd name="T31" fmla="*/ 9 h 50"/>
                <a:gd name="T32" fmla="*/ 27 w 158"/>
                <a:gd name="T33" fmla="*/ 39 h 50"/>
                <a:gd name="T34" fmla="*/ 21 w 158"/>
                <a:gd name="T35" fmla="*/ 47 h 50"/>
                <a:gd name="T36" fmla="*/ 15 w 158"/>
                <a:gd name="T37" fmla="*/ 49 h 50"/>
                <a:gd name="T38" fmla="*/ 0 w 158"/>
                <a:gd name="T39" fmla="*/ 38 h 50"/>
                <a:gd name="T40" fmla="*/ 15 w 158"/>
                <a:gd name="T41" fmla="*/ 49 h 50"/>
                <a:gd name="T42" fmla="*/ 21 w 158"/>
                <a:gd name="T43" fmla="*/ 47 h 50"/>
                <a:gd name="T44" fmla="*/ 28 w 158"/>
                <a:gd name="T45" fmla="*/ 39 h 50"/>
                <a:gd name="T46" fmla="*/ 61 w 158"/>
                <a:gd name="T47" fmla="*/ 9 h 50"/>
                <a:gd name="T48" fmla="*/ 61 w 158"/>
                <a:gd name="T49" fmla="*/ 9 h 50"/>
                <a:gd name="T50" fmla="*/ 81 w 158"/>
                <a:gd name="T51" fmla="*/ 14 h 50"/>
                <a:gd name="T52" fmla="*/ 89 w 158"/>
                <a:gd name="T53" fmla="*/ 15 h 50"/>
                <a:gd name="T54" fmla="*/ 101 w 158"/>
                <a:gd name="T55" fmla="*/ 11 h 50"/>
                <a:gd name="T56" fmla="*/ 111 w 158"/>
                <a:gd name="T57" fmla="*/ 1 h 50"/>
                <a:gd name="T58" fmla="*/ 113 w 158"/>
                <a:gd name="T59" fmla="*/ 0 h 50"/>
                <a:gd name="T60" fmla="*/ 123 w 158"/>
                <a:gd name="T61" fmla="*/ 9 h 50"/>
                <a:gd name="T62" fmla="*/ 132 w 158"/>
                <a:gd name="T63" fmla="*/ 21 h 50"/>
                <a:gd name="T64" fmla="*/ 139 w 158"/>
                <a:gd name="T65" fmla="*/ 23 h 50"/>
                <a:gd name="T66" fmla="*/ 144 w 158"/>
                <a:gd name="T67" fmla="*/ 31 h 50"/>
                <a:gd name="T68" fmla="*/ 139 w 158"/>
                <a:gd name="T69" fmla="*/ 23 h 50"/>
                <a:gd name="T70" fmla="*/ 132 w 158"/>
                <a:gd name="T71" fmla="*/ 21 h 50"/>
                <a:gd name="T72" fmla="*/ 123 w 158"/>
                <a:gd name="T73" fmla="*/ 8 h 50"/>
                <a:gd name="T74" fmla="*/ 113 w 158"/>
                <a:gd name="T7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8" h="50">
                  <a:moveTo>
                    <a:pt x="147" y="42"/>
                  </a:moveTo>
                  <a:cubicBezTo>
                    <a:pt x="149" y="46"/>
                    <a:pt x="151" y="49"/>
                    <a:pt x="154" y="50"/>
                  </a:cubicBezTo>
                  <a:cubicBezTo>
                    <a:pt x="154" y="50"/>
                    <a:pt x="154" y="50"/>
                    <a:pt x="154" y="50"/>
                  </a:cubicBezTo>
                  <a:cubicBezTo>
                    <a:pt x="151" y="49"/>
                    <a:pt x="149" y="46"/>
                    <a:pt x="147" y="42"/>
                  </a:cubicBezTo>
                  <a:moveTo>
                    <a:pt x="158" y="19"/>
                  </a:moveTo>
                  <a:cubicBezTo>
                    <a:pt x="155" y="48"/>
                    <a:pt x="155" y="48"/>
                    <a:pt x="155" y="48"/>
                  </a:cubicBezTo>
                  <a:cubicBezTo>
                    <a:pt x="155" y="48"/>
                    <a:pt x="155" y="47"/>
                    <a:pt x="155" y="47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8" y="19"/>
                    <a:pt x="158" y="19"/>
                    <a:pt x="158" y="19"/>
                  </a:cubicBezTo>
                  <a:moveTo>
                    <a:pt x="113" y="0"/>
                  </a:moveTo>
                  <a:cubicBezTo>
                    <a:pt x="112" y="0"/>
                    <a:pt x="112" y="0"/>
                    <a:pt x="111" y="0"/>
                  </a:cubicBezTo>
                  <a:cubicBezTo>
                    <a:pt x="106" y="2"/>
                    <a:pt x="104" y="8"/>
                    <a:pt x="101" y="11"/>
                  </a:cubicBezTo>
                  <a:cubicBezTo>
                    <a:pt x="98" y="14"/>
                    <a:pt x="93" y="15"/>
                    <a:pt x="89" y="15"/>
                  </a:cubicBezTo>
                  <a:cubicBezTo>
                    <a:pt x="87" y="15"/>
                    <a:pt x="84" y="14"/>
                    <a:pt x="81" y="14"/>
                  </a:cubicBezTo>
                  <a:cubicBezTo>
                    <a:pt x="75" y="12"/>
                    <a:pt x="68" y="9"/>
                    <a:pt x="61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45" y="9"/>
                    <a:pt x="35" y="25"/>
                    <a:pt x="27" y="39"/>
                  </a:cubicBezTo>
                  <a:cubicBezTo>
                    <a:pt x="26" y="42"/>
                    <a:pt x="24" y="45"/>
                    <a:pt x="21" y="47"/>
                  </a:cubicBezTo>
                  <a:cubicBezTo>
                    <a:pt x="19" y="48"/>
                    <a:pt x="17" y="49"/>
                    <a:pt x="15" y="49"/>
                  </a:cubicBezTo>
                  <a:cubicBezTo>
                    <a:pt x="9" y="49"/>
                    <a:pt x="2" y="44"/>
                    <a:pt x="0" y="38"/>
                  </a:cubicBezTo>
                  <a:cubicBezTo>
                    <a:pt x="2" y="44"/>
                    <a:pt x="9" y="49"/>
                    <a:pt x="15" y="49"/>
                  </a:cubicBezTo>
                  <a:cubicBezTo>
                    <a:pt x="17" y="49"/>
                    <a:pt x="19" y="48"/>
                    <a:pt x="21" y="47"/>
                  </a:cubicBezTo>
                  <a:cubicBezTo>
                    <a:pt x="24" y="45"/>
                    <a:pt x="26" y="42"/>
                    <a:pt x="28" y="39"/>
                  </a:cubicBezTo>
                  <a:cubicBezTo>
                    <a:pt x="35" y="25"/>
                    <a:pt x="45" y="10"/>
                    <a:pt x="61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8" y="9"/>
                    <a:pt x="75" y="12"/>
                    <a:pt x="81" y="14"/>
                  </a:cubicBezTo>
                  <a:cubicBezTo>
                    <a:pt x="84" y="14"/>
                    <a:pt x="87" y="15"/>
                    <a:pt x="89" y="15"/>
                  </a:cubicBezTo>
                  <a:cubicBezTo>
                    <a:pt x="94" y="15"/>
                    <a:pt x="98" y="14"/>
                    <a:pt x="101" y="11"/>
                  </a:cubicBezTo>
                  <a:cubicBezTo>
                    <a:pt x="104" y="8"/>
                    <a:pt x="106" y="2"/>
                    <a:pt x="111" y="1"/>
                  </a:cubicBezTo>
                  <a:cubicBezTo>
                    <a:pt x="112" y="0"/>
                    <a:pt x="112" y="0"/>
                    <a:pt x="113" y="0"/>
                  </a:cubicBezTo>
                  <a:cubicBezTo>
                    <a:pt x="117" y="0"/>
                    <a:pt x="121" y="4"/>
                    <a:pt x="123" y="9"/>
                  </a:cubicBezTo>
                  <a:cubicBezTo>
                    <a:pt x="126" y="13"/>
                    <a:pt x="127" y="18"/>
                    <a:pt x="132" y="21"/>
                  </a:cubicBezTo>
                  <a:cubicBezTo>
                    <a:pt x="134" y="22"/>
                    <a:pt x="137" y="22"/>
                    <a:pt x="139" y="23"/>
                  </a:cubicBezTo>
                  <a:cubicBezTo>
                    <a:pt x="142" y="25"/>
                    <a:pt x="143" y="28"/>
                    <a:pt x="144" y="31"/>
                  </a:cubicBezTo>
                  <a:cubicBezTo>
                    <a:pt x="143" y="28"/>
                    <a:pt x="142" y="25"/>
                    <a:pt x="139" y="23"/>
                  </a:cubicBezTo>
                  <a:cubicBezTo>
                    <a:pt x="137" y="22"/>
                    <a:pt x="134" y="22"/>
                    <a:pt x="132" y="21"/>
                  </a:cubicBezTo>
                  <a:cubicBezTo>
                    <a:pt x="127" y="18"/>
                    <a:pt x="126" y="13"/>
                    <a:pt x="123" y="8"/>
                  </a:cubicBezTo>
                  <a:cubicBezTo>
                    <a:pt x="121" y="4"/>
                    <a:pt x="117" y="0"/>
                    <a:pt x="113" y="0"/>
                  </a:cubicBezTo>
                </a:path>
              </a:pathLst>
            </a:custGeom>
            <a:solidFill>
              <a:srgbClr val="9A5A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í$liḓé">
              <a:extLst>
                <a:ext uri="{FF2B5EF4-FFF2-40B4-BE49-F238E27FC236}">
                  <a16:creationId xmlns:a16="http://schemas.microsoft.com/office/drawing/2014/main" id="{ADD2BF9D-090B-4464-B016-0C589F09DEAE}"/>
                </a:ext>
              </a:extLst>
            </p:cNvPr>
            <p:cNvSpPr/>
            <p:nvPr/>
          </p:nvSpPr>
          <p:spPr bwMode="auto">
            <a:xfrm>
              <a:off x="5145088" y="1933575"/>
              <a:ext cx="295275" cy="111125"/>
            </a:xfrm>
            <a:custGeom>
              <a:avLst/>
              <a:gdLst>
                <a:gd name="T0" fmla="*/ 203 w 203"/>
                <a:gd name="T1" fmla="*/ 0 h 77"/>
                <a:gd name="T2" fmla="*/ 199 w 203"/>
                <a:gd name="T3" fmla="*/ 9 h 77"/>
                <a:gd name="T4" fmla="*/ 194 w 203"/>
                <a:gd name="T5" fmla="*/ 15 h 77"/>
                <a:gd name="T6" fmla="*/ 191 w 203"/>
                <a:gd name="T7" fmla="*/ 27 h 77"/>
                <a:gd name="T8" fmla="*/ 187 w 203"/>
                <a:gd name="T9" fmla="*/ 70 h 77"/>
                <a:gd name="T10" fmla="*/ 171 w 203"/>
                <a:gd name="T11" fmla="*/ 43 h 77"/>
                <a:gd name="T12" fmla="*/ 164 w 203"/>
                <a:gd name="T13" fmla="*/ 41 h 77"/>
                <a:gd name="T14" fmla="*/ 155 w 203"/>
                <a:gd name="T15" fmla="*/ 29 h 77"/>
                <a:gd name="T16" fmla="*/ 145 w 203"/>
                <a:gd name="T17" fmla="*/ 20 h 77"/>
                <a:gd name="T18" fmla="*/ 143 w 203"/>
                <a:gd name="T19" fmla="*/ 21 h 77"/>
                <a:gd name="T20" fmla="*/ 133 w 203"/>
                <a:gd name="T21" fmla="*/ 31 h 77"/>
                <a:gd name="T22" fmla="*/ 121 w 203"/>
                <a:gd name="T23" fmla="*/ 35 h 77"/>
                <a:gd name="T24" fmla="*/ 113 w 203"/>
                <a:gd name="T25" fmla="*/ 34 h 77"/>
                <a:gd name="T26" fmla="*/ 93 w 203"/>
                <a:gd name="T27" fmla="*/ 29 h 77"/>
                <a:gd name="T28" fmla="*/ 60 w 203"/>
                <a:gd name="T29" fmla="*/ 59 h 77"/>
                <a:gd name="T30" fmla="*/ 53 w 203"/>
                <a:gd name="T31" fmla="*/ 67 h 77"/>
                <a:gd name="T32" fmla="*/ 47 w 203"/>
                <a:gd name="T33" fmla="*/ 69 h 77"/>
                <a:gd name="T34" fmla="*/ 32 w 203"/>
                <a:gd name="T35" fmla="*/ 56 h 77"/>
                <a:gd name="T36" fmla="*/ 30 w 203"/>
                <a:gd name="T37" fmla="*/ 41 h 77"/>
                <a:gd name="T38" fmla="*/ 15 w 203"/>
                <a:gd name="T39" fmla="*/ 34 h 77"/>
                <a:gd name="T40" fmla="*/ 0 w 203"/>
                <a:gd name="T41" fmla="*/ 9 h 77"/>
                <a:gd name="T42" fmla="*/ 1 w 203"/>
                <a:gd name="T43" fmla="*/ 22 h 77"/>
                <a:gd name="T44" fmla="*/ 2 w 203"/>
                <a:gd name="T45" fmla="*/ 24 h 77"/>
                <a:gd name="T46" fmla="*/ 15 w 203"/>
                <a:gd name="T47" fmla="*/ 40 h 77"/>
                <a:gd name="T48" fmla="*/ 30 w 203"/>
                <a:gd name="T49" fmla="*/ 48 h 77"/>
                <a:gd name="T50" fmla="*/ 31 w 203"/>
                <a:gd name="T51" fmla="*/ 50 h 77"/>
                <a:gd name="T52" fmla="*/ 32 w 203"/>
                <a:gd name="T53" fmla="*/ 63 h 77"/>
                <a:gd name="T54" fmla="*/ 32 w 203"/>
                <a:gd name="T55" fmla="*/ 65 h 77"/>
                <a:gd name="T56" fmla="*/ 47 w 203"/>
                <a:gd name="T57" fmla="*/ 76 h 77"/>
                <a:gd name="T58" fmla="*/ 53 w 203"/>
                <a:gd name="T59" fmla="*/ 74 h 77"/>
                <a:gd name="T60" fmla="*/ 59 w 203"/>
                <a:gd name="T61" fmla="*/ 66 h 77"/>
                <a:gd name="T62" fmla="*/ 93 w 203"/>
                <a:gd name="T63" fmla="*/ 36 h 77"/>
                <a:gd name="T64" fmla="*/ 93 w 203"/>
                <a:gd name="T65" fmla="*/ 36 h 77"/>
                <a:gd name="T66" fmla="*/ 113 w 203"/>
                <a:gd name="T67" fmla="*/ 41 h 77"/>
                <a:gd name="T68" fmla="*/ 121 w 203"/>
                <a:gd name="T69" fmla="*/ 42 h 77"/>
                <a:gd name="T70" fmla="*/ 133 w 203"/>
                <a:gd name="T71" fmla="*/ 38 h 77"/>
                <a:gd name="T72" fmla="*/ 143 w 203"/>
                <a:gd name="T73" fmla="*/ 27 h 77"/>
                <a:gd name="T74" fmla="*/ 145 w 203"/>
                <a:gd name="T75" fmla="*/ 27 h 77"/>
                <a:gd name="T76" fmla="*/ 155 w 203"/>
                <a:gd name="T77" fmla="*/ 35 h 77"/>
                <a:gd name="T78" fmla="*/ 164 w 203"/>
                <a:gd name="T79" fmla="*/ 48 h 77"/>
                <a:gd name="T80" fmla="*/ 171 w 203"/>
                <a:gd name="T81" fmla="*/ 50 h 77"/>
                <a:gd name="T82" fmla="*/ 176 w 203"/>
                <a:gd name="T83" fmla="*/ 58 h 77"/>
                <a:gd name="T84" fmla="*/ 179 w 203"/>
                <a:gd name="T85" fmla="*/ 69 h 77"/>
                <a:gd name="T86" fmla="*/ 186 w 203"/>
                <a:gd name="T87" fmla="*/ 77 h 77"/>
                <a:gd name="T88" fmla="*/ 187 w 203"/>
                <a:gd name="T89" fmla="*/ 77 h 77"/>
                <a:gd name="T90" fmla="*/ 187 w 203"/>
                <a:gd name="T91" fmla="*/ 75 h 77"/>
                <a:gd name="T92" fmla="*/ 190 w 203"/>
                <a:gd name="T93" fmla="*/ 46 h 77"/>
                <a:gd name="T94" fmla="*/ 190 w 203"/>
                <a:gd name="T95" fmla="*/ 46 h 77"/>
                <a:gd name="T96" fmla="*/ 191 w 203"/>
                <a:gd name="T97" fmla="*/ 34 h 77"/>
                <a:gd name="T98" fmla="*/ 194 w 203"/>
                <a:gd name="T99" fmla="*/ 22 h 77"/>
                <a:gd name="T100" fmla="*/ 199 w 203"/>
                <a:gd name="T101" fmla="*/ 16 h 77"/>
                <a:gd name="T102" fmla="*/ 200 w 203"/>
                <a:gd name="T103" fmla="*/ 15 h 77"/>
                <a:gd name="T104" fmla="*/ 203 w 203"/>
                <a:gd name="T10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3" h="77">
                  <a:moveTo>
                    <a:pt x="203" y="0"/>
                  </a:moveTo>
                  <a:cubicBezTo>
                    <a:pt x="203" y="3"/>
                    <a:pt x="201" y="6"/>
                    <a:pt x="199" y="9"/>
                  </a:cubicBezTo>
                  <a:cubicBezTo>
                    <a:pt x="198" y="11"/>
                    <a:pt x="196" y="13"/>
                    <a:pt x="194" y="15"/>
                  </a:cubicBezTo>
                  <a:cubicBezTo>
                    <a:pt x="192" y="19"/>
                    <a:pt x="191" y="23"/>
                    <a:pt x="191" y="27"/>
                  </a:cubicBezTo>
                  <a:cubicBezTo>
                    <a:pt x="187" y="70"/>
                    <a:pt x="187" y="70"/>
                    <a:pt x="187" y="70"/>
                  </a:cubicBezTo>
                  <a:cubicBezTo>
                    <a:pt x="176" y="68"/>
                    <a:pt x="181" y="49"/>
                    <a:pt x="171" y="43"/>
                  </a:cubicBezTo>
                  <a:cubicBezTo>
                    <a:pt x="169" y="42"/>
                    <a:pt x="166" y="42"/>
                    <a:pt x="164" y="41"/>
                  </a:cubicBezTo>
                  <a:cubicBezTo>
                    <a:pt x="159" y="38"/>
                    <a:pt x="157" y="33"/>
                    <a:pt x="155" y="29"/>
                  </a:cubicBezTo>
                  <a:cubicBezTo>
                    <a:pt x="153" y="25"/>
                    <a:pt x="149" y="20"/>
                    <a:pt x="145" y="20"/>
                  </a:cubicBezTo>
                  <a:cubicBezTo>
                    <a:pt x="144" y="20"/>
                    <a:pt x="144" y="20"/>
                    <a:pt x="143" y="21"/>
                  </a:cubicBezTo>
                  <a:cubicBezTo>
                    <a:pt x="138" y="22"/>
                    <a:pt x="136" y="28"/>
                    <a:pt x="133" y="31"/>
                  </a:cubicBezTo>
                  <a:cubicBezTo>
                    <a:pt x="130" y="34"/>
                    <a:pt x="126" y="35"/>
                    <a:pt x="121" y="35"/>
                  </a:cubicBezTo>
                  <a:cubicBezTo>
                    <a:pt x="119" y="35"/>
                    <a:pt x="116" y="34"/>
                    <a:pt x="113" y="34"/>
                  </a:cubicBezTo>
                  <a:cubicBezTo>
                    <a:pt x="106" y="32"/>
                    <a:pt x="100" y="29"/>
                    <a:pt x="93" y="29"/>
                  </a:cubicBezTo>
                  <a:cubicBezTo>
                    <a:pt x="77" y="30"/>
                    <a:pt x="67" y="45"/>
                    <a:pt x="60" y="59"/>
                  </a:cubicBezTo>
                  <a:cubicBezTo>
                    <a:pt x="58" y="62"/>
                    <a:pt x="56" y="65"/>
                    <a:pt x="53" y="67"/>
                  </a:cubicBezTo>
                  <a:cubicBezTo>
                    <a:pt x="51" y="68"/>
                    <a:pt x="49" y="69"/>
                    <a:pt x="47" y="69"/>
                  </a:cubicBezTo>
                  <a:cubicBezTo>
                    <a:pt x="40" y="69"/>
                    <a:pt x="33" y="63"/>
                    <a:pt x="32" y="56"/>
                  </a:cubicBezTo>
                  <a:cubicBezTo>
                    <a:pt x="31" y="51"/>
                    <a:pt x="33" y="46"/>
                    <a:pt x="30" y="41"/>
                  </a:cubicBezTo>
                  <a:cubicBezTo>
                    <a:pt x="27" y="37"/>
                    <a:pt x="20" y="36"/>
                    <a:pt x="15" y="34"/>
                  </a:cubicBezTo>
                  <a:cubicBezTo>
                    <a:pt x="6" y="29"/>
                    <a:pt x="1" y="19"/>
                    <a:pt x="0" y="9"/>
                  </a:cubicBezTo>
                  <a:cubicBezTo>
                    <a:pt x="0" y="13"/>
                    <a:pt x="0" y="18"/>
                    <a:pt x="1" y="22"/>
                  </a:cubicBezTo>
                  <a:cubicBezTo>
                    <a:pt x="2" y="23"/>
                    <a:pt x="2" y="24"/>
                    <a:pt x="2" y="24"/>
                  </a:cubicBezTo>
                  <a:cubicBezTo>
                    <a:pt x="4" y="31"/>
                    <a:pt x="9" y="37"/>
                    <a:pt x="15" y="40"/>
                  </a:cubicBezTo>
                  <a:cubicBezTo>
                    <a:pt x="20" y="43"/>
                    <a:pt x="27" y="44"/>
                    <a:pt x="30" y="48"/>
                  </a:cubicBezTo>
                  <a:cubicBezTo>
                    <a:pt x="30" y="49"/>
                    <a:pt x="31" y="50"/>
                    <a:pt x="31" y="50"/>
                  </a:cubicBezTo>
                  <a:cubicBezTo>
                    <a:pt x="32" y="54"/>
                    <a:pt x="31" y="59"/>
                    <a:pt x="32" y="63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4" y="71"/>
                    <a:pt x="41" y="76"/>
                    <a:pt x="47" y="76"/>
                  </a:cubicBezTo>
                  <a:cubicBezTo>
                    <a:pt x="49" y="76"/>
                    <a:pt x="51" y="75"/>
                    <a:pt x="53" y="74"/>
                  </a:cubicBezTo>
                  <a:cubicBezTo>
                    <a:pt x="56" y="72"/>
                    <a:pt x="58" y="69"/>
                    <a:pt x="59" y="66"/>
                  </a:cubicBezTo>
                  <a:cubicBezTo>
                    <a:pt x="67" y="52"/>
                    <a:pt x="77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100" y="36"/>
                    <a:pt x="107" y="39"/>
                    <a:pt x="113" y="41"/>
                  </a:cubicBezTo>
                  <a:cubicBezTo>
                    <a:pt x="116" y="41"/>
                    <a:pt x="119" y="42"/>
                    <a:pt x="121" y="42"/>
                  </a:cubicBezTo>
                  <a:cubicBezTo>
                    <a:pt x="125" y="42"/>
                    <a:pt x="130" y="41"/>
                    <a:pt x="133" y="38"/>
                  </a:cubicBezTo>
                  <a:cubicBezTo>
                    <a:pt x="136" y="35"/>
                    <a:pt x="138" y="29"/>
                    <a:pt x="143" y="27"/>
                  </a:cubicBezTo>
                  <a:cubicBezTo>
                    <a:pt x="144" y="27"/>
                    <a:pt x="144" y="27"/>
                    <a:pt x="145" y="27"/>
                  </a:cubicBezTo>
                  <a:cubicBezTo>
                    <a:pt x="149" y="27"/>
                    <a:pt x="153" y="31"/>
                    <a:pt x="155" y="35"/>
                  </a:cubicBezTo>
                  <a:cubicBezTo>
                    <a:pt x="158" y="40"/>
                    <a:pt x="159" y="45"/>
                    <a:pt x="164" y="48"/>
                  </a:cubicBezTo>
                  <a:cubicBezTo>
                    <a:pt x="166" y="49"/>
                    <a:pt x="169" y="49"/>
                    <a:pt x="171" y="50"/>
                  </a:cubicBezTo>
                  <a:cubicBezTo>
                    <a:pt x="174" y="52"/>
                    <a:pt x="175" y="55"/>
                    <a:pt x="176" y="58"/>
                  </a:cubicBezTo>
                  <a:cubicBezTo>
                    <a:pt x="178" y="62"/>
                    <a:pt x="178" y="66"/>
                    <a:pt x="179" y="69"/>
                  </a:cubicBezTo>
                  <a:cubicBezTo>
                    <a:pt x="181" y="73"/>
                    <a:pt x="183" y="76"/>
                    <a:pt x="186" y="77"/>
                  </a:cubicBezTo>
                  <a:cubicBezTo>
                    <a:pt x="186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90" y="46"/>
                    <a:pt x="190" y="46"/>
                    <a:pt x="190" y="46"/>
                  </a:cubicBezTo>
                  <a:cubicBezTo>
                    <a:pt x="190" y="46"/>
                    <a:pt x="190" y="46"/>
                    <a:pt x="190" y="46"/>
                  </a:cubicBezTo>
                  <a:cubicBezTo>
                    <a:pt x="191" y="34"/>
                    <a:pt x="191" y="34"/>
                    <a:pt x="191" y="34"/>
                  </a:cubicBezTo>
                  <a:cubicBezTo>
                    <a:pt x="191" y="30"/>
                    <a:pt x="192" y="26"/>
                    <a:pt x="194" y="22"/>
                  </a:cubicBezTo>
                  <a:cubicBezTo>
                    <a:pt x="196" y="20"/>
                    <a:pt x="198" y="18"/>
                    <a:pt x="199" y="16"/>
                  </a:cubicBezTo>
                  <a:cubicBezTo>
                    <a:pt x="200" y="16"/>
                    <a:pt x="200" y="15"/>
                    <a:pt x="200" y="15"/>
                  </a:cubicBezTo>
                  <a:cubicBezTo>
                    <a:pt x="203" y="10"/>
                    <a:pt x="203" y="5"/>
                    <a:pt x="203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iṥḻiḑè">
              <a:extLst>
                <a:ext uri="{FF2B5EF4-FFF2-40B4-BE49-F238E27FC236}">
                  <a16:creationId xmlns:a16="http://schemas.microsoft.com/office/drawing/2014/main" id="{41493E82-568A-4F59-A09B-F28E5F7ED521}"/>
                </a:ext>
              </a:extLst>
            </p:cNvPr>
            <p:cNvSpPr/>
            <p:nvPr/>
          </p:nvSpPr>
          <p:spPr bwMode="auto">
            <a:xfrm>
              <a:off x="5143501" y="1871663"/>
              <a:ext cx="9525" cy="33338"/>
            </a:xfrm>
            <a:custGeom>
              <a:avLst/>
              <a:gdLst>
                <a:gd name="T0" fmla="*/ 1 w 7"/>
                <a:gd name="T1" fmla="*/ 0 h 23"/>
                <a:gd name="T2" fmla="*/ 1 w 7"/>
                <a:gd name="T3" fmla="*/ 9 h 23"/>
                <a:gd name="T4" fmla="*/ 5 w 7"/>
                <a:gd name="T5" fmla="*/ 19 h 23"/>
                <a:gd name="T6" fmla="*/ 6 w 7"/>
                <a:gd name="T7" fmla="*/ 23 h 23"/>
                <a:gd name="T8" fmla="*/ 5 w 7"/>
                <a:gd name="T9" fmla="*/ 12 h 23"/>
                <a:gd name="T10" fmla="*/ 1 w 7"/>
                <a:gd name="T11" fmla="*/ 2 h 23"/>
                <a:gd name="T12" fmla="*/ 1 w 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3">
                  <a:moveTo>
                    <a:pt x="1" y="0"/>
                  </a:moveTo>
                  <a:cubicBezTo>
                    <a:pt x="0" y="3"/>
                    <a:pt x="0" y="6"/>
                    <a:pt x="1" y="9"/>
                  </a:cubicBezTo>
                  <a:cubicBezTo>
                    <a:pt x="2" y="12"/>
                    <a:pt x="4" y="15"/>
                    <a:pt x="5" y="19"/>
                  </a:cubicBezTo>
                  <a:cubicBezTo>
                    <a:pt x="6" y="20"/>
                    <a:pt x="6" y="22"/>
                    <a:pt x="6" y="23"/>
                  </a:cubicBezTo>
                  <a:cubicBezTo>
                    <a:pt x="7" y="19"/>
                    <a:pt x="6" y="15"/>
                    <a:pt x="5" y="12"/>
                  </a:cubicBezTo>
                  <a:cubicBezTo>
                    <a:pt x="4" y="8"/>
                    <a:pt x="2" y="5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ïṡ1îde">
              <a:extLst>
                <a:ext uri="{FF2B5EF4-FFF2-40B4-BE49-F238E27FC236}">
                  <a16:creationId xmlns:a16="http://schemas.microsoft.com/office/drawing/2014/main" id="{E1AA954E-184D-4795-A2DD-BEB98D100D56}"/>
                </a:ext>
              </a:extLst>
            </p:cNvPr>
            <p:cNvSpPr/>
            <p:nvPr/>
          </p:nvSpPr>
          <p:spPr bwMode="auto">
            <a:xfrm>
              <a:off x="5405438" y="2311400"/>
              <a:ext cx="220663" cy="139700"/>
            </a:xfrm>
            <a:custGeom>
              <a:avLst/>
              <a:gdLst>
                <a:gd name="T0" fmla="*/ 150 w 152"/>
                <a:gd name="T1" fmla="*/ 0 h 97"/>
                <a:gd name="T2" fmla="*/ 100 w 152"/>
                <a:gd name="T3" fmla="*/ 20 h 97"/>
                <a:gd name="T4" fmla="*/ 69 w 152"/>
                <a:gd name="T5" fmla="*/ 25 h 97"/>
                <a:gd name="T6" fmla="*/ 61 w 152"/>
                <a:gd name="T7" fmla="*/ 25 h 97"/>
                <a:gd name="T8" fmla="*/ 1 w 152"/>
                <a:gd name="T9" fmla="*/ 48 h 97"/>
                <a:gd name="T10" fmla="*/ 0 w 152"/>
                <a:gd name="T11" fmla="*/ 97 h 97"/>
                <a:gd name="T12" fmla="*/ 0 w 152"/>
                <a:gd name="T13" fmla="*/ 97 h 97"/>
                <a:gd name="T14" fmla="*/ 76 w 152"/>
                <a:gd name="T15" fmla="*/ 87 h 97"/>
                <a:gd name="T16" fmla="*/ 144 w 152"/>
                <a:gd name="T17" fmla="*/ 69 h 97"/>
                <a:gd name="T18" fmla="*/ 152 w 152"/>
                <a:gd name="T19" fmla="*/ 67 h 97"/>
                <a:gd name="T20" fmla="*/ 150 w 152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2" h="97">
                  <a:moveTo>
                    <a:pt x="150" y="0"/>
                  </a:moveTo>
                  <a:cubicBezTo>
                    <a:pt x="150" y="0"/>
                    <a:pt x="110" y="13"/>
                    <a:pt x="100" y="20"/>
                  </a:cubicBezTo>
                  <a:cubicBezTo>
                    <a:pt x="94" y="25"/>
                    <a:pt x="78" y="25"/>
                    <a:pt x="69" y="25"/>
                  </a:cubicBezTo>
                  <a:cubicBezTo>
                    <a:pt x="64" y="25"/>
                    <a:pt x="61" y="25"/>
                    <a:pt x="61" y="25"/>
                  </a:cubicBezTo>
                  <a:cubicBezTo>
                    <a:pt x="61" y="25"/>
                    <a:pt x="32" y="27"/>
                    <a:pt x="1" y="48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28" y="97"/>
                    <a:pt x="66" y="90"/>
                    <a:pt x="76" y="87"/>
                  </a:cubicBezTo>
                  <a:cubicBezTo>
                    <a:pt x="96" y="83"/>
                    <a:pt x="144" y="69"/>
                    <a:pt x="144" y="69"/>
                  </a:cubicBezTo>
                  <a:cubicBezTo>
                    <a:pt x="152" y="67"/>
                    <a:pt x="152" y="67"/>
                    <a:pt x="152" y="67"/>
                  </a:cubicBezTo>
                  <a:cubicBezTo>
                    <a:pt x="152" y="38"/>
                    <a:pt x="151" y="10"/>
                    <a:pt x="150" y="0"/>
                  </a:cubicBezTo>
                </a:path>
              </a:pathLst>
            </a:custGeom>
            <a:solidFill>
              <a:srgbClr val="5C5A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iśľíďè">
              <a:extLst>
                <a:ext uri="{FF2B5EF4-FFF2-40B4-BE49-F238E27FC236}">
                  <a16:creationId xmlns:a16="http://schemas.microsoft.com/office/drawing/2014/main" id="{A828212F-EB51-4B44-977D-90365F4E7C8B}"/>
                </a:ext>
              </a:extLst>
            </p:cNvPr>
            <p:cNvSpPr/>
            <p:nvPr/>
          </p:nvSpPr>
          <p:spPr bwMode="auto">
            <a:xfrm>
              <a:off x="5345113" y="2381250"/>
              <a:ext cx="61913" cy="69850"/>
            </a:xfrm>
            <a:custGeom>
              <a:avLst/>
              <a:gdLst>
                <a:gd name="T0" fmla="*/ 43 w 43"/>
                <a:gd name="T1" fmla="*/ 0 h 49"/>
                <a:gd name="T2" fmla="*/ 18 w 43"/>
                <a:gd name="T3" fmla="*/ 23 h 49"/>
                <a:gd name="T4" fmla="*/ 42 w 43"/>
                <a:gd name="T5" fmla="*/ 49 h 49"/>
                <a:gd name="T6" fmla="*/ 43 w 43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49">
                  <a:moveTo>
                    <a:pt x="43" y="0"/>
                  </a:moveTo>
                  <a:cubicBezTo>
                    <a:pt x="35" y="6"/>
                    <a:pt x="26" y="13"/>
                    <a:pt x="18" y="23"/>
                  </a:cubicBezTo>
                  <a:cubicBezTo>
                    <a:pt x="0" y="43"/>
                    <a:pt x="17" y="49"/>
                    <a:pt x="42" y="49"/>
                  </a:cubicBezTo>
                  <a:cubicBezTo>
                    <a:pt x="43" y="0"/>
                    <a:pt x="43" y="0"/>
                    <a:pt x="43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ïṧḷïḍè">
              <a:extLst>
                <a:ext uri="{FF2B5EF4-FFF2-40B4-BE49-F238E27FC236}">
                  <a16:creationId xmlns:a16="http://schemas.microsoft.com/office/drawing/2014/main" id="{2282477A-85F8-464C-8962-2A2E6DB20176}"/>
                </a:ext>
              </a:extLst>
            </p:cNvPr>
            <p:cNvSpPr/>
            <p:nvPr/>
          </p:nvSpPr>
          <p:spPr bwMode="auto">
            <a:xfrm>
              <a:off x="5314951" y="2289175"/>
              <a:ext cx="496888" cy="180975"/>
            </a:xfrm>
            <a:custGeom>
              <a:avLst/>
              <a:gdLst>
                <a:gd name="T0" fmla="*/ 335 w 343"/>
                <a:gd name="T1" fmla="*/ 24 h 125"/>
                <a:gd name="T2" fmla="*/ 340 w 343"/>
                <a:gd name="T3" fmla="*/ 40 h 125"/>
                <a:gd name="T4" fmla="*/ 337 w 343"/>
                <a:gd name="T5" fmla="*/ 44 h 125"/>
                <a:gd name="T6" fmla="*/ 296 w 343"/>
                <a:gd name="T7" fmla="*/ 65 h 125"/>
                <a:gd name="T8" fmla="*/ 206 w 343"/>
                <a:gd name="T9" fmla="*/ 80 h 125"/>
                <a:gd name="T10" fmla="*/ 205 w 343"/>
                <a:gd name="T11" fmla="*/ 81 h 125"/>
                <a:gd name="T12" fmla="*/ 138 w 343"/>
                <a:gd name="T13" fmla="*/ 99 h 125"/>
                <a:gd name="T14" fmla="*/ 38 w 343"/>
                <a:gd name="T15" fmla="*/ 82 h 125"/>
                <a:gd name="T16" fmla="*/ 122 w 343"/>
                <a:gd name="T17" fmla="*/ 37 h 125"/>
                <a:gd name="T18" fmla="*/ 124 w 343"/>
                <a:gd name="T19" fmla="*/ 37 h 125"/>
                <a:gd name="T20" fmla="*/ 162 w 343"/>
                <a:gd name="T21" fmla="*/ 32 h 125"/>
                <a:gd name="T22" fmla="*/ 177 w 343"/>
                <a:gd name="T23" fmla="*/ 24 h 125"/>
                <a:gd name="T24" fmla="*/ 236 w 343"/>
                <a:gd name="T25" fmla="*/ 7 h 125"/>
                <a:gd name="T26" fmla="*/ 277 w 343"/>
                <a:gd name="T27" fmla="*/ 0 h 125"/>
                <a:gd name="T28" fmla="*/ 284 w 343"/>
                <a:gd name="T29" fmla="*/ 1 h 125"/>
                <a:gd name="T30" fmla="*/ 335 w 343"/>
                <a:gd name="T31" fmla="*/ 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3" h="125">
                  <a:moveTo>
                    <a:pt x="335" y="24"/>
                  </a:moveTo>
                  <a:cubicBezTo>
                    <a:pt x="340" y="27"/>
                    <a:pt x="343" y="34"/>
                    <a:pt x="340" y="40"/>
                  </a:cubicBezTo>
                  <a:cubicBezTo>
                    <a:pt x="340" y="41"/>
                    <a:pt x="339" y="43"/>
                    <a:pt x="337" y="44"/>
                  </a:cubicBezTo>
                  <a:cubicBezTo>
                    <a:pt x="327" y="53"/>
                    <a:pt x="311" y="63"/>
                    <a:pt x="296" y="65"/>
                  </a:cubicBezTo>
                  <a:cubicBezTo>
                    <a:pt x="272" y="67"/>
                    <a:pt x="212" y="79"/>
                    <a:pt x="206" y="80"/>
                  </a:cubicBezTo>
                  <a:cubicBezTo>
                    <a:pt x="205" y="81"/>
                    <a:pt x="205" y="81"/>
                    <a:pt x="205" y="81"/>
                  </a:cubicBezTo>
                  <a:cubicBezTo>
                    <a:pt x="200" y="82"/>
                    <a:pt x="157" y="95"/>
                    <a:pt x="138" y="99"/>
                  </a:cubicBezTo>
                  <a:cubicBezTo>
                    <a:pt x="118" y="103"/>
                    <a:pt x="0" y="125"/>
                    <a:pt x="38" y="82"/>
                  </a:cubicBezTo>
                  <a:cubicBezTo>
                    <a:pt x="60" y="57"/>
                    <a:pt x="90" y="41"/>
                    <a:pt x="122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8" y="37"/>
                    <a:pt x="153" y="38"/>
                    <a:pt x="162" y="32"/>
                  </a:cubicBezTo>
                  <a:cubicBezTo>
                    <a:pt x="167" y="29"/>
                    <a:pt x="172" y="26"/>
                    <a:pt x="177" y="24"/>
                  </a:cubicBezTo>
                  <a:cubicBezTo>
                    <a:pt x="196" y="17"/>
                    <a:pt x="215" y="11"/>
                    <a:pt x="236" y="7"/>
                  </a:cubicBezTo>
                  <a:cubicBezTo>
                    <a:pt x="277" y="0"/>
                    <a:pt x="277" y="0"/>
                    <a:pt x="277" y="0"/>
                  </a:cubicBezTo>
                  <a:cubicBezTo>
                    <a:pt x="279" y="0"/>
                    <a:pt x="281" y="0"/>
                    <a:pt x="284" y="1"/>
                  </a:cubicBezTo>
                  <a:lnTo>
                    <a:pt x="335" y="24"/>
                  </a:lnTo>
                  <a:close/>
                </a:path>
              </a:pathLst>
            </a:custGeom>
            <a:solidFill>
              <a:srgbClr val="BE6F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íṥliḓe">
              <a:extLst>
                <a:ext uri="{FF2B5EF4-FFF2-40B4-BE49-F238E27FC236}">
                  <a16:creationId xmlns:a16="http://schemas.microsoft.com/office/drawing/2014/main" id="{BBCCDC6E-64E9-49E2-B94B-AA6D8DABFF22}"/>
                </a:ext>
              </a:extLst>
            </p:cNvPr>
            <p:cNvSpPr/>
            <p:nvPr/>
          </p:nvSpPr>
          <p:spPr bwMode="auto">
            <a:xfrm>
              <a:off x="5584826" y="2157413"/>
              <a:ext cx="327025" cy="206375"/>
            </a:xfrm>
            <a:custGeom>
              <a:avLst/>
              <a:gdLst>
                <a:gd name="T0" fmla="*/ 62 w 226"/>
                <a:gd name="T1" fmla="*/ 1 h 142"/>
                <a:gd name="T2" fmla="*/ 82 w 226"/>
                <a:gd name="T3" fmla="*/ 0 h 142"/>
                <a:gd name="T4" fmla="*/ 118 w 226"/>
                <a:gd name="T5" fmla="*/ 15 h 142"/>
                <a:gd name="T6" fmla="*/ 144 w 226"/>
                <a:gd name="T7" fmla="*/ 35 h 142"/>
                <a:gd name="T8" fmla="*/ 178 w 226"/>
                <a:gd name="T9" fmla="*/ 49 h 142"/>
                <a:gd name="T10" fmla="*/ 198 w 226"/>
                <a:gd name="T11" fmla="*/ 63 h 142"/>
                <a:gd name="T12" fmla="*/ 206 w 226"/>
                <a:gd name="T13" fmla="*/ 81 h 142"/>
                <a:gd name="T14" fmla="*/ 216 w 226"/>
                <a:gd name="T15" fmla="*/ 123 h 142"/>
                <a:gd name="T16" fmla="*/ 169 w 226"/>
                <a:gd name="T17" fmla="*/ 140 h 142"/>
                <a:gd name="T18" fmla="*/ 152 w 226"/>
                <a:gd name="T19" fmla="*/ 140 h 142"/>
                <a:gd name="T20" fmla="*/ 82 w 226"/>
                <a:gd name="T21" fmla="*/ 91 h 142"/>
                <a:gd name="T22" fmla="*/ 26 w 226"/>
                <a:gd name="T23" fmla="*/ 103 h 142"/>
                <a:gd name="T24" fmla="*/ 0 w 226"/>
                <a:gd name="T25" fmla="*/ 49 h 142"/>
                <a:gd name="T26" fmla="*/ 62 w 226"/>
                <a:gd name="T27" fmla="*/ 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42">
                  <a:moveTo>
                    <a:pt x="62" y="1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103" y="15"/>
                    <a:pt x="118" y="15"/>
                  </a:cubicBezTo>
                  <a:cubicBezTo>
                    <a:pt x="134" y="15"/>
                    <a:pt x="144" y="35"/>
                    <a:pt x="144" y="35"/>
                  </a:cubicBezTo>
                  <a:cubicBezTo>
                    <a:pt x="144" y="35"/>
                    <a:pt x="170" y="48"/>
                    <a:pt x="178" y="49"/>
                  </a:cubicBezTo>
                  <a:cubicBezTo>
                    <a:pt x="187" y="51"/>
                    <a:pt x="202" y="60"/>
                    <a:pt x="198" y="63"/>
                  </a:cubicBezTo>
                  <a:cubicBezTo>
                    <a:pt x="193" y="67"/>
                    <a:pt x="199" y="75"/>
                    <a:pt x="206" y="81"/>
                  </a:cubicBezTo>
                  <a:cubicBezTo>
                    <a:pt x="214" y="87"/>
                    <a:pt x="226" y="118"/>
                    <a:pt x="216" y="123"/>
                  </a:cubicBezTo>
                  <a:cubicBezTo>
                    <a:pt x="206" y="127"/>
                    <a:pt x="177" y="136"/>
                    <a:pt x="169" y="140"/>
                  </a:cubicBezTo>
                  <a:cubicBezTo>
                    <a:pt x="163" y="142"/>
                    <a:pt x="157" y="142"/>
                    <a:pt x="152" y="140"/>
                  </a:cubicBezTo>
                  <a:cubicBezTo>
                    <a:pt x="152" y="140"/>
                    <a:pt x="105" y="80"/>
                    <a:pt x="82" y="91"/>
                  </a:cubicBezTo>
                  <a:cubicBezTo>
                    <a:pt x="58" y="102"/>
                    <a:pt x="26" y="103"/>
                    <a:pt x="26" y="103"/>
                  </a:cubicBezTo>
                  <a:cubicBezTo>
                    <a:pt x="0" y="49"/>
                    <a:pt x="0" y="49"/>
                    <a:pt x="0" y="49"/>
                  </a:cubicBezTo>
                  <a:lnTo>
                    <a:pt x="62" y="1"/>
                  </a:lnTo>
                  <a:close/>
                </a:path>
              </a:pathLst>
            </a:custGeom>
            <a:solidFill>
              <a:srgbClr val="6764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iş1ïḋê">
              <a:extLst>
                <a:ext uri="{FF2B5EF4-FFF2-40B4-BE49-F238E27FC236}">
                  <a16:creationId xmlns:a16="http://schemas.microsoft.com/office/drawing/2014/main" id="{20DA1DC8-21AE-4D42-B3A9-D16AE398D7CE}"/>
                </a:ext>
              </a:extLst>
            </p:cNvPr>
            <p:cNvSpPr/>
            <p:nvPr/>
          </p:nvSpPr>
          <p:spPr bwMode="auto">
            <a:xfrm>
              <a:off x="6434138" y="3792538"/>
              <a:ext cx="82550" cy="52388"/>
            </a:xfrm>
            <a:custGeom>
              <a:avLst/>
              <a:gdLst>
                <a:gd name="T0" fmla="*/ 57 w 57"/>
                <a:gd name="T1" fmla="*/ 8 h 36"/>
                <a:gd name="T2" fmla="*/ 0 w 57"/>
                <a:gd name="T3" fmla="*/ 23 h 36"/>
                <a:gd name="T4" fmla="*/ 49 w 57"/>
                <a:gd name="T5" fmla="*/ 22 h 36"/>
                <a:gd name="T6" fmla="*/ 57 w 57"/>
                <a:gd name="T7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36">
                  <a:moveTo>
                    <a:pt x="57" y="8"/>
                  </a:moveTo>
                  <a:cubicBezTo>
                    <a:pt x="57" y="8"/>
                    <a:pt x="23" y="0"/>
                    <a:pt x="0" y="23"/>
                  </a:cubicBezTo>
                  <a:cubicBezTo>
                    <a:pt x="0" y="23"/>
                    <a:pt x="14" y="36"/>
                    <a:pt x="49" y="22"/>
                  </a:cubicBezTo>
                  <a:lnTo>
                    <a:pt x="57" y="8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iṣľïḋè">
              <a:extLst>
                <a:ext uri="{FF2B5EF4-FFF2-40B4-BE49-F238E27FC236}">
                  <a16:creationId xmlns:a16="http://schemas.microsoft.com/office/drawing/2014/main" id="{01847A3B-AEC9-4763-B3BD-E60E97B60C06}"/>
                </a:ext>
              </a:extLst>
            </p:cNvPr>
            <p:cNvSpPr/>
            <p:nvPr/>
          </p:nvSpPr>
          <p:spPr bwMode="auto">
            <a:xfrm>
              <a:off x="6508751" y="3802063"/>
              <a:ext cx="44450" cy="85725"/>
            </a:xfrm>
            <a:custGeom>
              <a:avLst/>
              <a:gdLst>
                <a:gd name="T0" fmla="*/ 10 w 31"/>
                <a:gd name="T1" fmla="*/ 0 h 59"/>
                <a:gd name="T2" fmla="*/ 18 w 31"/>
                <a:gd name="T3" fmla="*/ 59 h 59"/>
                <a:gd name="T4" fmla="*/ 0 w 31"/>
                <a:gd name="T5" fmla="*/ 14 h 59"/>
                <a:gd name="T6" fmla="*/ 10 w 31"/>
                <a:gd name="T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59">
                  <a:moveTo>
                    <a:pt x="10" y="0"/>
                  </a:moveTo>
                  <a:cubicBezTo>
                    <a:pt x="10" y="0"/>
                    <a:pt x="31" y="30"/>
                    <a:pt x="18" y="59"/>
                  </a:cubicBezTo>
                  <a:cubicBezTo>
                    <a:pt x="18" y="59"/>
                    <a:pt x="0" y="51"/>
                    <a:pt x="0" y="14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îṥlïḍè">
              <a:extLst>
                <a:ext uri="{FF2B5EF4-FFF2-40B4-BE49-F238E27FC236}">
                  <a16:creationId xmlns:a16="http://schemas.microsoft.com/office/drawing/2014/main" id="{B5E9B652-F6FF-4E0C-834C-30ED4BE3F755}"/>
                </a:ext>
              </a:extLst>
            </p:cNvPr>
            <p:cNvSpPr/>
            <p:nvPr/>
          </p:nvSpPr>
          <p:spPr bwMode="auto">
            <a:xfrm>
              <a:off x="6453188" y="3700463"/>
              <a:ext cx="103188" cy="73025"/>
            </a:xfrm>
            <a:custGeom>
              <a:avLst/>
              <a:gdLst>
                <a:gd name="T0" fmla="*/ 71 w 71"/>
                <a:gd name="T1" fmla="*/ 27 h 50"/>
                <a:gd name="T2" fmla="*/ 0 w 71"/>
                <a:gd name="T3" fmla="*/ 32 h 50"/>
                <a:gd name="T4" fmla="*/ 32 w 71"/>
                <a:gd name="T5" fmla="*/ 50 h 50"/>
                <a:gd name="T6" fmla="*/ 71 w 71"/>
                <a:gd name="T7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50">
                  <a:moveTo>
                    <a:pt x="71" y="27"/>
                  </a:moveTo>
                  <a:cubicBezTo>
                    <a:pt x="71" y="27"/>
                    <a:pt x="59" y="0"/>
                    <a:pt x="0" y="32"/>
                  </a:cubicBezTo>
                  <a:cubicBezTo>
                    <a:pt x="0" y="32"/>
                    <a:pt x="7" y="50"/>
                    <a:pt x="32" y="50"/>
                  </a:cubicBezTo>
                  <a:cubicBezTo>
                    <a:pt x="56" y="50"/>
                    <a:pt x="64" y="40"/>
                    <a:pt x="71" y="27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ïṧlïdê">
              <a:extLst>
                <a:ext uri="{FF2B5EF4-FFF2-40B4-BE49-F238E27FC236}">
                  <a16:creationId xmlns:a16="http://schemas.microsoft.com/office/drawing/2014/main" id="{D53D2457-4EED-499E-9AB8-5BBFF5456374}"/>
                </a:ext>
              </a:extLst>
            </p:cNvPr>
            <p:cNvSpPr/>
            <p:nvPr/>
          </p:nvSpPr>
          <p:spPr bwMode="auto">
            <a:xfrm>
              <a:off x="6542088" y="3735388"/>
              <a:ext cx="61913" cy="100013"/>
            </a:xfrm>
            <a:custGeom>
              <a:avLst/>
              <a:gdLst>
                <a:gd name="T0" fmla="*/ 14 w 43"/>
                <a:gd name="T1" fmla="*/ 1 h 69"/>
                <a:gd name="T2" fmla="*/ 42 w 43"/>
                <a:gd name="T3" fmla="*/ 66 h 69"/>
                <a:gd name="T4" fmla="*/ 11 w 43"/>
                <a:gd name="T5" fmla="*/ 47 h 69"/>
                <a:gd name="T6" fmla="*/ 14 w 43"/>
                <a:gd name="T7" fmla="*/ 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69">
                  <a:moveTo>
                    <a:pt x="14" y="1"/>
                  </a:moveTo>
                  <a:cubicBezTo>
                    <a:pt x="14" y="1"/>
                    <a:pt x="43" y="0"/>
                    <a:pt x="42" y="66"/>
                  </a:cubicBezTo>
                  <a:cubicBezTo>
                    <a:pt x="42" y="66"/>
                    <a:pt x="23" y="69"/>
                    <a:pt x="11" y="47"/>
                  </a:cubicBezTo>
                  <a:cubicBezTo>
                    <a:pt x="0" y="25"/>
                    <a:pt x="6" y="14"/>
                    <a:pt x="14" y="1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îś1íḑe">
              <a:extLst>
                <a:ext uri="{FF2B5EF4-FFF2-40B4-BE49-F238E27FC236}">
                  <a16:creationId xmlns:a16="http://schemas.microsoft.com/office/drawing/2014/main" id="{D156C072-8274-4265-9DA2-82ADA20B5892}"/>
                </a:ext>
              </a:extLst>
            </p:cNvPr>
            <p:cNvSpPr/>
            <p:nvPr/>
          </p:nvSpPr>
          <p:spPr bwMode="auto">
            <a:xfrm>
              <a:off x="6483351" y="3594100"/>
              <a:ext cx="107950" cy="103188"/>
            </a:xfrm>
            <a:custGeom>
              <a:avLst/>
              <a:gdLst>
                <a:gd name="T0" fmla="*/ 74 w 74"/>
                <a:gd name="T1" fmla="*/ 47 h 71"/>
                <a:gd name="T2" fmla="*/ 0 w 74"/>
                <a:gd name="T3" fmla="*/ 29 h 71"/>
                <a:gd name="T4" fmla="*/ 67 w 74"/>
                <a:gd name="T5" fmla="*/ 62 h 71"/>
                <a:gd name="T6" fmla="*/ 74 w 74"/>
                <a:gd name="T7" fmla="*/ 4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71">
                  <a:moveTo>
                    <a:pt x="74" y="47"/>
                  </a:moveTo>
                  <a:cubicBezTo>
                    <a:pt x="74" y="47"/>
                    <a:pt x="61" y="0"/>
                    <a:pt x="0" y="29"/>
                  </a:cubicBezTo>
                  <a:cubicBezTo>
                    <a:pt x="0" y="29"/>
                    <a:pt x="10" y="71"/>
                    <a:pt x="67" y="62"/>
                  </a:cubicBezTo>
                  <a:lnTo>
                    <a:pt x="74" y="47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išḷiḑe">
              <a:extLst>
                <a:ext uri="{FF2B5EF4-FFF2-40B4-BE49-F238E27FC236}">
                  <a16:creationId xmlns:a16="http://schemas.microsoft.com/office/drawing/2014/main" id="{DF312840-292C-4ED1-9638-6C4472A454F9}"/>
                </a:ext>
              </a:extLst>
            </p:cNvPr>
            <p:cNvSpPr/>
            <p:nvPr/>
          </p:nvSpPr>
          <p:spPr bwMode="auto">
            <a:xfrm>
              <a:off x="6500813" y="3495675"/>
              <a:ext cx="123825" cy="122238"/>
            </a:xfrm>
            <a:custGeom>
              <a:avLst/>
              <a:gdLst>
                <a:gd name="T0" fmla="*/ 85 w 85"/>
                <a:gd name="T1" fmla="*/ 48 h 84"/>
                <a:gd name="T2" fmla="*/ 0 w 85"/>
                <a:gd name="T3" fmla="*/ 39 h 84"/>
                <a:gd name="T4" fmla="*/ 80 w 85"/>
                <a:gd name="T5" fmla="*/ 64 h 84"/>
                <a:gd name="T6" fmla="*/ 85 w 85"/>
                <a:gd name="T7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84">
                  <a:moveTo>
                    <a:pt x="85" y="48"/>
                  </a:moveTo>
                  <a:cubicBezTo>
                    <a:pt x="85" y="48"/>
                    <a:pt x="57" y="0"/>
                    <a:pt x="0" y="39"/>
                  </a:cubicBezTo>
                  <a:cubicBezTo>
                    <a:pt x="0" y="39"/>
                    <a:pt x="16" y="84"/>
                    <a:pt x="80" y="64"/>
                  </a:cubicBezTo>
                  <a:lnTo>
                    <a:pt x="85" y="48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iṡ1íḍè">
              <a:extLst>
                <a:ext uri="{FF2B5EF4-FFF2-40B4-BE49-F238E27FC236}">
                  <a16:creationId xmlns:a16="http://schemas.microsoft.com/office/drawing/2014/main" id="{EE79CC79-C806-4B8E-B839-8F3BE146628D}"/>
                </a:ext>
              </a:extLst>
            </p:cNvPr>
            <p:cNvSpPr/>
            <p:nvPr/>
          </p:nvSpPr>
          <p:spPr bwMode="auto">
            <a:xfrm>
              <a:off x="6510338" y="3408363"/>
              <a:ext cx="130175" cy="111125"/>
            </a:xfrm>
            <a:custGeom>
              <a:avLst/>
              <a:gdLst>
                <a:gd name="T0" fmla="*/ 90 w 90"/>
                <a:gd name="T1" fmla="*/ 44 h 77"/>
                <a:gd name="T2" fmla="*/ 0 w 90"/>
                <a:gd name="T3" fmla="*/ 38 h 77"/>
                <a:gd name="T4" fmla="*/ 89 w 90"/>
                <a:gd name="T5" fmla="*/ 55 h 77"/>
                <a:gd name="T6" fmla="*/ 90 w 90"/>
                <a:gd name="T7" fmla="*/ 4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77">
                  <a:moveTo>
                    <a:pt x="90" y="44"/>
                  </a:moveTo>
                  <a:cubicBezTo>
                    <a:pt x="90" y="44"/>
                    <a:pt x="57" y="0"/>
                    <a:pt x="0" y="38"/>
                  </a:cubicBezTo>
                  <a:cubicBezTo>
                    <a:pt x="0" y="38"/>
                    <a:pt x="32" y="77"/>
                    <a:pt x="89" y="55"/>
                  </a:cubicBezTo>
                  <a:lnTo>
                    <a:pt x="90" y="44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ïSļîdê">
              <a:extLst>
                <a:ext uri="{FF2B5EF4-FFF2-40B4-BE49-F238E27FC236}">
                  <a16:creationId xmlns:a16="http://schemas.microsoft.com/office/drawing/2014/main" id="{56694F87-B6F6-43CC-9AF8-B6B86FEF738C}"/>
                </a:ext>
              </a:extLst>
            </p:cNvPr>
            <p:cNvSpPr/>
            <p:nvPr/>
          </p:nvSpPr>
          <p:spPr bwMode="auto">
            <a:xfrm>
              <a:off x="6527801" y="3314700"/>
              <a:ext cx="127000" cy="115888"/>
            </a:xfrm>
            <a:custGeom>
              <a:avLst/>
              <a:gdLst>
                <a:gd name="T0" fmla="*/ 88 w 88"/>
                <a:gd name="T1" fmla="*/ 47 h 80"/>
                <a:gd name="T2" fmla="*/ 0 w 88"/>
                <a:gd name="T3" fmla="*/ 39 h 80"/>
                <a:gd name="T4" fmla="*/ 87 w 88"/>
                <a:gd name="T5" fmla="*/ 57 h 80"/>
                <a:gd name="T6" fmla="*/ 88 w 88"/>
                <a:gd name="T7" fmla="*/ 4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80">
                  <a:moveTo>
                    <a:pt x="88" y="47"/>
                  </a:moveTo>
                  <a:cubicBezTo>
                    <a:pt x="88" y="47"/>
                    <a:pt x="54" y="0"/>
                    <a:pt x="0" y="39"/>
                  </a:cubicBezTo>
                  <a:cubicBezTo>
                    <a:pt x="0" y="39"/>
                    <a:pt x="38" y="80"/>
                    <a:pt x="87" y="57"/>
                  </a:cubicBezTo>
                  <a:lnTo>
                    <a:pt x="88" y="47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iṥlïḋê">
              <a:extLst>
                <a:ext uri="{FF2B5EF4-FFF2-40B4-BE49-F238E27FC236}">
                  <a16:creationId xmlns:a16="http://schemas.microsoft.com/office/drawing/2014/main" id="{C1AB4C67-6F4F-4195-AF0A-39C8CEB98304}"/>
                </a:ext>
              </a:extLst>
            </p:cNvPr>
            <p:cNvSpPr/>
            <p:nvPr/>
          </p:nvSpPr>
          <p:spPr bwMode="auto">
            <a:xfrm>
              <a:off x="6530976" y="3216275"/>
              <a:ext cx="123825" cy="123825"/>
            </a:xfrm>
            <a:custGeom>
              <a:avLst/>
              <a:gdLst>
                <a:gd name="T0" fmla="*/ 85 w 85"/>
                <a:gd name="T1" fmla="*/ 59 h 86"/>
                <a:gd name="T2" fmla="*/ 0 w 85"/>
                <a:gd name="T3" fmla="*/ 35 h 86"/>
                <a:gd name="T4" fmla="*/ 85 w 85"/>
                <a:gd name="T5" fmla="*/ 70 h 86"/>
                <a:gd name="T6" fmla="*/ 85 w 85"/>
                <a:gd name="T7" fmla="*/ 5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86">
                  <a:moveTo>
                    <a:pt x="85" y="59"/>
                  </a:moveTo>
                  <a:cubicBezTo>
                    <a:pt x="85" y="59"/>
                    <a:pt x="51" y="0"/>
                    <a:pt x="0" y="35"/>
                  </a:cubicBezTo>
                  <a:cubicBezTo>
                    <a:pt x="0" y="35"/>
                    <a:pt x="38" y="86"/>
                    <a:pt x="85" y="70"/>
                  </a:cubicBezTo>
                  <a:lnTo>
                    <a:pt x="85" y="59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ïSḻidê">
              <a:extLst>
                <a:ext uri="{FF2B5EF4-FFF2-40B4-BE49-F238E27FC236}">
                  <a16:creationId xmlns:a16="http://schemas.microsoft.com/office/drawing/2014/main" id="{259F7AFB-88CD-4C2D-BF40-D8CCF4D75182}"/>
                </a:ext>
              </a:extLst>
            </p:cNvPr>
            <p:cNvSpPr/>
            <p:nvPr/>
          </p:nvSpPr>
          <p:spPr bwMode="auto">
            <a:xfrm>
              <a:off x="6523038" y="3122613"/>
              <a:ext cx="125413" cy="131763"/>
            </a:xfrm>
            <a:custGeom>
              <a:avLst/>
              <a:gdLst>
                <a:gd name="T0" fmla="*/ 87 w 87"/>
                <a:gd name="T1" fmla="*/ 58 h 91"/>
                <a:gd name="T2" fmla="*/ 0 w 87"/>
                <a:gd name="T3" fmla="*/ 39 h 91"/>
                <a:gd name="T4" fmla="*/ 86 w 87"/>
                <a:gd name="T5" fmla="*/ 69 h 91"/>
                <a:gd name="T6" fmla="*/ 87 w 87"/>
                <a:gd name="T7" fmla="*/ 5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" h="91">
                  <a:moveTo>
                    <a:pt x="87" y="58"/>
                  </a:moveTo>
                  <a:cubicBezTo>
                    <a:pt x="87" y="58"/>
                    <a:pt x="50" y="0"/>
                    <a:pt x="0" y="39"/>
                  </a:cubicBezTo>
                  <a:cubicBezTo>
                    <a:pt x="0" y="39"/>
                    <a:pt x="45" y="91"/>
                    <a:pt x="86" y="69"/>
                  </a:cubicBezTo>
                  <a:lnTo>
                    <a:pt x="87" y="58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îṣḻíďè">
              <a:extLst>
                <a:ext uri="{FF2B5EF4-FFF2-40B4-BE49-F238E27FC236}">
                  <a16:creationId xmlns:a16="http://schemas.microsoft.com/office/drawing/2014/main" id="{D287BB33-9431-440A-BCEE-CBAD512046BE}"/>
                </a:ext>
              </a:extLst>
            </p:cNvPr>
            <p:cNvSpPr/>
            <p:nvPr/>
          </p:nvSpPr>
          <p:spPr bwMode="auto">
            <a:xfrm>
              <a:off x="6507163" y="3040063"/>
              <a:ext cx="128588" cy="112713"/>
            </a:xfrm>
            <a:custGeom>
              <a:avLst/>
              <a:gdLst>
                <a:gd name="T0" fmla="*/ 88 w 89"/>
                <a:gd name="T1" fmla="*/ 56 h 78"/>
                <a:gd name="T2" fmla="*/ 0 w 89"/>
                <a:gd name="T3" fmla="*/ 19 h 78"/>
                <a:gd name="T4" fmla="*/ 89 w 89"/>
                <a:gd name="T5" fmla="*/ 71 h 78"/>
                <a:gd name="T6" fmla="*/ 88 w 89"/>
                <a:gd name="T7" fmla="*/ 5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" h="78">
                  <a:moveTo>
                    <a:pt x="88" y="56"/>
                  </a:moveTo>
                  <a:cubicBezTo>
                    <a:pt x="88" y="56"/>
                    <a:pt x="44" y="0"/>
                    <a:pt x="0" y="19"/>
                  </a:cubicBezTo>
                  <a:cubicBezTo>
                    <a:pt x="0" y="19"/>
                    <a:pt x="47" y="78"/>
                    <a:pt x="89" y="71"/>
                  </a:cubicBezTo>
                  <a:lnTo>
                    <a:pt x="88" y="56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îṣḻiḓê">
              <a:extLst>
                <a:ext uri="{FF2B5EF4-FFF2-40B4-BE49-F238E27FC236}">
                  <a16:creationId xmlns:a16="http://schemas.microsoft.com/office/drawing/2014/main" id="{17454E19-17E3-4E3D-B094-841AF1A6E9DE}"/>
                </a:ext>
              </a:extLst>
            </p:cNvPr>
            <p:cNvSpPr/>
            <p:nvPr/>
          </p:nvSpPr>
          <p:spPr bwMode="auto">
            <a:xfrm>
              <a:off x="6492876" y="2941638"/>
              <a:ext cx="127000" cy="117475"/>
            </a:xfrm>
            <a:custGeom>
              <a:avLst/>
              <a:gdLst>
                <a:gd name="T0" fmla="*/ 85 w 88"/>
                <a:gd name="T1" fmla="*/ 68 h 81"/>
                <a:gd name="T2" fmla="*/ 0 w 88"/>
                <a:gd name="T3" fmla="*/ 19 h 81"/>
                <a:gd name="T4" fmla="*/ 88 w 88"/>
                <a:gd name="T5" fmla="*/ 81 h 81"/>
                <a:gd name="T6" fmla="*/ 85 w 88"/>
                <a:gd name="T7" fmla="*/ 6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81">
                  <a:moveTo>
                    <a:pt x="85" y="68"/>
                  </a:moveTo>
                  <a:cubicBezTo>
                    <a:pt x="85" y="68"/>
                    <a:pt x="34" y="0"/>
                    <a:pt x="0" y="19"/>
                  </a:cubicBezTo>
                  <a:cubicBezTo>
                    <a:pt x="0" y="19"/>
                    <a:pt x="38" y="72"/>
                    <a:pt x="88" y="81"/>
                  </a:cubicBezTo>
                  <a:lnTo>
                    <a:pt x="85" y="68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íślide">
              <a:extLst>
                <a:ext uri="{FF2B5EF4-FFF2-40B4-BE49-F238E27FC236}">
                  <a16:creationId xmlns:a16="http://schemas.microsoft.com/office/drawing/2014/main" id="{0F9A6704-E860-4BFF-8A57-4AC72B303B01}"/>
                </a:ext>
              </a:extLst>
            </p:cNvPr>
            <p:cNvSpPr/>
            <p:nvPr/>
          </p:nvSpPr>
          <p:spPr bwMode="auto">
            <a:xfrm>
              <a:off x="6469063" y="2863850"/>
              <a:ext cx="127000" cy="104775"/>
            </a:xfrm>
            <a:custGeom>
              <a:avLst/>
              <a:gdLst>
                <a:gd name="T0" fmla="*/ 81 w 87"/>
                <a:gd name="T1" fmla="*/ 56 h 72"/>
                <a:gd name="T2" fmla="*/ 0 w 87"/>
                <a:gd name="T3" fmla="*/ 10 h 72"/>
                <a:gd name="T4" fmla="*/ 87 w 87"/>
                <a:gd name="T5" fmla="*/ 72 h 72"/>
                <a:gd name="T6" fmla="*/ 81 w 87"/>
                <a:gd name="T7" fmla="*/ 5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" h="72">
                  <a:moveTo>
                    <a:pt x="81" y="56"/>
                  </a:moveTo>
                  <a:cubicBezTo>
                    <a:pt x="81" y="56"/>
                    <a:pt x="36" y="0"/>
                    <a:pt x="0" y="10"/>
                  </a:cubicBezTo>
                  <a:cubicBezTo>
                    <a:pt x="0" y="10"/>
                    <a:pt x="38" y="68"/>
                    <a:pt x="87" y="72"/>
                  </a:cubicBezTo>
                  <a:lnTo>
                    <a:pt x="81" y="56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í$1iḋe">
              <a:extLst>
                <a:ext uri="{FF2B5EF4-FFF2-40B4-BE49-F238E27FC236}">
                  <a16:creationId xmlns:a16="http://schemas.microsoft.com/office/drawing/2014/main" id="{DF403404-74CE-471C-9E83-625A89A5ABD1}"/>
                </a:ext>
              </a:extLst>
            </p:cNvPr>
            <p:cNvSpPr/>
            <p:nvPr/>
          </p:nvSpPr>
          <p:spPr bwMode="auto">
            <a:xfrm>
              <a:off x="6453188" y="2778125"/>
              <a:ext cx="111125" cy="95250"/>
            </a:xfrm>
            <a:custGeom>
              <a:avLst/>
              <a:gdLst>
                <a:gd name="T0" fmla="*/ 74 w 76"/>
                <a:gd name="T1" fmla="*/ 54 h 66"/>
                <a:gd name="T2" fmla="*/ 0 w 76"/>
                <a:gd name="T3" fmla="*/ 8 h 66"/>
                <a:gd name="T4" fmla="*/ 76 w 76"/>
                <a:gd name="T5" fmla="*/ 66 h 66"/>
                <a:gd name="T6" fmla="*/ 74 w 76"/>
                <a:gd name="T7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66">
                  <a:moveTo>
                    <a:pt x="74" y="54"/>
                  </a:moveTo>
                  <a:cubicBezTo>
                    <a:pt x="74" y="54"/>
                    <a:pt x="24" y="0"/>
                    <a:pt x="0" y="8"/>
                  </a:cubicBezTo>
                  <a:cubicBezTo>
                    <a:pt x="0" y="8"/>
                    <a:pt x="35" y="66"/>
                    <a:pt x="76" y="66"/>
                  </a:cubicBezTo>
                  <a:lnTo>
                    <a:pt x="74" y="54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ï$ļïḋé">
              <a:extLst>
                <a:ext uri="{FF2B5EF4-FFF2-40B4-BE49-F238E27FC236}">
                  <a16:creationId xmlns:a16="http://schemas.microsoft.com/office/drawing/2014/main" id="{2B209682-77A0-4951-93EF-83D9F7B2D105}"/>
                </a:ext>
              </a:extLst>
            </p:cNvPr>
            <p:cNvSpPr/>
            <p:nvPr/>
          </p:nvSpPr>
          <p:spPr bwMode="auto">
            <a:xfrm>
              <a:off x="6435726" y="2681288"/>
              <a:ext cx="98425" cy="101600"/>
            </a:xfrm>
            <a:custGeom>
              <a:avLst/>
              <a:gdLst>
                <a:gd name="T0" fmla="*/ 68 w 68"/>
                <a:gd name="T1" fmla="*/ 64 h 70"/>
                <a:gd name="T2" fmla="*/ 0 w 68"/>
                <a:gd name="T3" fmla="*/ 3 h 70"/>
                <a:gd name="T4" fmla="*/ 68 w 68"/>
                <a:gd name="T5" fmla="*/ 70 h 70"/>
                <a:gd name="T6" fmla="*/ 68 w 68"/>
                <a:gd name="T7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70">
                  <a:moveTo>
                    <a:pt x="68" y="64"/>
                  </a:moveTo>
                  <a:cubicBezTo>
                    <a:pt x="68" y="64"/>
                    <a:pt x="26" y="0"/>
                    <a:pt x="0" y="3"/>
                  </a:cubicBezTo>
                  <a:cubicBezTo>
                    <a:pt x="0" y="3"/>
                    <a:pt x="25" y="59"/>
                    <a:pt x="68" y="70"/>
                  </a:cubicBezTo>
                  <a:lnTo>
                    <a:pt x="68" y="64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ísliḓê">
              <a:extLst>
                <a:ext uri="{FF2B5EF4-FFF2-40B4-BE49-F238E27FC236}">
                  <a16:creationId xmlns:a16="http://schemas.microsoft.com/office/drawing/2014/main" id="{9012B0D6-08EA-4410-B312-7B1F00D42EDF}"/>
                </a:ext>
              </a:extLst>
            </p:cNvPr>
            <p:cNvSpPr/>
            <p:nvPr/>
          </p:nvSpPr>
          <p:spPr bwMode="auto">
            <a:xfrm>
              <a:off x="6421438" y="2590800"/>
              <a:ext cx="88900" cy="95250"/>
            </a:xfrm>
            <a:custGeom>
              <a:avLst/>
              <a:gdLst>
                <a:gd name="T0" fmla="*/ 60 w 61"/>
                <a:gd name="T1" fmla="*/ 51 h 66"/>
                <a:gd name="T2" fmla="*/ 0 w 61"/>
                <a:gd name="T3" fmla="*/ 0 h 66"/>
                <a:gd name="T4" fmla="*/ 61 w 61"/>
                <a:gd name="T5" fmla="*/ 66 h 66"/>
                <a:gd name="T6" fmla="*/ 60 w 61"/>
                <a:gd name="T7" fmla="*/ 5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1" h="66">
                  <a:moveTo>
                    <a:pt x="60" y="51"/>
                  </a:moveTo>
                  <a:cubicBezTo>
                    <a:pt x="60" y="51"/>
                    <a:pt x="22" y="2"/>
                    <a:pt x="0" y="0"/>
                  </a:cubicBezTo>
                  <a:cubicBezTo>
                    <a:pt x="0" y="0"/>
                    <a:pt x="28" y="64"/>
                    <a:pt x="61" y="66"/>
                  </a:cubicBezTo>
                  <a:lnTo>
                    <a:pt x="60" y="51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íṣ1iďé">
              <a:extLst>
                <a:ext uri="{FF2B5EF4-FFF2-40B4-BE49-F238E27FC236}">
                  <a16:creationId xmlns:a16="http://schemas.microsoft.com/office/drawing/2014/main" id="{20B1A90E-3267-4D64-93F5-A1C58631BF4B}"/>
                </a:ext>
              </a:extLst>
            </p:cNvPr>
            <p:cNvSpPr/>
            <p:nvPr/>
          </p:nvSpPr>
          <p:spPr bwMode="auto">
            <a:xfrm>
              <a:off x="6432551" y="2447925"/>
              <a:ext cx="65088" cy="168275"/>
            </a:xfrm>
            <a:custGeom>
              <a:avLst/>
              <a:gdLst>
                <a:gd name="T0" fmla="*/ 41 w 45"/>
                <a:gd name="T1" fmla="*/ 99 h 117"/>
                <a:gd name="T2" fmla="*/ 8 w 45"/>
                <a:gd name="T3" fmla="*/ 0 h 117"/>
                <a:gd name="T4" fmla="*/ 45 w 45"/>
                <a:gd name="T5" fmla="*/ 117 h 117"/>
                <a:gd name="T6" fmla="*/ 41 w 45"/>
                <a:gd name="T7" fmla="*/ 9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17">
                  <a:moveTo>
                    <a:pt x="41" y="9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7"/>
                    <a:pt x="45" y="117"/>
                  </a:cubicBezTo>
                  <a:lnTo>
                    <a:pt x="41" y="99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ïsḷiḍe">
              <a:extLst>
                <a:ext uri="{FF2B5EF4-FFF2-40B4-BE49-F238E27FC236}">
                  <a16:creationId xmlns:a16="http://schemas.microsoft.com/office/drawing/2014/main" id="{EA09E4F7-3537-49C5-8869-4E86261C9E67}"/>
                </a:ext>
              </a:extLst>
            </p:cNvPr>
            <p:cNvSpPr/>
            <p:nvPr/>
          </p:nvSpPr>
          <p:spPr bwMode="auto">
            <a:xfrm>
              <a:off x="6437313" y="2309813"/>
              <a:ext cx="47625" cy="177800"/>
            </a:xfrm>
            <a:custGeom>
              <a:avLst/>
              <a:gdLst>
                <a:gd name="T0" fmla="*/ 30 w 33"/>
                <a:gd name="T1" fmla="*/ 87 h 123"/>
                <a:gd name="T2" fmla="*/ 33 w 33"/>
                <a:gd name="T3" fmla="*/ 0 h 123"/>
                <a:gd name="T4" fmla="*/ 27 w 33"/>
                <a:gd name="T5" fmla="*/ 123 h 123"/>
                <a:gd name="T6" fmla="*/ 30 w 33"/>
                <a:gd name="T7" fmla="*/ 8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123">
                  <a:moveTo>
                    <a:pt x="30" y="87"/>
                  </a:moveTo>
                  <a:cubicBezTo>
                    <a:pt x="30" y="87"/>
                    <a:pt x="28" y="6"/>
                    <a:pt x="33" y="0"/>
                  </a:cubicBezTo>
                  <a:cubicBezTo>
                    <a:pt x="33" y="0"/>
                    <a:pt x="0" y="65"/>
                    <a:pt x="27" y="123"/>
                  </a:cubicBezTo>
                  <a:lnTo>
                    <a:pt x="30" y="87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îṧ1ïḑê">
              <a:extLst>
                <a:ext uri="{FF2B5EF4-FFF2-40B4-BE49-F238E27FC236}">
                  <a16:creationId xmlns:a16="http://schemas.microsoft.com/office/drawing/2014/main" id="{87F61D43-E509-499D-895F-E162E2720930}"/>
                </a:ext>
              </a:extLst>
            </p:cNvPr>
            <p:cNvSpPr/>
            <p:nvPr/>
          </p:nvSpPr>
          <p:spPr bwMode="auto">
            <a:xfrm>
              <a:off x="6584951" y="3627438"/>
              <a:ext cx="103188" cy="123825"/>
            </a:xfrm>
            <a:custGeom>
              <a:avLst/>
              <a:gdLst>
                <a:gd name="T0" fmla="*/ 6 w 71"/>
                <a:gd name="T1" fmla="*/ 23 h 86"/>
                <a:gd name="T2" fmla="*/ 71 w 71"/>
                <a:gd name="T3" fmla="*/ 64 h 86"/>
                <a:gd name="T4" fmla="*/ 0 w 71"/>
                <a:gd name="T5" fmla="*/ 38 h 86"/>
                <a:gd name="T6" fmla="*/ 6 w 71"/>
                <a:gd name="T7" fmla="*/ 2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86">
                  <a:moveTo>
                    <a:pt x="6" y="23"/>
                  </a:moveTo>
                  <a:cubicBezTo>
                    <a:pt x="6" y="23"/>
                    <a:pt x="49" y="0"/>
                    <a:pt x="71" y="64"/>
                  </a:cubicBezTo>
                  <a:cubicBezTo>
                    <a:pt x="71" y="64"/>
                    <a:pt x="33" y="86"/>
                    <a:pt x="0" y="38"/>
                  </a:cubicBezTo>
                  <a:lnTo>
                    <a:pt x="6" y="23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ïṩľïḑé">
              <a:extLst>
                <a:ext uri="{FF2B5EF4-FFF2-40B4-BE49-F238E27FC236}">
                  <a16:creationId xmlns:a16="http://schemas.microsoft.com/office/drawing/2014/main" id="{B685DD5A-B805-470B-A3DB-F7F6E78145C0}"/>
                </a:ext>
              </a:extLst>
            </p:cNvPr>
            <p:cNvSpPr/>
            <p:nvPr/>
          </p:nvSpPr>
          <p:spPr bwMode="auto">
            <a:xfrm>
              <a:off x="6618288" y="3533775"/>
              <a:ext cx="112713" cy="131763"/>
            </a:xfrm>
            <a:custGeom>
              <a:avLst/>
              <a:gdLst>
                <a:gd name="T0" fmla="*/ 6 w 78"/>
                <a:gd name="T1" fmla="*/ 20 h 91"/>
                <a:gd name="T2" fmla="*/ 78 w 78"/>
                <a:gd name="T3" fmla="*/ 67 h 91"/>
                <a:gd name="T4" fmla="*/ 0 w 78"/>
                <a:gd name="T5" fmla="*/ 36 h 91"/>
                <a:gd name="T6" fmla="*/ 6 w 78"/>
                <a:gd name="T7" fmla="*/ 2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" h="91">
                  <a:moveTo>
                    <a:pt x="6" y="20"/>
                  </a:moveTo>
                  <a:cubicBezTo>
                    <a:pt x="6" y="20"/>
                    <a:pt x="58" y="0"/>
                    <a:pt x="78" y="67"/>
                  </a:cubicBezTo>
                  <a:cubicBezTo>
                    <a:pt x="78" y="67"/>
                    <a:pt x="37" y="91"/>
                    <a:pt x="0" y="36"/>
                  </a:cubicBezTo>
                  <a:lnTo>
                    <a:pt x="6" y="2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ïṧľíḓé">
              <a:extLst>
                <a:ext uri="{FF2B5EF4-FFF2-40B4-BE49-F238E27FC236}">
                  <a16:creationId xmlns:a16="http://schemas.microsoft.com/office/drawing/2014/main" id="{6240B2D3-73E7-42F8-865E-BC46F5927170}"/>
                </a:ext>
              </a:extLst>
            </p:cNvPr>
            <p:cNvSpPr/>
            <p:nvPr/>
          </p:nvSpPr>
          <p:spPr bwMode="auto">
            <a:xfrm>
              <a:off x="6643688" y="3421063"/>
              <a:ext cx="131763" cy="115888"/>
            </a:xfrm>
            <a:custGeom>
              <a:avLst/>
              <a:gdLst>
                <a:gd name="T0" fmla="*/ 0 w 91"/>
                <a:gd name="T1" fmla="*/ 39 h 80"/>
                <a:gd name="T2" fmla="*/ 91 w 91"/>
                <a:gd name="T3" fmla="*/ 45 h 80"/>
                <a:gd name="T4" fmla="*/ 0 w 91"/>
                <a:gd name="T5" fmla="*/ 50 h 80"/>
                <a:gd name="T6" fmla="*/ 0 w 91"/>
                <a:gd name="T7" fmla="*/ 3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" h="80">
                  <a:moveTo>
                    <a:pt x="0" y="39"/>
                  </a:moveTo>
                  <a:cubicBezTo>
                    <a:pt x="0" y="39"/>
                    <a:pt x="39" y="0"/>
                    <a:pt x="91" y="45"/>
                  </a:cubicBezTo>
                  <a:cubicBezTo>
                    <a:pt x="91" y="45"/>
                    <a:pt x="54" y="80"/>
                    <a:pt x="0" y="5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îśľíḓè">
              <a:extLst>
                <a:ext uri="{FF2B5EF4-FFF2-40B4-BE49-F238E27FC236}">
                  <a16:creationId xmlns:a16="http://schemas.microsoft.com/office/drawing/2014/main" id="{B19626C8-97D2-4346-8183-63FFC702275D}"/>
                </a:ext>
              </a:extLst>
            </p:cNvPr>
            <p:cNvSpPr/>
            <p:nvPr/>
          </p:nvSpPr>
          <p:spPr bwMode="auto">
            <a:xfrm>
              <a:off x="6656388" y="3322638"/>
              <a:ext cx="128588" cy="117475"/>
            </a:xfrm>
            <a:custGeom>
              <a:avLst/>
              <a:gdLst>
                <a:gd name="T0" fmla="*/ 0 w 89"/>
                <a:gd name="T1" fmla="*/ 42 h 82"/>
                <a:gd name="T2" fmla="*/ 89 w 89"/>
                <a:gd name="T3" fmla="*/ 46 h 82"/>
                <a:gd name="T4" fmla="*/ 0 w 89"/>
                <a:gd name="T5" fmla="*/ 52 h 82"/>
                <a:gd name="T6" fmla="*/ 0 w 89"/>
                <a:gd name="T7" fmla="*/ 4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" h="82">
                  <a:moveTo>
                    <a:pt x="0" y="42"/>
                  </a:moveTo>
                  <a:cubicBezTo>
                    <a:pt x="0" y="42"/>
                    <a:pt x="40" y="0"/>
                    <a:pt x="89" y="46"/>
                  </a:cubicBezTo>
                  <a:cubicBezTo>
                    <a:pt x="89" y="46"/>
                    <a:pt x="45" y="82"/>
                    <a:pt x="0" y="52"/>
                  </a:cubicBezTo>
                  <a:lnTo>
                    <a:pt x="0" y="42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ïślîḋe">
              <a:extLst>
                <a:ext uri="{FF2B5EF4-FFF2-40B4-BE49-F238E27FC236}">
                  <a16:creationId xmlns:a16="http://schemas.microsoft.com/office/drawing/2014/main" id="{11611FFD-591D-4F8B-9441-65936EE35422}"/>
                </a:ext>
              </a:extLst>
            </p:cNvPr>
            <p:cNvSpPr/>
            <p:nvPr/>
          </p:nvSpPr>
          <p:spPr bwMode="auto">
            <a:xfrm>
              <a:off x="6654801" y="3214688"/>
              <a:ext cx="122238" cy="123825"/>
            </a:xfrm>
            <a:custGeom>
              <a:avLst/>
              <a:gdLst>
                <a:gd name="T0" fmla="*/ 0 w 84"/>
                <a:gd name="T1" fmla="*/ 62 h 85"/>
                <a:gd name="T2" fmla="*/ 84 w 84"/>
                <a:gd name="T3" fmla="*/ 31 h 85"/>
                <a:gd name="T4" fmla="*/ 2 w 84"/>
                <a:gd name="T5" fmla="*/ 72 h 85"/>
                <a:gd name="T6" fmla="*/ 0 w 84"/>
                <a:gd name="T7" fmla="*/ 6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85">
                  <a:moveTo>
                    <a:pt x="0" y="62"/>
                  </a:moveTo>
                  <a:cubicBezTo>
                    <a:pt x="0" y="62"/>
                    <a:pt x="30" y="0"/>
                    <a:pt x="84" y="31"/>
                  </a:cubicBezTo>
                  <a:cubicBezTo>
                    <a:pt x="84" y="31"/>
                    <a:pt x="50" y="85"/>
                    <a:pt x="2" y="72"/>
                  </a:cubicBezTo>
                  <a:lnTo>
                    <a:pt x="0" y="62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íṣḷîḋè">
              <a:extLst>
                <a:ext uri="{FF2B5EF4-FFF2-40B4-BE49-F238E27FC236}">
                  <a16:creationId xmlns:a16="http://schemas.microsoft.com/office/drawing/2014/main" id="{67D3F606-C381-4C0C-89B1-9A92A8DBE245}"/>
                </a:ext>
              </a:extLst>
            </p:cNvPr>
            <p:cNvSpPr/>
            <p:nvPr/>
          </p:nvSpPr>
          <p:spPr bwMode="auto">
            <a:xfrm>
              <a:off x="6645276" y="3114675"/>
              <a:ext cx="120650" cy="131763"/>
            </a:xfrm>
            <a:custGeom>
              <a:avLst/>
              <a:gdLst>
                <a:gd name="T0" fmla="*/ 0 w 84"/>
                <a:gd name="T1" fmla="*/ 63 h 91"/>
                <a:gd name="T2" fmla="*/ 84 w 84"/>
                <a:gd name="T3" fmla="*/ 34 h 91"/>
                <a:gd name="T4" fmla="*/ 2 w 84"/>
                <a:gd name="T5" fmla="*/ 73 h 91"/>
                <a:gd name="T6" fmla="*/ 0 w 84"/>
                <a:gd name="T7" fmla="*/ 6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91">
                  <a:moveTo>
                    <a:pt x="0" y="63"/>
                  </a:moveTo>
                  <a:cubicBezTo>
                    <a:pt x="0" y="63"/>
                    <a:pt x="29" y="0"/>
                    <a:pt x="84" y="34"/>
                  </a:cubicBezTo>
                  <a:cubicBezTo>
                    <a:pt x="84" y="34"/>
                    <a:pt x="45" y="91"/>
                    <a:pt x="2" y="73"/>
                  </a:cubicBezTo>
                  <a:lnTo>
                    <a:pt x="0" y="63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íṥļíḋè">
              <a:extLst>
                <a:ext uri="{FF2B5EF4-FFF2-40B4-BE49-F238E27FC236}">
                  <a16:creationId xmlns:a16="http://schemas.microsoft.com/office/drawing/2014/main" id="{374113D5-EEED-4273-9CF6-2EDFD56A014C}"/>
                </a:ext>
              </a:extLst>
            </p:cNvPr>
            <p:cNvSpPr/>
            <p:nvPr/>
          </p:nvSpPr>
          <p:spPr bwMode="auto">
            <a:xfrm>
              <a:off x="6627813" y="3014663"/>
              <a:ext cx="88900" cy="125413"/>
            </a:xfrm>
            <a:custGeom>
              <a:avLst/>
              <a:gdLst>
                <a:gd name="T0" fmla="*/ 0 w 62"/>
                <a:gd name="T1" fmla="*/ 73 h 86"/>
                <a:gd name="T2" fmla="*/ 62 w 62"/>
                <a:gd name="T3" fmla="*/ 0 h 86"/>
                <a:gd name="T4" fmla="*/ 5 w 62"/>
                <a:gd name="T5" fmla="*/ 86 h 86"/>
                <a:gd name="T6" fmla="*/ 0 w 62"/>
                <a:gd name="T7" fmla="*/ 7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86">
                  <a:moveTo>
                    <a:pt x="0" y="73"/>
                  </a:moveTo>
                  <a:cubicBezTo>
                    <a:pt x="0" y="73"/>
                    <a:pt x="15" y="3"/>
                    <a:pt x="62" y="0"/>
                  </a:cubicBezTo>
                  <a:cubicBezTo>
                    <a:pt x="62" y="0"/>
                    <a:pt x="47" y="74"/>
                    <a:pt x="5" y="86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íṡ1íḍe">
              <a:extLst>
                <a:ext uri="{FF2B5EF4-FFF2-40B4-BE49-F238E27FC236}">
                  <a16:creationId xmlns:a16="http://schemas.microsoft.com/office/drawing/2014/main" id="{18D95CF4-22FD-48D0-8221-391B6E912F4C}"/>
                </a:ext>
              </a:extLst>
            </p:cNvPr>
            <p:cNvSpPr/>
            <p:nvPr/>
          </p:nvSpPr>
          <p:spPr bwMode="auto">
            <a:xfrm>
              <a:off x="6613526" y="2916238"/>
              <a:ext cx="69850" cy="142875"/>
            </a:xfrm>
            <a:custGeom>
              <a:avLst/>
              <a:gdLst>
                <a:gd name="T0" fmla="*/ 0 w 48"/>
                <a:gd name="T1" fmla="*/ 85 h 98"/>
                <a:gd name="T2" fmla="*/ 48 w 48"/>
                <a:gd name="T3" fmla="*/ 0 h 98"/>
                <a:gd name="T4" fmla="*/ 3 w 48"/>
                <a:gd name="T5" fmla="*/ 98 h 98"/>
                <a:gd name="T6" fmla="*/ 0 w 48"/>
                <a:gd name="T7" fmla="*/ 8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98">
                  <a:moveTo>
                    <a:pt x="0" y="85"/>
                  </a:moveTo>
                  <a:cubicBezTo>
                    <a:pt x="0" y="85"/>
                    <a:pt x="10" y="0"/>
                    <a:pt x="48" y="0"/>
                  </a:cubicBezTo>
                  <a:cubicBezTo>
                    <a:pt x="48" y="0"/>
                    <a:pt x="43" y="64"/>
                    <a:pt x="3" y="98"/>
                  </a:cubicBezTo>
                  <a:lnTo>
                    <a:pt x="0" y="85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iṥlíḍe">
              <a:extLst>
                <a:ext uri="{FF2B5EF4-FFF2-40B4-BE49-F238E27FC236}">
                  <a16:creationId xmlns:a16="http://schemas.microsoft.com/office/drawing/2014/main" id="{C3DD1F00-1431-40F2-8821-14FBED058888}"/>
                </a:ext>
              </a:extLst>
            </p:cNvPr>
            <p:cNvSpPr/>
            <p:nvPr/>
          </p:nvSpPr>
          <p:spPr bwMode="auto">
            <a:xfrm>
              <a:off x="6580188" y="2830513"/>
              <a:ext cx="79375" cy="136525"/>
            </a:xfrm>
            <a:custGeom>
              <a:avLst/>
              <a:gdLst>
                <a:gd name="T0" fmla="*/ 0 w 54"/>
                <a:gd name="T1" fmla="*/ 76 h 94"/>
                <a:gd name="T2" fmla="*/ 54 w 54"/>
                <a:gd name="T3" fmla="*/ 0 h 94"/>
                <a:gd name="T4" fmla="*/ 3 w 54"/>
                <a:gd name="T5" fmla="*/ 94 h 94"/>
                <a:gd name="T6" fmla="*/ 0 w 54"/>
                <a:gd name="T7" fmla="*/ 7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94">
                  <a:moveTo>
                    <a:pt x="0" y="76"/>
                  </a:moveTo>
                  <a:cubicBezTo>
                    <a:pt x="0" y="76"/>
                    <a:pt x="17" y="6"/>
                    <a:pt x="54" y="0"/>
                  </a:cubicBezTo>
                  <a:cubicBezTo>
                    <a:pt x="54" y="0"/>
                    <a:pt x="45" y="68"/>
                    <a:pt x="3" y="94"/>
                  </a:cubicBezTo>
                  <a:lnTo>
                    <a:pt x="0" y="76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îs1îḓè">
              <a:extLst>
                <a:ext uri="{FF2B5EF4-FFF2-40B4-BE49-F238E27FC236}">
                  <a16:creationId xmlns:a16="http://schemas.microsoft.com/office/drawing/2014/main" id="{2A42EC53-1D87-49C6-9832-C94742A41347}"/>
                </a:ext>
              </a:extLst>
            </p:cNvPr>
            <p:cNvSpPr/>
            <p:nvPr/>
          </p:nvSpPr>
          <p:spPr bwMode="auto">
            <a:xfrm>
              <a:off x="6554788" y="2735263"/>
              <a:ext cx="55563" cy="134938"/>
            </a:xfrm>
            <a:custGeom>
              <a:avLst/>
              <a:gdLst>
                <a:gd name="T0" fmla="*/ 0 w 38"/>
                <a:gd name="T1" fmla="*/ 84 h 93"/>
                <a:gd name="T2" fmla="*/ 28 w 38"/>
                <a:gd name="T3" fmla="*/ 0 h 93"/>
                <a:gd name="T4" fmla="*/ 6 w 38"/>
                <a:gd name="T5" fmla="*/ 93 h 93"/>
                <a:gd name="T6" fmla="*/ 0 w 38"/>
                <a:gd name="T7" fmla="*/ 8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93">
                  <a:moveTo>
                    <a:pt x="0" y="84"/>
                  </a:moveTo>
                  <a:cubicBezTo>
                    <a:pt x="0" y="84"/>
                    <a:pt x="5" y="10"/>
                    <a:pt x="28" y="0"/>
                  </a:cubicBezTo>
                  <a:cubicBezTo>
                    <a:pt x="28" y="0"/>
                    <a:pt x="38" y="68"/>
                    <a:pt x="6" y="93"/>
                  </a:cubicBezTo>
                  <a:lnTo>
                    <a:pt x="0" y="84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î$1íḑê">
              <a:extLst>
                <a:ext uri="{FF2B5EF4-FFF2-40B4-BE49-F238E27FC236}">
                  <a16:creationId xmlns:a16="http://schemas.microsoft.com/office/drawing/2014/main" id="{AB3C708C-F560-435D-91C8-BDF415D0709F}"/>
                </a:ext>
              </a:extLst>
            </p:cNvPr>
            <p:cNvSpPr/>
            <p:nvPr/>
          </p:nvSpPr>
          <p:spPr bwMode="auto">
            <a:xfrm>
              <a:off x="6532563" y="2649538"/>
              <a:ext cx="52388" cy="130175"/>
            </a:xfrm>
            <a:custGeom>
              <a:avLst/>
              <a:gdLst>
                <a:gd name="T0" fmla="*/ 0 w 36"/>
                <a:gd name="T1" fmla="*/ 85 h 90"/>
                <a:gd name="T2" fmla="*/ 32 w 36"/>
                <a:gd name="T3" fmla="*/ 0 h 90"/>
                <a:gd name="T4" fmla="*/ 3 w 36"/>
                <a:gd name="T5" fmla="*/ 90 h 90"/>
                <a:gd name="T6" fmla="*/ 0 w 36"/>
                <a:gd name="T7" fmla="*/ 8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90">
                  <a:moveTo>
                    <a:pt x="0" y="85"/>
                  </a:moveTo>
                  <a:cubicBezTo>
                    <a:pt x="0" y="85"/>
                    <a:pt x="8" y="9"/>
                    <a:pt x="32" y="0"/>
                  </a:cubicBezTo>
                  <a:cubicBezTo>
                    <a:pt x="32" y="0"/>
                    <a:pt x="36" y="61"/>
                    <a:pt x="3" y="90"/>
                  </a:cubicBezTo>
                  <a:lnTo>
                    <a:pt x="0" y="85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ï$ļiďè">
              <a:extLst>
                <a:ext uri="{FF2B5EF4-FFF2-40B4-BE49-F238E27FC236}">
                  <a16:creationId xmlns:a16="http://schemas.microsoft.com/office/drawing/2014/main" id="{522BABC0-50D4-4BF7-9163-A1040F6DD6B3}"/>
                </a:ext>
              </a:extLst>
            </p:cNvPr>
            <p:cNvSpPr/>
            <p:nvPr/>
          </p:nvSpPr>
          <p:spPr bwMode="auto">
            <a:xfrm>
              <a:off x="6502401" y="2563813"/>
              <a:ext cx="49213" cy="127000"/>
            </a:xfrm>
            <a:custGeom>
              <a:avLst/>
              <a:gdLst>
                <a:gd name="T0" fmla="*/ 0 w 34"/>
                <a:gd name="T1" fmla="*/ 76 h 88"/>
                <a:gd name="T2" fmla="*/ 22 w 34"/>
                <a:gd name="T3" fmla="*/ 0 h 88"/>
                <a:gd name="T4" fmla="*/ 8 w 34"/>
                <a:gd name="T5" fmla="*/ 88 h 88"/>
                <a:gd name="T6" fmla="*/ 0 w 34"/>
                <a:gd name="T7" fmla="*/ 7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88">
                  <a:moveTo>
                    <a:pt x="0" y="76"/>
                  </a:moveTo>
                  <a:cubicBezTo>
                    <a:pt x="0" y="76"/>
                    <a:pt x="5" y="14"/>
                    <a:pt x="22" y="0"/>
                  </a:cubicBezTo>
                  <a:cubicBezTo>
                    <a:pt x="22" y="0"/>
                    <a:pt x="34" y="69"/>
                    <a:pt x="8" y="88"/>
                  </a:cubicBezTo>
                  <a:lnTo>
                    <a:pt x="0" y="76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iṡḻiďè">
              <a:extLst>
                <a:ext uri="{FF2B5EF4-FFF2-40B4-BE49-F238E27FC236}">
                  <a16:creationId xmlns:a16="http://schemas.microsoft.com/office/drawing/2014/main" id="{3FDC513E-AAFC-4902-9440-E4BDA8CFC326}"/>
                </a:ext>
              </a:extLst>
            </p:cNvPr>
            <p:cNvSpPr/>
            <p:nvPr/>
          </p:nvSpPr>
          <p:spPr bwMode="auto">
            <a:xfrm>
              <a:off x="6494463" y="2439988"/>
              <a:ext cx="58738" cy="173038"/>
            </a:xfrm>
            <a:custGeom>
              <a:avLst/>
              <a:gdLst>
                <a:gd name="T0" fmla="*/ 2 w 41"/>
                <a:gd name="T1" fmla="*/ 101 h 120"/>
                <a:gd name="T2" fmla="*/ 25 w 41"/>
                <a:gd name="T3" fmla="*/ 0 h 120"/>
                <a:gd name="T4" fmla="*/ 0 w 41"/>
                <a:gd name="T5" fmla="*/ 120 h 120"/>
                <a:gd name="T6" fmla="*/ 2 w 41"/>
                <a:gd name="T7" fmla="*/ 10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120">
                  <a:moveTo>
                    <a:pt x="2" y="101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41" y="85"/>
                    <a:pt x="0" y="120"/>
                  </a:cubicBezTo>
                  <a:lnTo>
                    <a:pt x="2" y="101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íṩḷiḍê">
              <a:extLst>
                <a:ext uri="{FF2B5EF4-FFF2-40B4-BE49-F238E27FC236}">
                  <a16:creationId xmlns:a16="http://schemas.microsoft.com/office/drawing/2014/main" id="{B758D9EB-F020-4CBF-84E6-6EB8DDD5D582}"/>
                </a:ext>
              </a:extLst>
            </p:cNvPr>
            <p:cNvSpPr/>
            <p:nvPr/>
          </p:nvSpPr>
          <p:spPr bwMode="auto">
            <a:xfrm>
              <a:off x="6475413" y="2332038"/>
              <a:ext cx="93663" cy="149225"/>
            </a:xfrm>
            <a:custGeom>
              <a:avLst/>
              <a:gdLst>
                <a:gd name="T0" fmla="*/ 18 w 65"/>
                <a:gd name="T1" fmla="*/ 74 h 104"/>
                <a:gd name="T2" fmla="*/ 64 w 65"/>
                <a:gd name="T3" fmla="*/ 0 h 104"/>
                <a:gd name="T4" fmla="*/ 0 w 65"/>
                <a:gd name="T5" fmla="*/ 104 h 104"/>
                <a:gd name="T6" fmla="*/ 18 w 65"/>
                <a:gd name="T7" fmla="*/ 7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104">
                  <a:moveTo>
                    <a:pt x="18" y="74"/>
                  </a:moveTo>
                  <a:cubicBezTo>
                    <a:pt x="18" y="74"/>
                    <a:pt x="65" y="8"/>
                    <a:pt x="64" y="0"/>
                  </a:cubicBezTo>
                  <a:cubicBezTo>
                    <a:pt x="64" y="0"/>
                    <a:pt x="55" y="72"/>
                    <a:pt x="0" y="104"/>
                  </a:cubicBezTo>
                  <a:lnTo>
                    <a:pt x="18" y="74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ïSlîďe">
              <a:extLst>
                <a:ext uri="{FF2B5EF4-FFF2-40B4-BE49-F238E27FC236}">
                  <a16:creationId xmlns:a16="http://schemas.microsoft.com/office/drawing/2014/main" id="{48525EFA-0717-47AE-89EC-5748360E7FAF}"/>
                </a:ext>
              </a:extLst>
            </p:cNvPr>
            <p:cNvSpPr/>
            <p:nvPr/>
          </p:nvSpPr>
          <p:spPr bwMode="auto">
            <a:xfrm>
              <a:off x="6492876" y="2260600"/>
              <a:ext cx="96838" cy="147638"/>
            </a:xfrm>
            <a:custGeom>
              <a:avLst/>
              <a:gdLst>
                <a:gd name="T0" fmla="*/ 3 w 67"/>
                <a:gd name="T1" fmla="*/ 102 h 102"/>
                <a:gd name="T2" fmla="*/ 67 w 67"/>
                <a:gd name="T3" fmla="*/ 0 h 102"/>
                <a:gd name="T4" fmla="*/ 0 w 67"/>
                <a:gd name="T5" fmla="*/ 99 h 102"/>
                <a:gd name="T6" fmla="*/ 3 w 67"/>
                <a:gd name="T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102">
                  <a:moveTo>
                    <a:pt x="3" y="102"/>
                  </a:moveTo>
                  <a:cubicBezTo>
                    <a:pt x="3" y="102"/>
                    <a:pt x="49" y="7"/>
                    <a:pt x="67" y="0"/>
                  </a:cubicBezTo>
                  <a:cubicBezTo>
                    <a:pt x="67" y="0"/>
                    <a:pt x="9" y="25"/>
                    <a:pt x="0" y="99"/>
                  </a:cubicBezTo>
                  <a:lnTo>
                    <a:pt x="3" y="102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íšḷiḓe">
              <a:extLst>
                <a:ext uri="{FF2B5EF4-FFF2-40B4-BE49-F238E27FC236}">
                  <a16:creationId xmlns:a16="http://schemas.microsoft.com/office/drawing/2014/main" id="{EBA3DD51-3607-487C-B8BF-C7EAA393AD27}"/>
                </a:ext>
              </a:extLst>
            </p:cNvPr>
            <p:cNvSpPr/>
            <p:nvPr/>
          </p:nvSpPr>
          <p:spPr bwMode="auto">
            <a:xfrm>
              <a:off x="6465888" y="2398713"/>
              <a:ext cx="47625" cy="288925"/>
            </a:xfrm>
            <a:custGeom>
              <a:avLst/>
              <a:gdLst>
                <a:gd name="T0" fmla="*/ 30 w 33"/>
                <a:gd name="T1" fmla="*/ 199 h 199"/>
                <a:gd name="T2" fmla="*/ 33 w 33"/>
                <a:gd name="T3" fmla="*/ 198 h 199"/>
                <a:gd name="T4" fmla="*/ 22 w 33"/>
                <a:gd name="T5" fmla="*/ 2 h 199"/>
                <a:gd name="T6" fmla="*/ 20 w 33"/>
                <a:gd name="T7" fmla="*/ 0 h 199"/>
                <a:gd name="T8" fmla="*/ 30 w 33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9">
                  <a:moveTo>
                    <a:pt x="30" y="199"/>
                  </a:moveTo>
                  <a:cubicBezTo>
                    <a:pt x="33" y="198"/>
                    <a:pt x="33" y="198"/>
                    <a:pt x="33" y="198"/>
                  </a:cubicBezTo>
                  <a:cubicBezTo>
                    <a:pt x="7" y="88"/>
                    <a:pt x="3" y="18"/>
                    <a:pt x="22" y="2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0" y="17"/>
                    <a:pt x="3" y="85"/>
                    <a:pt x="30" y="199"/>
                  </a:cubicBezTo>
                  <a:close/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isḷiḑe">
              <a:extLst>
                <a:ext uri="{FF2B5EF4-FFF2-40B4-BE49-F238E27FC236}">
                  <a16:creationId xmlns:a16="http://schemas.microsoft.com/office/drawing/2014/main" id="{C2357595-80D3-4368-BCDF-421A46233F14}"/>
                </a:ext>
              </a:extLst>
            </p:cNvPr>
            <p:cNvSpPr/>
            <p:nvPr/>
          </p:nvSpPr>
          <p:spPr bwMode="auto">
            <a:xfrm>
              <a:off x="6507163" y="2674938"/>
              <a:ext cx="115888" cy="387350"/>
            </a:xfrm>
            <a:custGeom>
              <a:avLst/>
              <a:gdLst>
                <a:gd name="T0" fmla="*/ 76 w 80"/>
                <a:gd name="T1" fmla="*/ 268 h 268"/>
                <a:gd name="T2" fmla="*/ 80 w 80"/>
                <a:gd name="T3" fmla="*/ 267 h 268"/>
                <a:gd name="T4" fmla="*/ 71 w 80"/>
                <a:gd name="T5" fmla="*/ 236 h 268"/>
                <a:gd name="T6" fmla="*/ 3 w 80"/>
                <a:gd name="T7" fmla="*/ 2 h 268"/>
                <a:gd name="T8" fmla="*/ 0 w 80"/>
                <a:gd name="T9" fmla="*/ 0 h 268"/>
                <a:gd name="T10" fmla="*/ 67 w 80"/>
                <a:gd name="T11" fmla="*/ 237 h 268"/>
                <a:gd name="T12" fmla="*/ 76 w 80"/>
                <a:gd name="T13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68">
                  <a:moveTo>
                    <a:pt x="76" y="268"/>
                  </a:moveTo>
                  <a:cubicBezTo>
                    <a:pt x="80" y="267"/>
                    <a:pt x="80" y="267"/>
                    <a:pt x="80" y="267"/>
                  </a:cubicBezTo>
                  <a:cubicBezTo>
                    <a:pt x="77" y="256"/>
                    <a:pt x="74" y="246"/>
                    <a:pt x="71" y="236"/>
                  </a:cubicBezTo>
                  <a:cubicBezTo>
                    <a:pt x="42" y="147"/>
                    <a:pt x="18" y="65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63"/>
                    <a:pt x="38" y="149"/>
                    <a:pt x="67" y="237"/>
                  </a:cubicBezTo>
                  <a:cubicBezTo>
                    <a:pt x="70" y="247"/>
                    <a:pt x="73" y="258"/>
                    <a:pt x="76" y="268"/>
                  </a:cubicBezTo>
                  <a:close/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îSļiḋe">
              <a:extLst>
                <a:ext uri="{FF2B5EF4-FFF2-40B4-BE49-F238E27FC236}">
                  <a16:creationId xmlns:a16="http://schemas.microsoft.com/office/drawing/2014/main" id="{C4AC72A4-E73C-4E40-B2C2-84794375076D}"/>
                </a:ext>
              </a:extLst>
            </p:cNvPr>
            <p:cNvSpPr/>
            <p:nvPr/>
          </p:nvSpPr>
          <p:spPr bwMode="auto">
            <a:xfrm>
              <a:off x="6432551" y="3049588"/>
              <a:ext cx="258763" cy="865188"/>
            </a:xfrm>
            <a:custGeom>
              <a:avLst/>
              <a:gdLst>
                <a:gd name="T0" fmla="*/ 3 w 178"/>
                <a:gd name="T1" fmla="*/ 598 h 598"/>
                <a:gd name="T2" fmla="*/ 106 w 178"/>
                <a:gd name="T3" fmla="*/ 440 h 598"/>
                <a:gd name="T4" fmla="*/ 155 w 178"/>
                <a:gd name="T5" fmla="*/ 254 h 598"/>
                <a:gd name="T6" fmla="*/ 129 w 178"/>
                <a:gd name="T7" fmla="*/ 0 h 598"/>
                <a:gd name="T8" fmla="*/ 125 w 178"/>
                <a:gd name="T9" fmla="*/ 3 h 598"/>
                <a:gd name="T10" fmla="*/ 101 w 178"/>
                <a:gd name="T11" fmla="*/ 438 h 598"/>
                <a:gd name="T12" fmla="*/ 0 w 178"/>
                <a:gd name="T13" fmla="*/ 594 h 598"/>
                <a:gd name="T14" fmla="*/ 3 w 178"/>
                <a:gd name="T15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8" h="598">
                  <a:moveTo>
                    <a:pt x="3" y="598"/>
                  </a:moveTo>
                  <a:cubicBezTo>
                    <a:pt x="4" y="598"/>
                    <a:pt x="62" y="541"/>
                    <a:pt x="106" y="440"/>
                  </a:cubicBezTo>
                  <a:cubicBezTo>
                    <a:pt x="132" y="381"/>
                    <a:pt x="149" y="318"/>
                    <a:pt x="155" y="254"/>
                  </a:cubicBezTo>
                  <a:cubicBezTo>
                    <a:pt x="163" y="174"/>
                    <a:pt x="152" y="83"/>
                    <a:pt x="129" y="0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78" y="190"/>
                    <a:pt x="142" y="345"/>
                    <a:pt x="101" y="438"/>
                  </a:cubicBezTo>
                  <a:cubicBezTo>
                    <a:pt x="57" y="538"/>
                    <a:pt x="0" y="594"/>
                    <a:pt x="0" y="594"/>
                  </a:cubicBezTo>
                  <a:lnTo>
                    <a:pt x="3" y="598"/>
                  </a:lnTo>
                  <a:close/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iṡlîḋè">
              <a:extLst>
                <a:ext uri="{FF2B5EF4-FFF2-40B4-BE49-F238E27FC236}">
                  <a16:creationId xmlns:a16="http://schemas.microsoft.com/office/drawing/2014/main" id="{6C0E2D3F-077E-482A-9867-12CE2D848868}"/>
                </a:ext>
              </a:extLst>
            </p:cNvPr>
            <p:cNvSpPr/>
            <p:nvPr/>
          </p:nvSpPr>
          <p:spPr bwMode="auto">
            <a:xfrm>
              <a:off x="7805738" y="5062538"/>
              <a:ext cx="992188" cy="468313"/>
            </a:xfrm>
            <a:custGeom>
              <a:avLst/>
              <a:gdLst>
                <a:gd name="T0" fmla="*/ 675 w 684"/>
                <a:gd name="T1" fmla="*/ 212 h 324"/>
                <a:gd name="T2" fmla="*/ 587 w 684"/>
                <a:gd name="T3" fmla="*/ 311 h 324"/>
                <a:gd name="T4" fmla="*/ 272 w 684"/>
                <a:gd name="T5" fmla="*/ 322 h 324"/>
                <a:gd name="T6" fmla="*/ 83 w 684"/>
                <a:gd name="T7" fmla="*/ 184 h 324"/>
                <a:gd name="T8" fmla="*/ 43 w 684"/>
                <a:gd name="T9" fmla="*/ 18 h 324"/>
                <a:gd name="T10" fmla="*/ 332 w 684"/>
                <a:gd name="T11" fmla="*/ 98 h 324"/>
                <a:gd name="T12" fmla="*/ 404 w 684"/>
                <a:gd name="T13" fmla="*/ 71 h 324"/>
                <a:gd name="T14" fmla="*/ 675 w 684"/>
                <a:gd name="T15" fmla="*/ 21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4" h="324">
                  <a:moveTo>
                    <a:pt x="675" y="212"/>
                  </a:moveTo>
                  <a:cubicBezTo>
                    <a:pt x="675" y="212"/>
                    <a:pt x="660" y="299"/>
                    <a:pt x="587" y="311"/>
                  </a:cubicBezTo>
                  <a:cubicBezTo>
                    <a:pt x="515" y="324"/>
                    <a:pt x="272" y="322"/>
                    <a:pt x="272" y="322"/>
                  </a:cubicBezTo>
                  <a:cubicBezTo>
                    <a:pt x="272" y="322"/>
                    <a:pt x="133" y="302"/>
                    <a:pt x="83" y="184"/>
                  </a:cubicBezTo>
                  <a:cubicBezTo>
                    <a:pt x="32" y="67"/>
                    <a:pt x="0" y="20"/>
                    <a:pt x="43" y="18"/>
                  </a:cubicBezTo>
                  <a:cubicBezTo>
                    <a:pt x="86" y="16"/>
                    <a:pt x="318" y="97"/>
                    <a:pt x="332" y="98"/>
                  </a:cubicBezTo>
                  <a:cubicBezTo>
                    <a:pt x="335" y="98"/>
                    <a:pt x="364" y="84"/>
                    <a:pt x="404" y="71"/>
                  </a:cubicBezTo>
                  <a:cubicBezTo>
                    <a:pt x="507" y="36"/>
                    <a:pt x="684" y="0"/>
                    <a:pt x="675" y="212"/>
                  </a:cubicBezTo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íṩḷíḑé">
              <a:extLst>
                <a:ext uri="{FF2B5EF4-FFF2-40B4-BE49-F238E27FC236}">
                  <a16:creationId xmlns:a16="http://schemas.microsoft.com/office/drawing/2014/main" id="{EBB01D1A-63E7-473E-96CF-30667BCCAF75}"/>
                </a:ext>
              </a:extLst>
            </p:cNvPr>
            <p:cNvSpPr/>
            <p:nvPr/>
          </p:nvSpPr>
          <p:spPr bwMode="auto">
            <a:xfrm>
              <a:off x="8027988" y="5192713"/>
              <a:ext cx="749300" cy="331788"/>
            </a:xfrm>
            <a:custGeom>
              <a:avLst/>
              <a:gdLst>
                <a:gd name="T0" fmla="*/ 507 w 517"/>
                <a:gd name="T1" fmla="*/ 73 h 229"/>
                <a:gd name="T2" fmla="*/ 501 w 517"/>
                <a:gd name="T3" fmla="*/ 97 h 229"/>
                <a:gd name="T4" fmla="*/ 444 w 517"/>
                <a:gd name="T5" fmla="*/ 140 h 229"/>
                <a:gd name="T6" fmla="*/ 439 w 517"/>
                <a:gd name="T7" fmla="*/ 139 h 229"/>
                <a:gd name="T8" fmla="*/ 425 w 517"/>
                <a:gd name="T9" fmla="*/ 139 h 229"/>
                <a:gd name="T10" fmla="*/ 342 w 517"/>
                <a:gd name="T11" fmla="*/ 160 h 229"/>
                <a:gd name="T12" fmla="*/ 339 w 517"/>
                <a:gd name="T13" fmla="*/ 162 h 229"/>
                <a:gd name="T14" fmla="*/ 343 w 517"/>
                <a:gd name="T15" fmla="*/ 229 h 229"/>
                <a:gd name="T16" fmla="*/ 434 w 517"/>
                <a:gd name="T17" fmla="*/ 221 h 229"/>
                <a:gd name="T18" fmla="*/ 517 w 517"/>
                <a:gd name="T19" fmla="*/ 138 h 229"/>
                <a:gd name="T20" fmla="*/ 512 w 517"/>
                <a:gd name="T21" fmla="*/ 126 h 229"/>
                <a:gd name="T22" fmla="*/ 506 w 517"/>
                <a:gd name="T23" fmla="*/ 97 h 229"/>
                <a:gd name="T24" fmla="*/ 507 w 517"/>
                <a:gd name="T25" fmla="*/ 73 h 229"/>
                <a:gd name="T26" fmla="*/ 0 w 517"/>
                <a:gd name="T27" fmla="*/ 0 h 229"/>
                <a:gd name="T28" fmla="*/ 20 w 517"/>
                <a:gd name="T29" fmla="*/ 21 h 229"/>
                <a:gd name="T30" fmla="*/ 28 w 517"/>
                <a:gd name="T31" fmla="*/ 30 h 229"/>
                <a:gd name="T32" fmla="*/ 48 w 517"/>
                <a:gd name="T33" fmla="*/ 51 h 229"/>
                <a:gd name="T34" fmla="*/ 81 w 517"/>
                <a:gd name="T35" fmla="*/ 75 h 229"/>
                <a:gd name="T36" fmla="*/ 104 w 517"/>
                <a:gd name="T37" fmla="*/ 86 h 229"/>
                <a:gd name="T38" fmla="*/ 109 w 517"/>
                <a:gd name="T39" fmla="*/ 90 h 229"/>
                <a:gd name="T40" fmla="*/ 110 w 517"/>
                <a:gd name="T41" fmla="*/ 90 h 229"/>
                <a:gd name="T42" fmla="*/ 114 w 517"/>
                <a:gd name="T43" fmla="*/ 90 h 229"/>
                <a:gd name="T44" fmla="*/ 133 w 517"/>
                <a:gd name="T45" fmla="*/ 86 h 229"/>
                <a:gd name="T46" fmla="*/ 129 w 517"/>
                <a:gd name="T47" fmla="*/ 83 h 229"/>
                <a:gd name="T48" fmla="*/ 129 w 517"/>
                <a:gd name="T49" fmla="*/ 83 h 229"/>
                <a:gd name="T50" fmla="*/ 129 w 517"/>
                <a:gd name="T51" fmla="*/ 83 h 229"/>
                <a:gd name="T52" fmla="*/ 0 w 517"/>
                <a:gd name="T5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7" h="229">
                  <a:moveTo>
                    <a:pt x="507" y="73"/>
                  </a:moveTo>
                  <a:cubicBezTo>
                    <a:pt x="505" y="88"/>
                    <a:pt x="501" y="97"/>
                    <a:pt x="501" y="97"/>
                  </a:cubicBezTo>
                  <a:cubicBezTo>
                    <a:pt x="484" y="129"/>
                    <a:pt x="463" y="140"/>
                    <a:pt x="444" y="140"/>
                  </a:cubicBezTo>
                  <a:cubicBezTo>
                    <a:pt x="443" y="140"/>
                    <a:pt x="441" y="139"/>
                    <a:pt x="439" y="139"/>
                  </a:cubicBezTo>
                  <a:cubicBezTo>
                    <a:pt x="434" y="139"/>
                    <a:pt x="430" y="139"/>
                    <a:pt x="425" y="139"/>
                  </a:cubicBezTo>
                  <a:cubicBezTo>
                    <a:pt x="396" y="139"/>
                    <a:pt x="368" y="146"/>
                    <a:pt x="342" y="160"/>
                  </a:cubicBezTo>
                  <a:cubicBezTo>
                    <a:pt x="341" y="161"/>
                    <a:pt x="340" y="162"/>
                    <a:pt x="339" y="162"/>
                  </a:cubicBezTo>
                  <a:cubicBezTo>
                    <a:pt x="340" y="178"/>
                    <a:pt x="342" y="205"/>
                    <a:pt x="343" y="229"/>
                  </a:cubicBezTo>
                  <a:cubicBezTo>
                    <a:pt x="381" y="227"/>
                    <a:pt x="414" y="225"/>
                    <a:pt x="434" y="221"/>
                  </a:cubicBezTo>
                  <a:cubicBezTo>
                    <a:pt x="487" y="212"/>
                    <a:pt x="509" y="164"/>
                    <a:pt x="517" y="138"/>
                  </a:cubicBezTo>
                  <a:cubicBezTo>
                    <a:pt x="516" y="132"/>
                    <a:pt x="514" y="128"/>
                    <a:pt x="512" y="126"/>
                  </a:cubicBezTo>
                  <a:cubicBezTo>
                    <a:pt x="505" y="121"/>
                    <a:pt x="506" y="97"/>
                    <a:pt x="506" y="97"/>
                  </a:cubicBezTo>
                  <a:cubicBezTo>
                    <a:pt x="506" y="97"/>
                    <a:pt x="513" y="83"/>
                    <a:pt x="507" y="73"/>
                  </a:cubicBezTo>
                  <a:moveTo>
                    <a:pt x="0" y="0"/>
                  </a:moveTo>
                  <a:cubicBezTo>
                    <a:pt x="6" y="6"/>
                    <a:pt x="13" y="13"/>
                    <a:pt x="20" y="21"/>
                  </a:cubicBezTo>
                  <a:cubicBezTo>
                    <a:pt x="24" y="25"/>
                    <a:pt x="27" y="28"/>
                    <a:pt x="28" y="30"/>
                  </a:cubicBezTo>
                  <a:cubicBezTo>
                    <a:pt x="34" y="42"/>
                    <a:pt x="48" y="51"/>
                    <a:pt x="48" y="51"/>
                  </a:cubicBezTo>
                  <a:cubicBezTo>
                    <a:pt x="48" y="51"/>
                    <a:pt x="69" y="74"/>
                    <a:pt x="81" y="75"/>
                  </a:cubicBezTo>
                  <a:cubicBezTo>
                    <a:pt x="89" y="77"/>
                    <a:pt x="97" y="81"/>
                    <a:pt x="104" y="86"/>
                  </a:cubicBezTo>
                  <a:cubicBezTo>
                    <a:pt x="107" y="88"/>
                    <a:pt x="109" y="90"/>
                    <a:pt x="109" y="90"/>
                  </a:cubicBezTo>
                  <a:cubicBezTo>
                    <a:pt x="109" y="90"/>
                    <a:pt x="109" y="90"/>
                    <a:pt x="110" y="90"/>
                  </a:cubicBezTo>
                  <a:cubicBezTo>
                    <a:pt x="111" y="90"/>
                    <a:pt x="112" y="90"/>
                    <a:pt x="114" y="90"/>
                  </a:cubicBezTo>
                  <a:cubicBezTo>
                    <a:pt x="120" y="90"/>
                    <a:pt x="128" y="89"/>
                    <a:pt x="133" y="86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0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î$lîḓe">
              <a:extLst>
                <a:ext uri="{FF2B5EF4-FFF2-40B4-BE49-F238E27FC236}">
                  <a16:creationId xmlns:a16="http://schemas.microsoft.com/office/drawing/2014/main" id="{3DD9DCB8-C53A-438A-BDC6-5C0532DF979B}"/>
                </a:ext>
              </a:extLst>
            </p:cNvPr>
            <p:cNvSpPr/>
            <p:nvPr/>
          </p:nvSpPr>
          <p:spPr bwMode="auto">
            <a:xfrm>
              <a:off x="7834313" y="5318125"/>
              <a:ext cx="327025" cy="220663"/>
            </a:xfrm>
            <a:custGeom>
              <a:avLst/>
              <a:gdLst>
                <a:gd name="T0" fmla="*/ 4 w 226"/>
                <a:gd name="T1" fmla="*/ 131 h 152"/>
                <a:gd name="T2" fmla="*/ 31 w 226"/>
                <a:gd name="T3" fmla="*/ 152 h 152"/>
                <a:gd name="T4" fmla="*/ 40 w 226"/>
                <a:gd name="T5" fmla="*/ 151 h 152"/>
                <a:gd name="T6" fmla="*/ 151 w 226"/>
                <a:gd name="T7" fmla="*/ 140 h 152"/>
                <a:gd name="T8" fmla="*/ 206 w 226"/>
                <a:gd name="T9" fmla="*/ 136 h 152"/>
                <a:gd name="T10" fmla="*/ 226 w 226"/>
                <a:gd name="T11" fmla="*/ 131 h 152"/>
                <a:gd name="T12" fmla="*/ 203 w 226"/>
                <a:gd name="T13" fmla="*/ 61 h 152"/>
                <a:gd name="T14" fmla="*/ 111 w 226"/>
                <a:gd name="T15" fmla="*/ 5 h 152"/>
                <a:gd name="T16" fmla="*/ 40 w 226"/>
                <a:gd name="T17" fmla="*/ 0 h 152"/>
                <a:gd name="T18" fmla="*/ 16 w 226"/>
                <a:gd name="T19" fmla="*/ 14 h 152"/>
                <a:gd name="T20" fmla="*/ 2 w 226"/>
                <a:gd name="T21" fmla="*/ 63 h 152"/>
                <a:gd name="T22" fmla="*/ 4 w 226"/>
                <a:gd name="T23" fmla="*/ 13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6" h="152">
                  <a:moveTo>
                    <a:pt x="4" y="131"/>
                  </a:moveTo>
                  <a:cubicBezTo>
                    <a:pt x="4" y="131"/>
                    <a:pt x="11" y="150"/>
                    <a:pt x="31" y="152"/>
                  </a:cubicBezTo>
                  <a:cubicBezTo>
                    <a:pt x="34" y="152"/>
                    <a:pt x="37" y="152"/>
                    <a:pt x="40" y="151"/>
                  </a:cubicBezTo>
                  <a:cubicBezTo>
                    <a:pt x="67" y="147"/>
                    <a:pt x="129" y="136"/>
                    <a:pt x="151" y="140"/>
                  </a:cubicBezTo>
                  <a:cubicBezTo>
                    <a:pt x="164" y="143"/>
                    <a:pt x="189" y="139"/>
                    <a:pt x="206" y="136"/>
                  </a:cubicBezTo>
                  <a:cubicBezTo>
                    <a:pt x="218" y="133"/>
                    <a:pt x="226" y="131"/>
                    <a:pt x="226" y="131"/>
                  </a:cubicBezTo>
                  <a:cubicBezTo>
                    <a:pt x="226" y="131"/>
                    <a:pt x="206" y="63"/>
                    <a:pt x="203" y="61"/>
                  </a:cubicBezTo>
                  <a:cubicBezTo>
                    <a:pt x="201" y="59"/>
                    <a:pt x="111" y="5"/>
                    <a:pt x="111" y="5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0" y="1"/>
                    <a:pt x="22" y="7"/>
                    <a:pt x="16" y="14"/>
                  </a:cubicBezTo>
                  <a:cubicBezTo>
                    <a:pt x="8" y="23"/>
                    <a:pt x="2" y="38"/>
                    <a:pt x="2" y="63"/>
                  </a:cubicBezTo>
                  <a:cubicBezTo>
                    <a:pt x="0" y="123"/>
                    <a:pt x="4" y="131"/>
                    <a:pt x="4" y="131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îṧḷïdê">
              <a:extLst>
                <a:ext uri="{FF2B5EF4-FFF2-40B4-BE49-F238E27FC236}">
                  <a16:creationId xmlns:a16="http://schemas.microsoft.com/office/drawing/2014/main" id="{0ED3DE07-6219-49EC-89B2-6B1B4B5981BF}"/>
                </a:ext>
              </a:extLst>
            </p:cNvPr>
            <p:cNvSpPr/>
            <p:nvPr/>
          </p:nvSpPr>
          <p:spPr bwMode="auto">
            <a:xfrm>
              <a:off x="7834313" y="5338763"/>
              <a:ext cx="44450" cy="200025"/>
            </a:xfrm>
            <a:custGeom>
              <a:avLst/>
              <a:gdLst>
                <a:gd name="T0" fmla="*/ 15 w 30"/>
                <a:gd name="T1" fmla="*/ 0 h 138"/>
                <a:gd name="T2" fmla="*/ 1 w 30"/>
                <a:gd name="T3" fmla="*/ 49 h 138"/>
                <a:gd name="T4" fmla="*/ 3 w 30"/>
                <a:gd name="T5" fmla="*/ 117 h 138"/>
                <a:gd name="T6" fmla="*/ 30 w 30"/>
                <a:gd name="T7" fmla="*/ 138 h 138"/>
                <a:gd name="T8" fmla="*/ 11 w 30"/>
                <a:gd name="T9" fmla="*/ 110 h 138"/>
                <a:gd name="T10" fmla="*/ 11 w 30"/>
                <a:gd name="T11" fmla="*/ 60 h 138"/>
                <a:gd name="T12" fmla="*/ 24 w 30"/>
                <a:gd name="T13" fmla="*/ 4 h 138"/>
                <a:gd name="T14" fmla="*/ 22 w 30"/>
                <a:gd name="T15" fmla="*/ 4 h 138"/>
                <a:gd name="T16" fmla="*/ 15 w 30"/>
                <a:gd name="T17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138">
                  <a:moveTo>
                    <a:pt x="15" y="0"/>
                  </a:moveTo>
                  <a:cubicBezTo>
                    <a:pt x="8" y="10"/>
                    <a:pt x="1" y="24"/>
                    <a:pt x="1" y="49"/>
                  </a:cubicBezTo>
                  <a:cubicBezTo>
                    <a:pt x="0" y="109"/>
                    <a:pt x="3" y="117"/>
                    <a:pt x="3" y="117"/>
                  </a:cubicBezTo>
                  <a:cubicBezTo>
                    <a:pt x="3" y="117"/>
                    <a:pt x="10" y="136"/>
                    <a:pt x="30" y="138"/>
                  </a:cubicBezTo>
                  <a:cubicBezTo>
                    <a:pt x="23" y="129"/>
                    <a:pt x="17" y="120"/>
                    <a:pt x="11" y="11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9" y="40"/>
                    <a:pt x="14" y="21"/>
                    <a:pt x="24" y="4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0" y="3"/>
                    <a:pt x="17" y="2"/>
                    <a:pt x="15" y="0"/>
                  </a:cubicBezTo>
                </a:path>
              </a:pathLst>
            </a:custGeom>
            <a:solidFill>
              <a:srgbClr val="3C3A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îsḷîḑè">
              <a:extLst>
                <a:ext uri="{FF2B5EF4-FFF2-40B4-BE49-F238E27FC236}">
                  <a16:creationId xmlns:a16="http://schemas.microsoft.com/office/drawing/2014/main" id="{3D0E9B93-133E-4371-B71C-F702B872C706}"/>
                </a:ext>
              </a:extLst>
            </p:cNvPr>
            <p:cNvSpPr/>
            <p:nvPr/>
          </p:nvSpPr>
          <p:spPr bwMode="auto">
            <a:xfrm>
              <a:off x="7856538" y="5335588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0 h 2"/>
                <a:gd name="T10" fmla="*/ 2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iṧḷiḍé">
              <a:extLst>
                <a:ext uri="{FF2B5EF4-FFF2-40B4-BE49-F238E27FC236}">
                  <a16:creationId xmlns:a16="http://schemas.microsoft.com/office/drawing/2014/main" id="{B87F4C08-0B83-47B1-A650-26E107263635}"/>
                </a:ext>
              </a:extLst>
            </p:cNvPr>
            <p:cNvSpPr/>
            <p:nvPr/>
          </p:nvSpPr>
          <p:spPr bwMode="auto">
            <a:xfrm>
              <a:off x="7856538" y="5335588"/>
              <a:ext cx="282575" cy="179388"/>
            </a:xfrm>
            <a:custGeom>
              <a:avLst/>
              <a:gdLst>
                <a:gd name="T0" fmla="*/ 11 w 195"/>
                <a:gd name="T1" fmla="*/ 4 h 124"/>
                <a:gd name="T2" fmla="*/ 9 w 195"/>
                <a:gd name="T3" fmla="*/ 6 h 124"/>
                <a:gd name="T4" fmla="*/ 124 w 195"/>
                <a:gd name="T5" fmla="*/ 80 h 124"/>
                <a:gd name="T6" fmla="*/ 190 w 195"/>
                <a:gd name="T7" fmla="*/ 124 h 124"/>
                <a:gd name="T8" fmla="*/ 195 w 195"/>
                <a:gd name="T9" fmla="*/ 123 h 124"/>
                <a:gd name="T10" fmla="*/ 195 w 195"/>
                <a:gd name="T11" fmla="*/ 122 h 124"/>
                <a:gd name="T12" fmla="*/ 125 w 195"/>
                <a:gd name="T13" fmla="*/ 77 h 124"/>
                <a:gd name="T14" fmla="*/ 11 w 195"/>
                <a:gd name="T15" fmla="*/ 4 h 124"/>
                <a:gd name="T16" fmla="*/ 2 w 195"/>
                <a:gd name="T17" fmla="*/ 0 h 124"/>
                <a:gd name="T18" fmla="*/ 0 w 195"/>
                <a:gd name="T19" fmla="*/ 2 h 124"/>
                <a:gd name="T20" fmla="*/ 0 w 195"/>
                <a:gd name="T21" fmla="*/ 2 h 124"/>
                <a:gd name="T22" fmla="*/ 0 w 195"/>
                <a:gd name="T23" fmla="*/ 2 h 124"/>
                <a:gd name="T24" fmla="*/ 3 w 195"/>
                <a:gd name="T25" fmla="*/ 0 h 124"/>
                <a:gd name="T26" fmla="*/ 2 w 195"/>
                <a:gd name="T2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124">
                  <a:moveTo>
                    <a:pt x="11" y="4"/>
                  </a:moveTo>
                  <a:cubicBezTo>
                    <a:pt x="10" y="5"/>
                    <a:pt x="10" y="5"/>
                    <a:pt x="9" y="6"/>
                  </a:cubicBezTo>
                  <a:cubicBezTo>
                    <a:pt x="59" y="28"/>
                    <a:pt x="119" y="72"/>
                    <a:pt x="124" y="80"/>
                  </a:cubicBezTo>
                  <a:cubicBezTo>
                    <a:pt x="127" y="85"/>
                    <a:pt x="163" y="107"/>
                    <a:pt x="190" y="124"/>
                  </a:cubicBezTo>
                  <a:cubicBezTo>
                    <a:pt x="192" y="123"/>
                    <a:pt x="194" y="123"/>
                    <a:pt x="195" y="123"/>
                  </a:cubicBezTo>
                  <a:cubicBezTo>
                    <a:pt x="195" y="122"/>
                    <a:pt x="195" y="122"/>
                    <a:pt x="195" y="122"/>
                  </a:cubicBezTo>
                  <a:cubicBezTo>
                    <a:pt x="167" y="106"/>
                    <a:pt x="128" y="82"/>
                    <a:pt x="125" y="77"/>
                  </a:cubicBezTo>
                  <a:cubicBezTo>
                    <a:pt x="121" y="69"/>
                    <a:pt x="61" y="25"/>
                    <a:pt x="11" y="4"/>
                  </a:cubicBezTo>
                  <a:moveTo>
                    <a:pt x="2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2" y="1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ïṣļíḓe">
              <a:extLst>
                <a:ext uri="{FF2B5EF4-FFF2-40B4-BE49-F238E27FC236}">
                  <a16:creationId xmlns:a16="http://schemas.microsoft.com/office/drawing/2014/main" id="{F36BC2FD-BE6D-43DA-B314-01FF2C885488}"/>
                </a:ext>
              </a:extLst>
            </p:cNvPr>
            <p:cNvSpPr/>
            <p:nvPr/>
          </p:nvSpPr>
          <p:spPr bwMode="auto">
            <a:xfrm>
              <a:off x="7856538" y="5335588"/>
              <a:ext cx="15875" cy="9525"/>
            </a:xfrm>
            <a:custGeom>
              <a:avLst/>
              <a:gdLst>
                <a:gd name="T0" fmla="*/ 3 w 11"/>
                <a:gd name="T1" fmla="*/ 0 h 6"/>
                <a:gd name="T2" fmla="*/ 0 w 11"/>
                <a:gd name="T3" fmla="*/ 2 h 6"/>
                <a:gd name="T4" fmla="*/ 7 w 11"/>
                <a:gd name="T5" fmla="*/ 6 h 6"/>
                <a:gd name="T6" fmla="*/ 9 w 11"/>
                <a:gd name="T7" fmla="*/ 6 h 6"/>
                <a:gd name="T8" fmla="*/ 11 w 11"/>
                <a:gd name="T9" fmla="*/ 4 h 6"/>
                <a:gd name="T10" fmla="*/ 9 w 11"/>
                <a:gd name="T11" fmla="*/ 2 h 6"/>
                <a:gd name="T12" fmla="*/ 3 w 11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">
                  <a:moveTo>
                    <a:pt x="3" y="0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2" y="4"/>
                    <a:pt x="5" y="5"/>
                    <a:pt x="7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10" y="5"/>
                    <a:pt x="10" y="5"/>
                    <a:pt x="11" y="4"/>
                  </a:cubicBezTo>
                  <a:cubicBezTo>
                    <a:pt x="10" y="3"/>
                    <a:pt x="9" y="3"/>
                    <a:pt x="9" y="2"/>
                  </a:cubicBezTo>
                  <a:cubicBezTo>
                    <a:pt x="7" y="2"/>
                    <a:pt x="5" y="1"/>
                    <a:pt x="3" y="0"/>
                  </a:cubicBezTo>
                </a:path>
              </a:pathLst>
            </a:custGeom>
            <a:solidFill>
              <a:srgbClr val="3634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íṧļiḑè">
              <a:extLst>
                <a:ext uri="{FF2B5EF4-FFF2-40B4-BE49-F238E27FC236}">
                  <a16:creationId xmlns:a16="http://schemas.microsoft.com/office/drawing/2014/main" id="{AD31A632-6942-41D7-B5EF-16670D9D8575}"/>
                </a:ext>
              </a:extLst>
            </p:cNvPr>
            <p:cNvSpPr/>
            <p:nvPr/>
          </p:nvSpPr>
          <p:spPr bwMode="auto">
            <a:xfrm>
              <a:off x="7645401" y="4937125"/>
              <a:ext cx="882650" cy="600075"/>
            </a:xfrm>
            <a:custGeom>
              <a:avLst/>
              <a:gdLst>
                <a:gd name="T0" fmla="*/ 6 w 609"/>
                <a:gd name="T1" fmla="*/ 130 h 414"/>
                <a:gd name="T2" fmla="*/ 69 w 609"/>
                <a:gd name="T3" fmla="*/ 210 h 414"/>
                <a:gd name="T4" fmla="*/ 155 w 609"/>
                <a:gd name="T5" fmla="*/ 277 h 414"/>
                <a:gd name="T6" fmla="*/ 271 w 609"/>
                <a:gd name="T7" fmla="*/ 352 h 414"/>
                <a:gd name="T8" fmla="*/ 343 w 609"/>
                <a:gd name="T9" fmla="*/ 398 h 414"/>
                <a:gd name="T10" fmla="*/ 349 w 609"/>
                <a:gd name="T11" fmla="*/ 402 h 414"/>
                <a:gd name="T12" fmla="*/ 363 w 609"/>
                <a:gd name="T13" fmla="*/ 410 h 414"/>
                <a:gd name="T14" fmla="*/ 370 w 609"/>
                <a:gd name="T15" fmla="*/ 414 h 414"/>
                <a:gd name="T16" fmla="*/ 405 w 609"/>
                <a:gd name="T17" fmla="*/ 387 h 414"/>
                <a:gd name="T18" fmla="*/ 439 w 609"/>
                <a:gd name="T19" fmla="*/ 358 h 414"/>
                <a:gd name="T20" fmla="*/ 444 w 609"/>
                <a:gd name="T21" fmla="*/ 338 h 414"/>
                <a:gd name="T22" fmla="*/ 433 w 609"/>
                <a:gd name="T23" fmla="*/ 322 h 414"/>
                <a:gd name="T24" fmla="*/ 407 w 609"/>
                <a:gd name="T25" fmla="*/ 301 h 414"/>
                <a:gd name="T26" fmla="*/ 373 w 609"/>
                <a:gd name="T27" fmla="*/ 266 h 414"/>
                <a:gd name="T28" fmla="*/ 368 w 609"/>
                <a:gd name="T29" fmla="*/ 262 h 414"/>
                <a:gd name="T30" fmla="*/ 345 w 609"/>
                <a:gd name="T31" fmla="*/ 251 h 414"/>
                <a:gd name="T32" fmla="*/ 312 w 609"/>
                <a:gd name="T33" fmla="*/ 227 h 414"/>
                <a:gd name="T34" fmla="*/ 292 w 609"/>
                <a:gd name="T35" fmla="*/ 206 h 414"/>
                <a:gd name="T36" fmla="*/ 200 w 609"/>
                <a:gd name="T37" fmla="*/ 135 h 414"/>
                <a:gd name="T38" fmla="*/ 393 w 609"/>
                <a:gd name="T39" fmla="*/ 259 h 414"/>
                <a:gd name="T40" fmla="*/ 439 w 609"/>
                <a:gd name="T41" fmla="*/ 288 h 414"/>
                <a:gd name="T42" fmla="*/ 505 w 609"/>
                <a:gd name="T43" fmla="*/ 237 h 414"/>
                <a:gd name="T44" fmla="*/ 609 w 609"/>
                <a:gd name="T45" fmla="*/ 134 h 414"/>
                <a:gd name="T46" fmla="*/ 575 w 609"/>
                <a:gd name="T47" fmla="*/ 133 h 414"/>
                <a:gd name="T48" fmla="*/ 423 w 609"/>
                <a:gd name="T49" fmla="*/ 130 h 414"/>
                <a:gd name="T50" fmla="*/ 395 w 609"/>
                <a:gd name="T51" fmla="*/ 131 h 414"/>
                <a:gd name="T52" fmla="*/ 353 w 609"/>
                <a:gd name="T53" fmla="*/ 124 h 414"/>
                <a:gd name="T54" fmla="*/ 306 w 609"/>
                <a:gd name="T55" fmla="*/ 104 h 414"/>
                <a:gd name="T56" fmla="*/ 212 w 609"/>
                <a:gd name="T57" fmla="*/ 66 h 414"/>
                <a:gd name="T58" fmla="*/ 44 w 609"/>
                <a:gd name="T59" fmla="*/ 39 h 414"/>
                <a:gd name="T60" fmla="*/ 6 w 609"/>
                <a:gd name="T61" fmla="*/ 13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09" h="414">
                  <a:moveTo>
                    <a:pt x="6" y="130"/>
                  </a:moveTo>
                  <a:cubicBezTo>
                    <a:pt x="13" y="147"/>
                    <a:pt x="69" y="210"/>
                    <a:pt x="69" y="210"/>
                  </a:cubicBezTo>
                  <a:cubicBezTo>
                    <a:pt x="69" y="210"/>
                    <a:pt x="104" y="256"/>
                    <a:pt x="155" y="277"/>
                  </a:cubicBezTo>
                  <a:cubicBezTo>
                    <a:pt x="205" y="299"/>
                    <a:pt x="267" y="344"/>
                    <a:pt x="271" y="352"/>
                  </a:cubicBezTo>
                  <a:cubicBezTo>
                    <a:pt x="274" y="358"/>
                    <a:pt x="314" y="382"/>
                    <a:pt x="343" y="398"/>
                  </a:cubicBezTo>
                  <a:cubicBezTo>
                    <a:pt x="349" y="402"/>
                    <a:pt x="349" y="402"/>
                    <a:pt x="349" y="402"/>
                  </a:cubicBezTo>
                  <a:cubicBezTo>
                    <a:pt x="354" y="405"/>
                    <a:pt x="359" y="408"/>
                    <a:pt x="363" y="410"/>
                  </a:cubicBezTo>
                  <a:cubicBezTo>
                    <a:pt x="370" y="414"/>
                    <a:pt x="370" y="414"/>
                    <a:pt x="370" y="414"/>
                  </a:cubicBezTo>
                  <a:cubicBezTo>
                    <a:pt x="370" y="414"/>
                    <a:pt x="388" y="400"/>
                    <a:pt x="405" y="387"/>
                  </a:cubicBezTo>
                  <a:cubicBezTo>
                    <a:pt x="422" y="373"/>
                    <a:pt x="438" y="359"/>
                    <a:pt x="439" y="358"/>
                  </a:cubicBezTo>
                  <a:cubicBezTo>
                    <a:pt x="439" y="357"/>
                    <a:pt x="446" y="339"/>
                    <a:pt x="444" y="338"/>
                  </a:cubicBezTo>
                  <a:cubicBezTo>
                    <a:pt x="443" y="338"/>
                    <a:pt x="440" y="331"/>
                    <a:pt x="433" y="322"/>
                  </a:cubicBezTo>
                  <a:cubicBezTo>
                    <a:pt x="426" y="313"/>
                    <a:pt x="418" y="306"/>
                    <a:pt x="407" y="301"/>
                  </a:cubicBezTo>
                  <a:cubicBezTo>
                    <a:pt x="384" y="290"/>
                    <a:pt x="373" y="266"/>
                    <a:pt x="373" y="266"/>
                  </a:cubicBezTo>
                  <a:cubicBezTo>
                    <a:pt x="373" y="266"/>
                    <a:pt x="371" y="264"/>
                    <a:pt x="368" y="262"/>
                  </a:cubicBezTo>
                  <a:cubicBezTo>
                    <a:pt x="361" y="257"/>
                    <a:pt x="353" y="253"/>
                    <a:pt x="345" y="251"/>
                  </a:cubicBezTo>
                  <a:cubicBezTo>
                    <a:pt x="333" y="250"/>
                    <a:pt x="312" y="227"/>
                    <a:pt x="312" y="227"/>
                  </a:cubicBezTo>
                  <a:cubicBezTo>
                    <a:pt x="312" y="227"/>
                    <a:pt x="298" y="218"/>
                    <a:pt x="292" y="206"/>
                  </a:cubicBezTo>
                  <a:cubicBezTo>
                    <a:pt x="287" y="194"/>
                    <a:pt x="208" y="140"/>
                    <a:pt x="200" y="135"/>
                  </a:cubicBezTo>
                  <a:cubicBezTo>
                    <a:pt x="393" y="259"/>
                    <a:pt x="393" y="259"/>
                    <a:pt x="393" y="259"/>
                  </a:cubicBezTo>
                  <a:cubicBezTo>
                    <a:pt x="439" y="288"/>
                    <a:pt x="439" y="288"/>
                    <a:pt x="439" y="288"/>
                  </a:cubicBezTo>
                  <a:cubicBezTo>
                    <a:pt x="505" y="237"/>
                    <a:pt x="505" y="237"/>
                    <a:pt x="505" y="237"/>
                  </a:cubicBezTo>
                  <a:cubicBezTo>
                    <a:pt x="609" y="134"/>
                    <a:pt x="609" y="134"/>
                    <a:pt x="609" y="134"/>
                  </a:cubicBezTo>
                  <a:cubicBezTo>
                    <a:pt x="609" y="134"/>
                    <a:pt x="595" y="134"/>
                    <a:pt x="575" y="133"/>
                  </a:cubicBezTo>
                  <a:cubicBezTo>
                    <a:pt x="524" y="130"/>
                    <a:pt x="434" y="127"/>
                    <a:pt x="423" y="130"/>
                  </a:cubicBezTo>
                  <a:cubicBezTo>
                    <a:pt x="414" y="132"/>
                    <a:pt x="404" y="132"/>
                    <a:pt x="395" y="131"/>
                  </a:cubicBezTo>
                  <a:cubicBezTo>
                    <a:pt x="395" y="131"/>
                    <a:pt x="369" y="133"/>
                    <a:pt x="353" y="124"/>
                  </a:cubicBezTo>
                  <a:cubicBezTo>
                    <a:pt x="336" y="115"/>
                    <a:pt x="309" y="111"/>
                    <a:pt x="306" y="104"/>
                  </a:cubicBezTo>
                  <a:cubicBezTo>
                    <a:pt x="303" y="97"/>
                    <a:pt x="212" y="66"/>
                    <a:pt x="212" y="66"/>
                  </a:cubicBezTo>
                  <a:cubicBezTo>
                    <a:pt x="212" y="66"/>
                    <a:pt x="88" y="0"/>
                    <a:pt x="44" y="39"/>
                  </a:cubicBezTo>
                  <a:cubicBezTo>
                    <a:pt x="0" y="78"/>
                    <a:pt x="0" y="114"/>
                    <a:pt x="6" y="130"/>
                  </a:cubicBezTo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ïSľîḍè">
              <a:extLst>
                <a:ext uri="{FF2B5EF4-FFF2-40B4-BE49-F238E27FC236}">
                  <a16:creationId xmlns:a16="http://schemas.microsoft.com/office/drawing/2014/main" id="{11B6CEFA-D35B-4BF3-A107-3DA7B303B1C9}"/>
                </a:ext>
              </a:extLst>
            </p:cNvPr>
            <p:cNvSpPr/>
            <p:nvPr/>
          </p:nvSpPr>
          <p:spPr bwMode="auto">
            <a:xfrm>
              <a:off x="8232776" y="4349750"/>
              <a:ext cx="279400" cy="488950"/>
            </a:xfrm>
            <a:custGeom>
              <a:avLst/>
              <a:gdLst>
                <a:gd name="T0" fmla="*/ 0 w 193"/>
                <a:gd name="T1" fmla="*/ 160 h 337"/>
                <a:gd name="T2" fmla="*/ 16 w 193"/>
                <a:gd name="T3" fmla="*/ 213 h 337"/>
                <a:gd name="T4" fmla="*/ 36 w 193"/>
                <a:gd name="T5" fmla="*/ 332 h 337"/>
                <a:gd name="T6" fmla="*/ 112 w 193"/>
                <a:gd name="T7" fmla="*/ 337 h 337"/>
                <a:gd name="T8" fmla="*/ 133 w 193"/>
                <a:gd name="T9" fmla="*/ 301 h 337"/>
                <a:gd name="T10" fmla="*/ 155 w 193"/>
                <a:gd name="T11" fmla="*/ 265 h 337"/>
                <a:gd name="T12" fmla="*/ 178 w 193"/>
                <a:gd name="T13" fmla="*/ 170 h 337"/>
                <a:gd name="T14" fmla="*/ 183 w 193"/>
                <a:gd name="T15" fmla="*/ 85 h 337"/>
                <a:gd name="T16" fmla="*/ 166 w 193"/>
                <a:gd name="T17" fmla="*/ 52 h 337"/>
                <a:gd name="T18" fmla="*/ 165 w 193"/>
                <a:gd name="T19" fmla="*/ 47 h 337"/>
                <a:gd name="T20" fmla="*/ 160 w 193"/>
                <a:gd name="T21" fmla="*/ 9 h 337"/>
                <a:gd name="T22" fmla="*/ 24 w 193"/>
                <a:gd name="T23" fmla="*/ 66 h 337"/>
                <a:gd name="T24" fmla="*/ 30 w 193"/>
                <a:gd name="T25" fmla="*/ 100 h 337"/>
                <a:gd name="T26" fmla="*/ 29 w 193"/>
                <a:gd name="T27" fmla="*/ 109 h 337"/>
                <a:gd name="T28" fmla="*/ 0 w 193"/>
                <a:gd name="T29" fmla="*/ 16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3" h="337">
                  <a:moveTo>
                    <a:pt x="0" y="160"/>
                  </a:moveTo>
                  <a:cubicBezTo>
                    <a:pt x="16" y="213"/>
                    <a:pt x="16" y="213"/>
                    <a:pt x="16" y="213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112" y="337"/>
                    <a:pt x="112" y="337"/>
                    <a:pt x="112" y="337"/>
                  </a:cubicBezTo>
                  <a:cubicBezTo>
                    <a:pt x="133" y="301"/>
                    <a:pt x="133" y="301"/>
                    <a:pt x="133" y="301"/>
                  </a:cubicBezTo>
                  <a:cubicBezTo>
                    <a:pt x="155" y="265"/>
                    <a:pt x="155" y="265"/>
                    <a:pt x="155" y="265"/>
                  </a:cubicBezTo>
                  <a:cubicBezTo>
                    <a:pt x="155" y="265"/>
                    <a:pt x="169" y="217"/>
                    <a:pt x="178" y="170"/>
                  </a:cubicBezTo>
                  <a:cubicBezTo>
                    <a:pt x="187" y="129"/>
                    <a:pt x="193" y="89"/>
                    <a:pt x="183" y="85"/>
                  </a:cubicBezTo>
                  <a:cubicBezTo>
                    <a:pt x="175" y="81"/>
                    <a:pt x="170" y="67"/>
                    <a:pt x="166" y="52"/>
                  </a:cubicBezTo>
                  <a:cubicBezTo>
                    <a:pt x="166" y="51"/>
                    <a:pt x="165" y="49"/>
                    <a:pt x="165" y="47"/>
                  </a:cubicBezTo>
                  <a:cubicBezTo>
                    <a:pt x="162" y="34"/>
                    <a:pt x="161" y="21"/>
                    <a:pt x="160" y="9"/>
                  </a:cubicBezTo>
                  <a:cubicBezTo>
                    <a:pt x="160" y="9"/>
                    <a:pt x="2" y="0"/>
                    <a:pt x="24" y="66"/>
                  </a:cubicBezTo>
                  <a:cubicBezTo>
                    <a:pt x="28" y="77"/>
                    <a:pt x="30" y="88"/>
                    <a:pt x="30" y="100"/>
                  </a:cubicBezTo>
                  <a:cubicBezTo>
                    <a:pt x="30" y="103"/>
                    <a:pt x="30" y="106"/>
                    <a:pt x="29" y="109"/>
                  </a:cubicBezTo>
                  <a:cubicBezTo>
                    <a:pt x="27" y="129"/>
                    <a:pt x="16" y="148"/>
                    <a:pt x="0" y="160"/>
                  </a:cubicBezTo>
                </a:path>
              </a:pathLst>
            </a:custGeom>
            <a:solidFill>
              <a:srgbClr val="EE8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íṩľíde">
              <a:extLst>
                <a:ext uri="{FF2B5EF4-FFF2-40B4-BE49-F238E27FC236}">
                  <a16:creationId xmlns:a16="http://schemas.microsoft.com/office/drawing/2014/main" id="{4E45BE8A-B408-4305-8D27-B0032112BE8A}"/>
                </a:ext>
              </a:extLst>
            </p:cNvPr>
            <p:cNvSpPr/>
            <p:nvPr/>
          </p:nvSpPr>
          <p:spPr bwMode="auto">
            <a:xfrm>
              <a:off x="8185151" y="4508500"/>
              <a:ext cx="350838" cy="654050"/>
            </a:xfrm>
            <a:custGeom>
              <a:avLst/>
              <a:gdLst>
                <a:gd name="T0" fmla="*/ 0 w 243"/>
                <a:gd name="T1" fmla="*/ 42 h 452"/>
                <a:gd name="T2" fmla="*/ 6 w 243"/>
                <a:gd name="T3" fmla="*/ 132 h 452"/>
                <a:gd name="T4" fmla="*/ 18 w 243"/>
                <a:gd name="T5" fmla="*/ 208 h 452"/>
                <a:gd name="T6" fmla="*/ 33 w 243"/>
                <a:gd name="T7" fmla="*/ 244 h 452"/>
                <a:gd name="T8" fmla="*/ 46 w 243"/>
                <a:gd name="T9" fmla="*/ 437 h 452"/>
                <a:gd name="T10" fmla="*/ 199 w 243"/>
                <a:gd name="T11" fmla="*/ 437 h 452"/>
                <a:gd name="T12" fmla="*/ 205 w 243"/>
                <a:gd name="T13" fmla="*/ 433 h 452"/>
                <a:gd name="T14" fmla="*/ 229 w 243"/>
                <a:gd name="T15" fmla="*/ 219 h 452"/>
                <a:gd name="T16" fmla="*/ 243 w 243"/>
                <a:gd name="T17" fmla="*/ 117 h 452"/>
                <a:gd name="T18" fmla="*/ 234 w 243"/>
                <a:gd name="T19" fmla="*/ 64 h 452"/>
                <a:gd name="T20" fmla="*/ 211 w 243"/>
                <a:gd name="T21" fmla="*/ 61 h 452"/>
                <a:gd name="T22" fmla="*/ 194 w 243"/>
                <a:gd name="T23" fmla="*/ 59 h 452"/>
                <a:gd name="T24" fmla="*/ 185 w 243"/>
                <a:gd name="T25" fmla="*/ 71 h 452"/>
                <a:gd name="T26" fmla="*/ 144 w 243"/>
                <a:gd name="T27" fmla="*/ 147 h 452"/>
                <a:gd name="T28" fmla="*/ 132 w 243"/>
                <a:gd name="T29" fmla="*/ 197 h 452"/>
                <a:gd name="T30" fmla="*/ 114 w 243"/>
                <a:gd name="T31" fmla="*/ 200 h 452"/>
                <a:gd name="T32" fmla="*/ 113 w 243"/>
                <a:gd name="T33" fmla="*/ 184 h 452"/>
                <a:gd name="T34" fmla="*/ 106 w 243"/>
                <a:gd name="T35" fmla="*/ 149 h 452"/>
                <a:gd name="T36" fmla="*/ 93 w 243"/>
                <a:gd name="T37" fmla="*/ 104 h 452"/>
                <a:gd name="T38" fmla="*/ 88 w 243"/>
                <a:gd name="T39" fmla="*/ 72 h 452"/>
                <a:gd name="T40" fmla="*/ 82 w 243"/>
                <a:gd name="T41" fmla="*/ 48 h 452"/>
                <a:gd name="T42" fmla="*/ 62 w 243"/>
                <a:gd name="T43" fmla="*/ 0 h 452"/>
                <a:gd name="T44" fmla="*/ 0 w 243"/>
                <a:gd name="T45" fmla="*/ 4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3" h="452">
                  <a:moveTo>
                    <a:pt x="0" y="4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18" y="208"/>
                    <a:pt x="18" y="208"/>
                    <a:pt x="18" y="208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46" y="437"/>
                    <a:pt x="46" y="437"/>
                    <a:pt x="46" y="437"/>
                  </a:cubicBezTo>
                  <a:cubicBezTo>
                    <a:pt x="46" y="437"/>
                    <a:pt x="169" y="452"/>
                    <a:pt x="199" y="437"/>
                  </a:cubicBezTo>
                  <a:cubicBezTo>
                    <a:pt x="201" y="436"/>
                    <a:pt x="203" y="435"/>
                    <a:pt x="205" y="433"/>
                  </a:cubicBezTo>
                  <a:cubicBezTo>
                    <a:pt x="241" y="378"/>
                    <a:pt x="229" y="219"/>
                    <a:pt x="229" y="219"/>
                  </a:cubicBezTo>
                  <a:cubicBezTo>
                    <a:pt x="243" y="117"/>
                    <a:pt x="243" y="117"/>
                    <a:pt x="243" y="117"/>
                  </a:cubicBezTo>
                  <a:cubicBezTo>
                    <a:pt x="234" y="64"/>
                    <a:pt x="234" y="64"/>
                    <a:pt x="234" y="64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194" y="59"/>
                    <a:pt x="194" y="59"/>
                    <a:pt x="194" y="59"/>
                  </a:cubicBezTo>
                  <a:cubicBezTo>
                    <a:pt x="194" y="59"/>
                    <a:pt x="190" y="64"/>
                    <a:pt x="185" y="71"/>
                  </a:cubicBezTo>
                  <a:cubicBezTo>
                    <a:pt x="170" y="91"/>
                    <a:pt x="142" y="131"/>
                    <a:pt x="144" y="147"/>
                  </a:cubicBezTo>
                  <a:cubicBezTo>
                    <a:pt x="146" y="170"/>
                    <a:pt x="140" y="193"/>
                    <a:pt x="132" y="197"/>
                  </a:cubicBezTo>
                  <a:cubicBezTo>
                    <a:pt x="123" y="200"/>
                    <a:pt x="116" y="206"/>
                    <a:pt x="114" y="200"/>
                  </a:cubicBezTo>
                  <a:cubicBezTo>
                    <a:pt x="113" y="194"/>
                    <a:pt x="111" y="192"/>
                    <a:pt x="113" y="184"/>
                  </a:cubicBezTo>
                  <a:cubicBezTo>
                    <a:pt x="114" y="175"/>
                    <a:pt x="106" y="149"/>
                    <a:pt x="106" y="149"/>
                  </a:cubicBezTo>
                  <a:cubicBezTo>
                    <a:pt x="106" y="149"/>
                    <a:pt x="92" y="117"/>
                    <a:pt x="93" y="104"/>
                  </a:cubicBezTo>
                  <a:cubicBezTo>
                    <a:pt x="94" y="91"/>
                    <a:pt x="92" y="75"/>
                    <a:pt x="88" y="72"/>
                  </a:cubicBezTo>
                  <a:cubicBezTo>
                    <a:pt x="83" y="68"/>
                    <a:pt x="78" y="65"/>
                    <a:pt x="82" y="48"/>
                  </a:cubicBezTo>
                  <a:cubicBezTo>
                    <a:pt x="87" y="32"/>
                    <a:pt x="62" y="0"/>
                    <a:pt x="62" y="0"/>
                  </a:cubicBezTo>
                  <a:cubicBezTo>
                    <a:pt x="0" y="42"/>
                    <a:pt x="0" y="42"/>
                    <a:pt x="0" y="42"/>
                  </a:cubicBezTo>
                </a:path>
              </a:pathLst>
            </a:custGeom>
            <a:solidFill>
              <a:srgbClr val="E3E8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îšḻíḋê">
              <a:extLst>
                <a:ext uri="{FF2B5EF4-FFF2-40B4-BE49-F238E27FC236}">
                  <a16:creationId xmlns:a16="http://schemas.microsoft.com/office/drawing/2014/main" id="{E61BF3AB-AAEA-4AAA-A140-952F0D2D4B3A}"/>
                </a:ext>
              </a:extLst>
            </p:cNvPr>
            <p:cNvSpPr/>
            <p:nvPr/>
          </p:nvSpPr>
          <p:spPr bwMode="auto">
            <a:xfrm>
              <a:off x="8448676" y="4424363"/>
              <a:ext cx="22225" cy="188913"/>
            </a:xfrm>
            <a:custGeom>
              <a:avLst/>
              <a:gdLst>
                <a:gd name="T0" fmla="*/ 16 w 16"/>
                <a:gd name="T1" fmla="*/ 0 h 131"/>
                <a:gd name="T2" fmla="*/ 0 w 16"/>
                <a:gd name="T3" fmla="*/ 109 h 131"/>
                <a:gd name="T4" fmla="*/ 1 w 16"/>
                <a:gd name="T5" fmla="*/ 129 h 131"/>
                <a:gd name="T6" fmla="*/ 2 w 16"/>
                <a:gd name="T7" fmla="*/ 131 h 131"/>
                <a:gd name="T8" fmla="*/ 3 w 16"/>
                <a:gd name="T9" fmla="*/ 129 h 131"/>
                <a:gd name="T10" fmla="*/ 5 w 16"/>
                <a:gd name="T11" fmla="*/ 127 h 131"/>
                <a:gd name="T12" fmla="*/ 3 w 16"/>
                <a:gd name="T13" fmla="*/ 107 h 131"/>
                <a:gd name="T14" fmla="*/ 16 w 16"/>
                <a:gd name="T15" fmla="*/ 1 h 131"/>
                <a:gd name="T16" fmla="*/ 16 w 16"/>
                <a:gd name="T17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31">
                  <a:moveTo>
                    <a:pt x="16" y="0"/>
                  </a:move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1" y="118"/>
                    <a:pt x="1" y="129"/>
                  </a:cubicBezTo>
                  <a:cubicBezTo>
                    <a:pt x="2" y="129"/>
                    <a:pt x="2" y="130"/>
                    <a:pt x="2" y="131"/>
                  </a:cubicBezTo>
                  <a:cubicBezTo>
                    <a:pt x="2" y="130"/>
                    <a:pt x="2" y="130"/>
                    <a:pt x="3" y="129"/>
                  </a:cubicBezTo>
                  <a:cubicBezTo>
                    <a:pt x="3" y="129"/>
                    <a:pt x="4" y="128"/>
                    <a:pt x="5" y="127"/>
                  </a:cubicBezTo>
                  <a:cubicBezTo>
                    <a:pt x="4" y="117"/>
                    <a:pt x="3" y="107"/>
                    <a:pt x="3" y="107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</a:path>
              </a:pathLst>
            </a:custGeom>
            <a:solidFill>
              <a:srgbClr val="D680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ïṥḻîḑe">
              <a:extLst>
                <a:ext uri="{FF2B5EF4-FFF2-40B4-BE49-F238E27FC236}">
                  <a16:creationId xmlns:a16="http://schemas.microsoft.com/office/drawing/2014/main" id="{65569A73-D71E-4E13-8F51-DF247BD5B29D}"/>
                </a:ext>
              </a:extLst>
            </p:cNvPr>
            <p:cNvSpPr/>
            <p:nvPr/>
          </p:nvSpPr>
          <p:spPr bwMode="auto">
            <a:xfrm>
              <a:off x="8418513" y="4606925"/>
              <a:ext cx="36513" cy="346075"/>
            </a:xfrm>
            <a:custGeom>
              <a:avLst/>
              <a:gdLst>
                <a:gd name="T0" fmla="*/ 25 w 25"/>
                <a:gd name="T1" fmla="*/ 0 h 238"/>
                <a:gd name="T2" fmla="*/ 23 w 25"/>
                <a:gd name="T3" fmla="*/ 2 h 238"/>
                <a:gd name="T4" fmla="*/ 22 w 25"/>
                <a:gd name="T5" fmla="*/ 4 h 238"/>
                <a:gd name="T6" fmla="*/ 20 w 25"/>
                <a:gd name="T7" fmla="*/ 21 h 238"/>
                <a:gd name="T8" fmla="*/ 19 w 25"/>
                <a:gd name="T9" fmla="*/ 46 h 238"/>
                <a:gd name="T10" fmla="*/ 3 w 25"/>
                <a:gd name="T11" fmla="*/ 122 h 238"/>
                <a:gd name="T12" fmla="*/ 1 w 25"/>
                <a:gd name="T13" fmla="*/ 197 h 238"/>
                <a:gd name="T14" fmla="*/ 3 w 25"/>
                <a:gd name="T15" fmla="*/ 238 h 238"/>
                <a:gd name="T16" fmla="*/ 6 w 25"/>
                <a:gd name="T17" fmla="*/ 238 h 238"/>
                <a:gd name="T18" fmla="*/ 4 w 25"/>
                <a:gd name="T19" fmla="*/ 196 h 238"/>
                <a:gd name="T20" fmla="*/ 22 w 25"/>
                <a:gd name="T21" fmla="*/ 44 h 238"/>
                <a:gd name="T22" fmla="*/ 23 w 25"/>
                <a:gd name="T23" fmla="*/ 19 h 238"/>
                <a:gd name="T24" fmla="*/ 25 w 25"/>
                <a:gd name="T25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38">
                  <a:moveTo>
                    <a:pt x="25" y="0"/>
                  </a:moveTo>
                  <a:cubicBezTo>
                    <a:pt x="24" y="1"/>
                    <a:pt x="23" y="2"/>
                    <a:pt x="23" y="2"/>
                  </a:cubicBezTo>
                  <a:cubicBezTo>
                    <a:pt x="22" y="3"/>
                    <a:pt x="22" y="3"/>
                    <a:pt x="22" y="4"/>
                  </a:cubicBezTo>
                  <a:cubicBezTo>
                    <a:pt x="22" y="10"/>
                    <a:pt x="21" y="15"/>
                    <a:pt x="20" y="21"/>
                  </a:cubicBezTo>
                  <a:cubicBezTo>
                    <a:pt x="17" y="30"/>
                    <a:pt x="19" y="46"/>
                    <a:pt x="19" y="46"/>
                  </a:cubicBezTo>
                  <a:cubicBezTo>
                    <a:pt x="10" y="63"/>
                    <a:pt x="5" y="93"/>
                    <a:pt x="3" y="122"/>
                  </a:cubicBezTo>
                  <a:cubicBezTo>
                    <a:pt x="0" y="161"/>
                    <a:pt x="1" y="197"/>
                    <a:pt x="1" y="197"/>
                  </a:cubicBezTo>
                  <a:cubicBezTo>
                    <a:pt x="3" y="238"/>
                    <a:pt x="3" y="238"/>
                    <a:pt x="3" y="238"/>
                  </a:cubicBezTo>
                  <a:cubicBezTo>
                    <a:pt x="4" y="238"/>
                    <a:pt x="5" y="238"/>
                    <a:pt x="6" y="238"/>
                  </a:cubicBezTo>
                  <a:cubicBezTo>
                    <a:pt x="4" y="196"/>
                    <a:pt x="4" y="196"/>
                    <a:pt x="4" y="196"/>
                  </a:cubicBezTo>
                  <a:cubicBezTo>
                    <a:pt x="4" y="196"/>
                    <a:pt x="1" y="82"/>
                    <a:pt x="22" y="44"/>
                  </a:cubicBezTo>
                  <a:cubicBezTo>
                    <a:pt x="22" y="44"/>
                    <a:pt x="20" y="28"/>
                    <a:pt x="23" y="19"/>
                  </a:cubicBezTo>
                  <a:cubicBezTo>
                    <a:pt x="25" y="15"/>
                    <a:pt x="25" y="7"/>
                    <a:pt x="25" y="0"/>
                  </a:cubicBezTo>
                </a:path>
              </a:pathLst>
            </a:custGeom>
            <a:solidFill>
              <a:srgbClr val="CCD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î$1íḍè">
              <a:extLst>
                <a:ext uri="{FF2B5EF4-FFF2-40B4-BE49-F238E27FC236}">
                  <a16:creationId xmlns:a16="http://schemas.microsoft.com/office/drawing/2014/main" id="{F896DDD9-BAC5-42F0-ADED-2585DC12F1C4}"/>
                </a:ext>
              </a:extLst>
            </p:cNvPr>
            <p:cNvSpPr/>
            <p:nvPr/>
          </p:nvSpPr>
          <p:spPr bwMode="auto">
            <a:xfrm>
              <a:off x="8420101" y="4421188"/>
              <a:ext cx="525463" cy="1087438"/>
            </a:xfrm>
            <a:custGeom>
              <a:avLst/>
              <a:gdLst>
                <a:gd name="T0" fmla="*/ 35 w 362"/>
                <a:gd name="T1" fmla="*/ 0 h 751"/>
                <a:gd name="T2" fmla="*/ 69 w 362"/>
                <a:gd name="T3" fmla="*/ 14 h 751"/>
                <a:gd name="T4" fmla="*/ 99 w 362"/>
                <a:gd name="T5" fmla="*/ 26 h 751"/>
                <a:gd name="T6" fmla="*/ 123 w 362"/>
                <a:gd name="T7" fmla="*/ 36 h 751"/>
                <a:gd name="T8" fmla="*/ 145 w 362"/>
                <a:gd name="T9" fmla="*/ 45 h 751"/>
                <a:gd name="T10" fmla="*/ 186 w 362"/>
                <a:gd name="T11" fmla="*/ 68 h 751"/>
                <a:gd name="T12" fmla="*/ 227 w 362"/>
                <a:gd name="T13" fmla="*/ 116 h 751"/>
                <a:gd name="T14" fmla="*/ 238 w 362"/>
                <a:gd name="T15" fmla="*/ 162 h 751"/>
                <a:gd name="T16" fmla="*/ 241 w 362"/>
                <a:gd name="T17" fmla="*/ 230 h 751"/>
                <a:gd name="T18" fmla="*/ 241 w 362"/>
                <a:gd name="T19" fmla="*/ 257 h 751"/>
                <a:gd name="T20" fmla="*/ 240 w 362"/>
                <a:gd name="T21" fmla="*/ 274 h 751"/>
                <a:gd name="T22" fmla="*/ 239 w 362"/>
                <a:gd name="T23" fmla="*/ 321 h 751"/>
                <a:gd name="T24" fmla="*/ 240 w 362"/>
                <a:gd name="T25" fmla="*/ 361 h 751"/>
                <a:gd name="T26" fmla="*/ 241 w 362"/>
                <a:gd name="T27" fmla="*/ 387 h 751"/>
                <a:gd name="T28" fmla="*/ 240 w 362"/>
                <a:gd name="T29" fmla="*/ 400 h 751"/>
                <a:gd name="T30" fmla="*/ 241 w 362"/>
                <a:gd name="T31" fmla="*/ 429 h 751"/>
                <a:gd name="T32" fmla="*/ 250 w 362"/>
                <a:gd name="T33" fmla="*/ 478 h 751"/>
                <a:gd name="T34" fmla="*/ 360 w 362"/>
                <a:gd name="T35" fmla="*/ 638 h 751"/>
                <a:gd name="T36" fmla="*/ 327 w 362"/>
                <a:gd name="T37" fmla="*/ 666 h 751"/>
                <a:gd name="T38" fmla="*/ 294 w 362"/>
                <a:gd name="T39" fmla="*/ 680 h 751"/>
                <a:gd name="T40" fmla="*/ 284 w 362"/>
                <a:gd name="T41" fmla="*/ 693 h 751"/>
                <a:gd name="T42" fmla="*/ 278 w 362"/>
                <a:gd name="T43" fmla="*/ 709 h 751"/>
                <a:gd name="T44" fmla="*/ 271 w 362"/>
                <a:gd name="T45" fmla="*/ 751 h 751"/>
                <a:gd name="T46" fmla="*/ 260 w 362"/>
                <a:gd name="T47" fmla="*/ 731 h 751"/>
                <a:gd name="T48" fmla="*/ 252 w 362"/>
                <a:gd name="T49" fmla="*/ 703 h 751"/>
                <a:gd name="T50" fmla="*/ 241 w 362"/>
                <a:gd name="T51" fmla="*/ 659 h 751"/>
                <a:gd name="T52" fmla="*/ 235 w 362"/>
                <a:gd name="T53" fmla="*/ 630 h 751"/>
                <a:gd name="T54" fmla="*/ 231 w 362"/>
                <a:gd name="T55" fmla="*/ 601 h 751"/>
                <a:gd name="T56" fmla="*/ 8 w 362"/>
                <a:gd name="T57" fmla="*/ 478 h 751"/>
                <a:gd name="T58" fmla="*/ 3 w 362"/>
                <a:gd name="T59" fmla="*/ 325 h 751"/>
                <a:gd name="T60" fmla="*/ 21 w 362"/>
                <a:gd name="T61" fmla="*/ 173 h 751"/>
                <a:gd name="T62" fmla="*/ 22 w 362"/>
                <a:gd name="T63" fmla="*/ 148 h 751"/>
                <a:gd name="T64" fmla="*/ 22 w 362"/>
                <a:gd name="T65" fmla="*/ 109 h 751"/>
                <a:gd name="T66" fmla="*/ 35 w 362"/>
                <a:gd name="T67" fmla="*/ 0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2" h="751">
                  <a:moveTo>
                    <a:pt x="35" y="0"/>
                  </a:moveTo>
                  <a:cubicBezTo>
                    <a:pt x="35" y="0"/>
                    <a:pt x="61" y="3"/>
                    <a:pt x="69" y="14"/>
                  </a:cubicBezTo>
                  <a:cubicBezTo>
                    <a:pt x="77" y="24"/>
                    <a:pt x="99" y="26"/>
                    <a:pt x="99" y="26"/>
                  </a:cubicBezTo>
                  <a:cubicBezTo>
                    <a:pt x="99" y="26"/>
                    <a:pt x="123" y="34"/>
                    <a:pt x="123" y="36"/>
                  </a:cubicBezTo>
                  <a:cubicBezTo>
                    <a:pt x="122" y="39"/>
                    <a:pt x="130" y="41"/>
                    <a:pt x="145" y="45"/>
                  </a:cubicBezTo>
                  <a:cubicBezTo>
                    <a:pt x="161" y="50"/>
                    <a:pt x="186" y="64"/>
                    <a:pt x="186" y="68"/>
                  </a:cubicBezTo>
                  <a:cubicBezTo>
                    <a:pt x="186" y="72"/>
                    <a:pt x="227" y="112"/>
                    <a:pt x="227" y="116"/>
                  </a:cubicBezTo>
                  <a:cubicBezTo>
                    <a:pt x="227" y="120"/>
                    <a:pt x="239" y="135"/>
                    <a:pt x="238" y="162"/>
                  </a:cubicBezTo>
                  <a:cubicBezTo>
                    <a:pt x="236" y="190"/>
                    <a:pt x="235" y="224"/>
                    <a:pt x="241" y="230"/>
                  </a:cubicBezTo>
                  <a:cubicBezTo>
                    <a:pt x="247" y="235"/>
                    <a:pt x="241" y="257"/>
                    <a:pt x="241" y="257"/>
                  </a:cubicBezTo>
                  <a:cubicBezTo>
                    <a:pt x="237" y="262"/>
                    <a:pt x="237" y="269"/>
                    <a:pt x="240" y="274"/>
                  </a:cubicBezTo>
                  <a:cubicBezTo>
                    <a:pt x="245" y="283"/>
                    <a:pt x="239" y="321"/>
                    <a:pt x="239" y="321"/>
                  </a:cubicBezTo>
                  <a:cubicBezTo>
                    <a:pt x="240" y="361"/>
                    <a:pt x="240" y="361"/>
                    <a:pt x="240" y="361"/>
                  </a:cubicBezTo>
                  <a:cubicBezTo>
                    <a:pt x="240" y="361"/>
                    <a:pt x="234" y="386"/>
                    <a:pt x="241" y="387"/>
                  </a:cubicBezTo>
                  <a:cubicBezTo>
                    <a:pt x="247" y="388"/>
                    <a:pt x="240" y="400"/>
                    <a:pt x="240" y="400"/>
                  </a:cubicBezTo>
                  <a:cubicBezTo>
                    <a:pt x="240" y="400"/>
                    <a:pt x="234" y="420"/>
                    <a:pt x="241" y="429"/>
                  </a:cubicBezTo>
                  <a:cubicBezTo>
                    <a:pt x="248" y="439"/>
                    <a:pt x="250" y="478"/>
                    <a:pt x="250" y="478"/>
                  </a:cubicBezTo>
                  <a:cubicBezTo>
                    <a:pt x="360" y="638"/>
                    <a:pt x="360" y="638"/>
                    <a:pt x="360" y="638"/>
                  </a:cubicBezTo>
                  <a:cubicBezTo>
                    <a:pt x="360" y="638"/>
                    <a:pt x="362" y="667"/>
                    <a:pt x="327" y="666"/>
                  </a:cubicBezTo>
                  <a:cubicBezTo>
                    <a:pt x="292" y="666"/>
                    <a:pt x="293" y="673"/>
                    <a:pt x="294" y="680"/>
                  </a:cubicBezTo>
                  <a:cubicBezTo>
                    <a:pt x="295" y="686"/>
                    <a:pt x="284" y="693"/>
                    <a:pt x="284" y="693"/>
                  </a:cubicBezTo>
                  <a:cubicBezTo>
                    <a:pt x="284" y="693"/>
                    <a:pt x="270" y="701"/>
                    <a:pt x="278" y="709"/>
                  </a:cubicBezTo>
                  <a:cubicBezTo>
                    <a:pt x="286" y="718"/>
                    <a:pt x="310" y="738"/>
                    <a:pt x="271" y="751"/>
                  </a:cubicBezTo>
                  <a:cubicBezTo>
                    <a:pt x="266" y="745"/>
                    <a:pt x="263" y="738"/>
                    <a:pt x="260" y="731"/>
                  </a:cubicBezTo>
                  <a:cubicBezTo>
                    <a:pt x="256" y="722"/>
                    <a:pt x="254" y="713"/>
                    <a:pt x="252" y="703"/>
                  </a:cubicBezTo>
                  <a:cubicBezTo>
                    <a:pt x="252" y="703"/>
                    <a:pt x="248" y="664"/>
                    <a:pt x="241" y="659"/>
                  </a:cubicBezTo>
                  <a:cubicBezTo>
                    <a:pt x="234" y="654"/>
                    <a:pt x="235" y="630"/>
                    <a:pt x="235" y="630"/>
                  </a:cubicBezTo>
                  <a:cubicBezTo>
                    <a:pt x="235" y="630"/>
                    <a:pt x="245" y="610"/>
                    <a:pt x="231" y="601"/>
                  </a:cubicBezTo>
                  <a:cubicBezTo>
                    <a:pt x="217" y="593"/>
                    <a:pt x="8" y="478"/>
                    <a:pt x="8" y="478"/>
                  </a:cubicBezTo>
                  <a:cubicBezTo>
                    <a:pt x="3" y="325"/>
                    <a:pt x="3" y="325"/>
                    <a:pt x="3" y="325"/>
                  </a:cubicBezTo>
                  <a:cubicBezTo>
                    <a:pt x="3" y="325"/>
                    <a:pt x="0" y="211"/>
                    <a:pt x="21" y="173"/>
                  </a:cubicBezTo>
                  <a:cubicBezTo>
                    <a:pt x="21" y="173"/>
                    <a:pt x="19" y="157"/>
                    <a:pt x="22" y="148"/>
                  </a:cubicBezTo>
                  <a:cubicBezTo>
                    <a:pt x="26" y="139"/>
                    <a:pt x="22" y="109"/>
                    <a:pt x="22" y="109"/>
                  </a:cubicBezTo>
                  <a:cubicBezTo>
                    <a:pt x="35" y="0"/>
                    <a:pt x="35" y="0"/>
                    <a:pt x="35" y="0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iṡļíḑé">
              <a:extLst>
                <a:ext uri="{FF2B5EF4-FFF2-40B4-BE49-F238E27FC236}">
                  <a16:creationId xmlns:a16="http://schemas.microsoft.com/office/drawing/2014/main" id="{6C282F1F-D9EF-4C4C-8482-5D9473BC1741}"/>
                </a:ext>
              </a:extLst>
            </p:cNvPr>
            <p:cNvSpPr/>
            <p:nvPr/>
          </p:nvSpPr>
          <p:spPr bwMode="auto">
            <a:xfrm>
              <a:off x="8275638" y="4508500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1 w 2"/>
                <a:gd name="T5" fmla="*/ 0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1" y="1"/>
                    <a:pt x="1" y="1"/>
                    <a:pt x="2" y="2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D680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iŝlíďê">
              <a:extLst>
                <a:ext uri="{FF2B5EF4-FFF2-40B4-BE49-F238E27FC236}">
                  <a16:creationId xmlns:a16="http://schemas.microsoft.com/office/drawing/2014/main" id="{4D285493-FE19-4993-936E-F6684328517A}"/>
                </a:ext>
              </a:extLst>
            </p:cNvPr>
            <p:cNvSpPr/>
            <p:nvPr/>
          </p:nvSpPr>
          <p:spPr bwMode="auto">
            <a:xfrm>
              <a:off x="8256588" y="4508500"/>
              <a:ext cx="47625" cy="457200"/>
            </a:xfrm>
            <a:custGeom>
              <a:avLst/>
              <a:gdLst>
                <a:gd name="T0" fmla="*/ 13 w 33"/>
                <a:gd name="T1" fmla="*/ 0 h 315"/>
                <a:gd name="T2" fmla="*/ 25 w 33"/>
                <a:gd name="T3" fmla="*/ 46 h 315"/>
                <a:gd name="T4" fmla="*/ 12 w 33"/>
                <a:gd name="T5" fmla="*/ 93 h 315"/>
                <a:gd name="T6" fmla="*/ 6 w 33"/>
                <a:gd name="T7" fmla="*/ 175 h 315"/>
                <a:gd name="T8" fmla="*/ 0 w 33"/>
                <a:gd name="T9" fmla="*/ 266 h 315"/>
                <a:gd name="T10" fmla="*/ 3 w 33"/>
                <a:gd name="T11" fmla="*/ 315 h 315"/>
                <a:gd name="T12" fmla="*/ 4 w 33"/>
                <a:gd name="T13" fmla="*/ 315 h 315"/>
                <a:gd name="T14" fmla="*/ 2 w 33"/>
                <a:gd name="T15" fmla="*/ 267 h 315"/>
                <a:gd name="T16" fmla="*/ 8 w 33"/>
                <a:gd name="T17" fmla="*/ 176 h 315"/>
                <a:gd name="T18" fmla="*/ 14 w 33"/>
                <a:gd name="T19" fmla="*/ 94 h 315"/>
                <a:gd name="T20" fmla="*/ 27 w 33"/>
                <a:gd name="T21" fmla="*/ 48 h 315"/>
                <a:gd name="T22" fmla="*/ 15 w 33"/>
                <a:gd name="T23" fmla="*/ 2 h 315"/>
                <a:gd name="T24" fmla="*/ 13 w 33"/>
                <a:gd name="T25" fmla="*/ 0 h 315"/>
                <a:gd name="T26" fmla="*/ 13 w 33"/>
                <a:gd name="T27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15">
                  <a:moveTo>
                    <a:pt x="13" y="0"/>
                  </a:moveTo>
                  <a:cubicBezTo>
                    <a:pt x="16" y="7"/>
                    <a:pt x="32" y="38"/>
                    <a:pt x="25" y="46"/>
                  </a:cubicBezTo>
                  <a:cubicBezTo>
                    <a:pt x="18" y="55"/>
                    <a:pt x="12" y="93"/>
                    <a:pt x="12" y="93"/>
                  </a:cubicBezTo>
                  <a:cubicBezTo>
                    <a:pt x="12" y="93"/>
                    <a:pt x="13" y="156"/>
                    <a:pt x="6" y="175"/>
                  </a:cubicBezTo>
                  <a:cubicBezTo>
                    <a:pt x="0" y="194"/>
                    <a:pt x="0" y="266"/>
                    <a:pt x="0" y="266"/>
                  </a:cubicBezTo>
                  <a:cubicBezTo>
                    <a:pt x="0" y="266"/>
                    <a:pt x="2" y="291"/>
                    <a:pt x="3" y="315"/>
                  </a:cubicBezTo>
                  <a:cubicBezTo>
                    <a:pt x="3" y="315"/>
                    <a:pt x="4" y="315"/>
                    <a:pt x="4" y="315"/>
                  </a:cubicBezTo>
                  <a:cubicBezTo>
                    <a:pt x="3" y="291"/>
                    <a:pt x="2" y="267"/>
                    <a:pt x="2" y="267"/>
                  </a:cubicBezTo>
                  <a:cubicBezTo>
                    <a:pt x="2" y="267"/>
                    <a:pt x="1" y="195"/>
                    <a:pt x="8" y="176"/>
                  </a:cubicBezTo>
                  <a:cubicBezTo>
                    <a:pt x="14" y="157"/>
                    <a:pt x="14" y="94"/>
                    <a:pt x="14" y="94"/>
                  </a:cubicBezTo>
                  <a:cubicBezTo>
                    <a:pt x="14" y="94"/>
                    <a:pt x="20" y="57"/>
                    <a:pt x="27" y="48"/>
                  </a:cubicBezTo>
                  <a:cubicBezTo>
                    <a:pt x="33" y="40"/>
                    <a:pt x="19" y="10"/>
                    <a:pt x="15" y="2"/>
                  </a:cubicBezTo>
                  <a:cubicBezTo>
                    <a:pt x="14" y="1"/>
                    <a:pt x="14" y="1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</a:path>
              </a:pathLst>
            </a:custGeom>
            <a:solidFill>
              <a:srgbClr val="CCD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iṩļíḓê">
              <a:extLst>
                <a:ext uri="{FF2B5EF4-FFF2-40B4-BE49-F238E27FC236}">
                  <a16:creationId xmlns:a16="http://schemas.microsoft.com/office/drawing/2014/main" id="{3FF9E108-EF5D-4523-A2C1-5C98EF080EF4}"/>
                </a:ext>
              </a:extLst>
            </p:cNvPr>
            <p:cNvSpPr/>
            <p:nvPr/>
          </p:nvSpPr>
          <p:spPr bwMode="auto">
            <a:xfrm>
              <a:off x="8005763" y="4737100"/>
              <a:ext cx="152400" cy="133350"/>
            </a:xfrm>
            <a:custGeom>
              <a:avLst/>
              <a:gdLst>
                <a:gd name="T0" fmla="*/ 0 w 105"/>
                <a:gd name="T1" fmla="*/ 0 h 92"/>
                <a:gd name="T2" fmla="*/ 105 w 105"/>
                <a:gd name="T3" fmla="*/ 92 h 92"/>
                <a:gd name="T4" fmla="*/ 105 w 105"/>
                <a:gd name="T5" fmla="*/ 92 h 92"/>
                <a:gd name="T6" fmla="*/ 0 w 105"/>
                <a:gd name="T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" h="92">
                  <a:moveTo>
                    <a:pt x="0" y="0"/>
                  </a:moveTo>
                  <a:cubicBezTo>
                    <a:pt x="8" y="9"/>
                    <a:pt x="93" y="82"/>
                    <a:pt x="105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5" y="92"/>
                    <a:pt x="16" y="15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íSļïḍe">
              <a:extLst>
                <a:ext uri="{FF2B5EF4-FFF2-40B4-BE49-F238E27FC236}">
                  <a16:creationId xmlns:a16="http://schemas.microsoft.com/office/drawing/2014/main" id="{C5D6153D-334E-41A4-BA5E-BF93F8653E83}"/>
                </a:ext>
              </a:extLst>
            </p:cNvPr>
            <p:cNvSpPr/>
            <p:nvPr/>
          </p:nvSpPr>
          <p:spPr bwMode="auto">
            <a:xfrm>
              <a:off x="8151813" y="5135563"/>
              <a:ext cx="100013" cy="7938"/>
            </a:xfrm>
            <a:custGeom>
              <a:avLst/>
              <a:gdLst>
                <a:gd name="T0" fmla="*/ 0 w 70"/>
                <a:gd name="T1" fmla="*/ 0 h 6"/>
                <a:gd name="T2" fmla="*/ 65 w 70"/>
                <a:gd name="T3" fmla="*/ 6 h 6"/>
                <a:gd name="T4" fmla="*/ 70 w 70"/>
                <a:gd name="T5" fmla="*/ 6 h 6"/>
                <a:gd name="T6" fmla="*/ 70 w 70"/>
                <a:gd name="T7" fmla="*/ 5 h 6"/>
                <a:gd name="T8" fmla="*/ 69 w 70"/>
                <a:gd name="T9" fmla="*/ 4 h 6"/>
                <a:gd name="T10" fmla="*/ 69 w 70"/>
                <a:gd name="T11" fmla="*/ 3 h 6"/>
                <a:gd name="T12" fmla="*/ 69 w 70"/>
                <a:gd name="T13" fmla="*/ 4 h 6"/>
                <a:gd name="T14" fmla="*/ 63 w 70"/>
                <a:gd name="T15" fmla="*/ 4 h 6"/>
                <a:gd name="T16" fmla="*/ 0 w 70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6">
                  <a:moveTo>
                    <a:pt x="0" y="0"/>
                  </a:moveTo>
                  <a:cubicBezTo>
                    <a:pt x="0" y="6"/>
                    <a:pt x="49" y="6"/>
                    <a:pt x="65" y="6"/>
                  </a:cubicBezTo>
                  <a:cubicBezTo>
                    <a:pt x="68" y="6"/>
                    <a:pt x="70" y="6"/>
                    <a:pt x="70" y="6"/>
                  </a:cubicBezTo>
                  <a:cubicBezTo>
                    <a:pt x="70" y="6"/>
                    <a:pt x="70" y="5"/>
                    <a:pt x="70" y="5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7" y="4"/>
                    <a:pt x="63" y="4"/>
                  </a:cubicBezTo>
                  <a:cubicBezTo>
                    <a:pt x="49" y="4"/>
                    <a:pt x="8" y="4"/>
                    <a:pt x="0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îśľiďe">
              <a:extLst>
                <a:ext uri="{FF2B5EF4-FFF2-40B4-BE49-F238E27FC236}">
                  <a16:creationId xmlns:a16="http://schemas.microsoft.com/office/drawing/2014/main" id="{FA569C21-5ACC-4B5F-BA61-80CBC5C877F1}"/>
                </a:ext>
              </a:extLst>
            </p:cNvPr>
            <p:cNvSpPr/>
            <p:nvPr/>
          </p:nvSpPr>
          <p:spPr bwMode="auto">
            <a:xfrm>
              <a:off x="8251826" y="5129213"/>
              <a:ext cx="1588" cy="12700"/>
            </a:xfrm>
            <a:custGeom>
              <a:avLst/>
              <a:gdLst>
                <a:gd name="T0" fmla="*/ 0 w 2"/>
                <a:gd name="T1" fmla="*/ 0 h 9"/>
                <a:gd name="T2" fmla="*/ 0 w 2"/>
                <a:gd name="T3" fmla="*/ 7 h 9"/>
                <a:gd name="T4" fmla="*/ 0 w 2"/>
                <a:gd name="T5" fmla="*/ 8 h 9"/>
                <a:gd name="T6" fmla="*/ 1 w 2"/>
                <a:gd name="T7" fmla="*/ 9 h 9"/>
                <a:gd name="T8" fmla="*/ 2 w 2"/>
                <a:gd name="T9" fmla="*/ 0 h 9"/>
                <a:gd name="T10" fmla="*/ 0 w 2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cubicBezTo>
                    <a:pt x="0" y="3"/>
                    <a:pt x="0" y="6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1" y="9"/>
                  </a:cubicBezTo>
                  <a:cubicBezTo>
                    <a:pt x="1" y="7"/>
                    <a:pt x="1" y="4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CCD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íṧ1iḋé">
              <a:extLst>
                <a:ext uri="{FF2B5EF4-FFF2-40B4-BE49-F238E27FC236}">
                  <a16:creationId xmlns:a16="http://schemas.microsoft.com/office/drawing/2014/main" id="{20CD3807-3E69-4BD8-8A1A-2876E4B3996B}"/>
                </a:ext>
              </a:extLst>
            </p:cNvPr>
            <p:cNvSpPr/>
            <p:nvPr/>
          </p:nvSpPr>
          <p:spPr bwMode="auto">
            <a:xfrm>
              <a:off x="8001001" y="4492625"/>
              <a:ext cx="301625" cy="649288"/>
            </a:xfrm>
            <a:custGeom>
              <a:avLst/>
              <a:gdLst>
                <a:gd name="T0" fmla="*/ 189 w 209"/>
                <a:gd name="T1" fmla="*/ 11 h 449"/>
                <a:gd name="T2" fmla="*/ 124 w 209"/>
                <a:gd name="T3" fmla="*/ 7 h 449"/>
                <a:gd name="T4" fmla="*/ 79 w 209"/>
                <a:gd name="T5" fmla="*/ 24 h 449"/>
                <a:gd name="T6" fmla="*/ 55 w 209"/>
                <a:gd name="T7" fmla="*/ 49 h 449"/>
                <a:gd name="T8" fmla="*/ 33 w 209"/>
                <a:gd name="T9" fmla="*/ 109 h 449"/>
                <a:gd name="T10" fmla="*/ 15 w 209"/>
                <a:gd name="T11" fmla="*/ 136 h 449"/>
                <a:gd name="T12" fmla="*/ 12 w 209"/>
                <a:gd name="T13" fmla="*/ 149 h 449"/>
                <a:gd name="T14" fmla="*/ 2 w 209"/>
                <a:gd name="T15" fmla="*/ 167 h 449"/>
                <a:gd name="T16" fmla="*/ 109 w 209"/>
                <a:gd name="T17" fmla="*/ 261 h 449"/>
                <a:gd name="T18" fmla="*/ 119 w 209"/>
                <a:gd name="T19" fmla="*/ 304 h 449"/>
                <a:gd name="T20" fmla="*/ 103 w 209"/>
                <a:gd name="T21" fmla="*/ 441 h 449"/>
                <a:gd name="T22" fmla="*/ 173 w 209"/>
                <a:gd name="T23" fmla="*/ 448 h 449"/>
                <a:gd name="T24" fmla="*/ 179 w 209"/>
                <a:gd name="T25" fmla="*/ 366 h 449"/>
                <a:gd name="T26" fmla="*/ 177 w 209"/>
                <a:gd name="T27" fmla="*/ 278 h 449"/>
                <a:gd name="T28" fmla="*/ 183 w 209"/>
                <a:gd name="T29" fmla="*/ 187 h 449"/>
                <a:gd name="T30" fmla="*/ 189 w 209"/>
                <a:gd name="T31" fmla="*/ 105 h 449"/>
                <a:gd name="T32" fmla="*/ 202 w 209"/>
                <a:gd name="T33" fmla="*/ 58 h 449"/>
                <a:gd name="T34" fmla="*/ 189 w 209"/>
                <a:gd name="T35" fmla="*/ 11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9" h="449">
                  <a:moveTo>
                    <a:pt x="189" y="11"/>
                  </a:moveTo>
                  <a:cubicBezTo>
                    <a:pt x="189" y="11"/>
                    <a:pt x="138" y="0"/>
                    <a:pt x="124" y="7"/>
                  </a:cubicBezTo>
                  <a:cubicBezTo>
                    <a:pt x="110" y="14"/>
                    <a:pt x="83" y="20"/>
                    <a:pt x="79" y="24"/>
                  </a:cubicBezTo>
                  <a:cubicBezTo>
                    <a:pt x="75" y="28"/>
                    <a:pt x="64" y="25"/>
                    <a:pt x="55" y="49"/>
                  </a:cubicBezTo>
                  <a:cubicBezTo>
                    <a:pt x="46" y="73"/>
                    <a:pt x="45" y="98"/>
                    <a:pt x="33" y="109"/>
                  </a:cubicBezTo>
                  <a:cubicBezTo>
                    <a:pt x="21" y="121"/>
                    <a:pt x="15" y="128"/>
                    <a:pt x="15" y="136"/>
                  </a:cubicBezTo>
                  <a:cubicBezTo>
                    <a:pt x="14" y="145"/>
                    <a:pt x="16" y="147"/>
                    <a:pt x="12" y="149"/>
                  </a:cubicBezTo>
                  <a:cubicBezTo>
                    <a:pt x="7" y="152"/>
                    <a:pt x="0" y="163"/>
                    <a:pt x="2" y="167"/>
                  </a:cubicBezTo>
                  <a:cubicBezTo>
                    <a:pt x="4" y="171"/>
                    <a:pt x="109" y="261"/>
                    <a:pt x="109" y="261"/>
                  </a:cubicBezTo>
                  <a:cubicBezTo>
                    <a:pt x="109" y="261"/>
                    <a:pt x="114" y="295"/>
                    <a:pt x="119" y="304"/>
                  </a:cubicBezTo>
                  <a:cubicBezTo>
                    <a:pt x="123" y="313"/>
                    <a:pt x="114" y="433"/>
                    <a:pt x="103" y="441"/>
                  </a:cubicBezTo>
                  <a:cubicBezTo>
                    <a:pt x="93" y="449"/>
                    <a:pt x="173" y="448"/>
                    <a:pt x="173" y="448"/>
                  </a:cubicBezTo>
                  <a:cubicBezTo>
                    <a:pt x="173" y="448"/>
                    <a:pt x="176" y="370"/>
                    <a:pt x="179" y="366"/>
                  </a:cubicBezTo>
                  <a:cubicBezTo>
                    <a:pt x="182" y="361"/>
                    <a:pt x="177" y="278"/>
                    <a:pt x="177" y="278"/>
                  </a:cubicBezTo>
                  <a:cubicBezTo>
                    <a:pt x="177" y="278"/>
                    <a:pt x="177" y="206"/>
                    <a:pt x="183" y="187"/>
                  </a:cubicBezTo>
                  <a:cubicBezTo>
                    <a:pt x="190" y="168"/>
                    <a:pt x="189" y="105"/>
                    <a:pt x="189" y="105"/>
                  </a:cubicBezTo>
                  <a:cubicBezTo>
                    <a:pt x="189" y="105"/>
                    <a:pt x="195" y="67"/>
                    <a:pt x="202" y="58"/>
                  </a:cubicBezTo>
                  <a:cubicBezTo>
                    <a:pt x="209" y="49"/>
                    <a:pt x="189" y="11"/>
                    <a:pt x="189" y="11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î$líḋé">
              <a:extLst>
                <a:ext uri="{FF2B5EF4-FFF2-40B4-BE49-F238E27FC236}">
                  <a16:creationId xmlns:a16="http://schemas.microsoft.com/office/drawing/2014/main" id="{A3DE08D4-5662-4104-AF5D-D3BF62CB9A5E}"/>
                </a:ext>
              </a:extLst>
            </p:cNvPr>
            <p:cNvSpPr/>
            <p:nvPr/>
          </p:nvSpPr>
          <p:spPr bwMode="auto">
            <a:xfrm>
              <a:off x="8275638" y="4413250"/>
              <a:ext cx="195263" cy="88900"/>
            </a:xfrm>
            <a:custGeom>
              <a:avLst/>
              <a:gdLst>
                <a:gd name="T0" fmla="*/ 134 w 135"/>
                <a:gd name="T1" fmla="*/ 0 h 61"/>
                <a:gd name="T2" fmla="*/ 33 w 135"/>
                <a:gd name="T3" fmla="*/ 58 h 61"/>
                <a:gd name="T4" fmla="*/ 33 w 135"/>
                <a:gd name="T5" fmla="*/ 58 h 61"/>
                <a:gd name="T6" fmla="*/ 0 w 135"/>
                <a:gd name="T7" fmla="*/ 53 h 61"/>
                <a:gd name="T8" fmla="*/ 0 w 135"/>
                <a:gd name="T9" fmla="*/ 56 h 61"/>
                <a:gd name="T10" fmla="*/ 33 w 135"/>
                <a:gd name="T11" fmla="*/ 61 h 61"/>
                <a:gd name="T12" fmla="*/ 33 w 135"/>
                <a:gd name="T13" fmla="*/ 61 h 61"/>
                <a:gd name="T14" fmla="*/ 135 w 135"/>
                <a:gd name="T15" fmla="*/ 3 h 61"/>
                <a:gd name="T16" fmla="*/ 134 w 135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61">
                  <a:moveTo>
                    <a:pt x="134" y="0"/>
                  </a:moveTo>
                  <a:cubicBezTo>
                    <a:pt x="114" y="35"/>
                    <a:pt x="76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22" y="58"/>
                    <a:pt x="10" y="56"/>
                    <a:pt x="0" y="53"/>
                  </a:cubicBezTo>
                  <a:cubicBezTo>
                    <a:pt x="0" y="54"/>
                    <a:pt x="0" y="55"/>
                    <a:pt x="0" y="56"/>
                  </a:cubicBezTo>
                  <a:cubicBezTo>
                    <a:pt x="11" y="59"/>
                    <a:pt x="22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75" y="61"/>
                    <a:pt x="114" y="39"/>
                    <a:pt x="135" y="3"/>
                  </a:cubicBezTo>
                  <a:cubicBezTo>
                    <a:pt x="134" y="2"/>
                    <a:pt x="134" y="1"/>
                    <a:pt x="134" y="0"/>
                  </a:cubicBezTo>
                </a:path>
              </a:pathLst>
            </a:custGeom>
            <a:solidFill>
              <a:srgbClr val="D680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íṩḷïḍe">
              <a:extLst>
                <a:ext uri="{FF2B5EF4-FFF2-40B4-BE49-F238E27FC236}">
                  <a16:creationId xmlns:a16="http://schemas.microsoft.com/office/drawing/2014/main" id="{1CD6FCDD-DB8A-428F-9C64-F1500E02803D}"/>
                </a:ext>
              </a:extLst>
            </p:cNvPr>
            <p:cNvSpPr/>
            <p:nvPr/>
          </p:nvSpPr>
          <p:spPr bwMode="auto">
            <a:xfrm>
              <a:off x="8153401" y="4157663"/>
              <a:ext cx="341313" cy="339725"/>
            </a:xfrm>
            <a:custGeom>
              <a:avLst/>
              <a:gdLst>
                <a:gd name="T0" fmla="*/ 0 w 235"/>
                <a:gd name="T1" fmla="*/ 117 h 235"/>
                <a:gd name="T2" fmla="*/ 117 w 235"/>
                <a:gd name="T3" fmla="*/ 235 h 235"/>
                <a:gd name="T4" fmla="*/ 235 w 235"/>
                <a:gd name="T5" fmla="*/ 117 h 235"/>
                <a:gd name="T6" fmla="*/ 117 w 235"/>
                <a:gd name="T7" fmla="*/ 0 h 235"/>
                <a:gd name="T8" fmla="*/ 2 w 235"/>
                <a:gd name="T9" fmla="*/ 93 h 235"/>
                <a:gd name="T10" fmla="*/ 0 w 235"/>
                <a:gd name="T11" fmla="*/ 11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5" h="235">
                  <a:moveTo>
                    <a:pt x="0" y="117"/>
                  </a:moveTo>
                  <a:cubicBezTo>
                    <a:pt x="0" y="182"/>
                    <a:pt x="52" y="235"/>
                    <a:pt x="117" y="235"/>
                  </a:cubicBezTo>
                  <a:cubicBezTo>
                    <a:pt x="182" y="235"/>
                    <a:pt x="235" y="182"/>
                    <a:pt x="235" y="117"/>
                  </a:cubicBezTo>
                  <a:cubicBezTo>
                    <a:pt x="235" y="52"/>
                    <a:pt x="182" y="0"/>
                    <a:pt x="117" y="0"/>
                  </a:cubicBezTo>
                  <a:cubicBezTo>
                    <a:pt x="62" y="0"/>
                    <a:pt x="14" y="39"/>
                    <a:pt x="2" y="93"/>
                  </a:cubicBezTo>
                  <a:cubicBezTo>
                    <a:pt x="1" y="101"/>
                    <a:pt x="0" y="109"/>
                    <a:pt x="0" y="117"/>
                  </a:cubicBezTo>
                </a:path>
              </a:pathLst>
            </a:custGeom>
            <a:solidFill>
              <a:srgbClr val="EE8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í$ľiḋè">
              <a:extLst>
                <a:ext uri="{FF2B5EF4-FFF2-40B4-BE49-F238E27FC236}">
                  <a16:creationId xmlns:a16="http://schemas.microsoft.com/office/drawing/2014/main" id="{6C76FB5C-BD46-4386-A595-702364D31DB5}"/>
                </a:ext>
              </a:extLst>
            </p:cNvPr>
            <p:cNvSpPr/>
            <p:nvPr/>
          </p:nvSpPr>
          <p:spPr bwMode="auto">
            <a:xfrm>
              <a:off x="7896226" y="4721225"/>
              <a:ext cx="265113" cy="312738"/>
            </a:xfrm>
            <a:custGeom>
              <a:avLst/>
              <a:gdLst>
                <a:gd name="T0" fmla="*/ 103 w 183"/>
                <a:gd name="T1" fmla="*/ 0 h 216"/>
                <a:gd name="T2" fmla="*/ 75 w 183"/>
                <a:gd name="T3" fmla="*/ 9 h 216"/>
                <a:gd name="T4" fmla="*/ 69 w 183"/>
                <a:gd name="T5" fmla="*/ 24 h 216"/>
                <a:gd name="T6" fmla="*/ 62 w 183"/>
                <a:gd name="T7" fmla="*/ 39 h 216"/>
                <a:gd name="T8" fmla="*/ 51 w 183"/>
                <a:gd name="T9" fmla="*/ 53 h 216"/>
                <a:gd name="T10" fmla="*/ 40 w 183"/>
                <a:gd name="T11" fmla="*/ 73 h 216"/>
                <a:gd name="T12" fmla="*/ 16 w 183"/>
                <a:gd name="T13" fmla="*/ 100 h 216"/>
                <a:gd name="T14" fmla="*/ 9 w 183"/>
                <a:gd name="T15" fmla="*/ 111 h 216"/>
                <a:gd name="T16" fmla="*/ 0 w 183"/>
                <a:gd name="T17" fmla="*/ 115 h 216"/>
                <a:gd name="T18" fmla="*/ 5 w 183"/>
                <a:gd name="T19" fmla="*/ 207 h 216"/>
                <a:gd name="T20" fmla="*/ 54 w 183"/>
                <a:gd name="T21" fmla="*/ 216 h 216"/>
                <a:gd name="T22" fmla="*/ 84 w 183"/>
                <a:gd name="T23" fmla="*/ 213 h 216"/>
                <a:gd name="T24" fmla="*/ 109 w 183"/>
                <a:gd name="T25" fmla="*/ 203 h 216"/>
                <a:gd name="T26" fmla="*/ 130 w 183"/>
                <a:gd name="T27" fmla="*/ 191 h 216"/>
                <a:gd name="T28" fmla="*/ 140 w 183"/>
                <a:gd name="T29" fmla="*/ 166 h 216"/>
                <a:gd name="T30" fmla="*/ 183 w 183"/>
                <a:gd name="T31" fmla="*/ 100 h 216"/>
                <a:gd name="T32" fmla="*/ 103 w 183"/>
                <a:gd name="T33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3" h="216">
                  <a:moveTo>
                    <a:pt x="103" y="0"/>
                  </a:moveTo>
                  <a:cubicBezTo>
                    <a:pt x="75" y="9"/>
                    <a:pt x="75" y="9"/>
                    <a:pt x="75" y="9"/>
                  </a:cubicBezTo>
                  <a:cubicBezTo>
                    <a:pt x="76" y="14"/>
                    <a:pt x="74" y="21"/>
                    <a:pt x="69" y="24"/>
                  </a:cubicBezTo>
                  <a:cubicBezTo>
                    <a:pt x="64" y="28"/>
                    <a:pt x="61" y="33"/>
                    <a:pt x="62" y="39"/>
                  </a:cubicBezTo>
                  <a:cubicBezTo>
                    <a:pt x="62" y="39"/>
                    <a:pt x="59" y="51"/>
                    <a:pt x="51" y="53"/>
                  </a:cubicBezTo>
                  <a:cubicBezTo>
                    <a:pt x="44" y="56"/>
                    <a:pt x="40" y="73"/>
                    <a:pt x="40" y="73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7" y="107"/>
                    <a:pt x="9" y="111"/>
                  </a:cubicBezTo>
                  <a:cubicBezTo>
                    <a:pt x="10" y="114"/>
                    <a:pt x="0" y="115"/>
                    <a:pt x="0" y="115"/>
                  </a:cubicBezTo>
                  <a:cubicBezTo>
                    <a:pt x="5" y="207"/>
                    <a:pt x="5" y="207"/>
                    <a:pt x="5" y="207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84" y="213"/>
                    <a:pt x="84" y="213"/>
                    <a:pt x="84" y="213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30" y="191"/>
                    <a:pt x="130" y="191"/>
                    <a:pt x="130" y="191"/>
                  </a:cubicBezTo>
                  <a:cubicBezTo>
                    <a:pt x="140" y="166"/>
                    <a:pt x="140" y="166"/>
                    <a:pt x="140" y="166"/>
                  </a:cubicBezTo>
                  <a:cubicBezTo>
                    <a:pt x="183" y="100"/>
                    <a:pt x="183" y="100"/>
                    <a:pt x="183" y="100"/>
                  </a:cubicBezTo>
                  <a:lnTo>
                    <a:pt x="103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îṡḻîḓè">
              <a:extLst>
                <a:ext uri="{FF2B5EF4-FFF2-40B4-BE49-F238E27FC236}">
                  <a16:creationId xmlns:a16="http://schemas.microsoft.com/office/drawing/2014/main" id="{CF4A8B5C-6D13-42FB-AE13-7E69939D0B47}"/>
                </a:ext>
              </a:extLst>
            </p:cNvPr>
            <p:cNvSpPr/>
            <p:nvPr/>
          </p:nvSpPr>
          <p:spPr bwMode="auto">
            <a:xfrm>
              <a:off x="7680326" y="4767263"/>
              <a:ext cx="246063" cy="255588"/>
            </a:xfrm>
            <a:custGeom>
              <a:avLst/>
              <a:gdLst>
                <a:gd name="T0" fmla="*/ 156 w 170"/>
                <a:gd name="T1" fmla="*/ 90 h 177"/>
                <a:gd name="T2" fmla="*/ 46 w 170"/>
                <a:gd name="T3" fmla="*/ 49 h 177"/>
                <a:gd name="T4" fmla="*/ 81 w 170"/>
                <a:gd name="T5" fmla="*/ 174 h 177"/>
                <a:gd name="T6" fmla="*/ 170 w 170"/>
                <a:gd name="T7" fmla="*/ 167 h 177"/>
                <a:gd name="T8" fmla="*/ 156 w 170"/>
                <a:gd name="T9" fmla="*/ 9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77">
                  <a:moveTo>
                    <a:pt x="156" y="90"/>
                  </a:moveTo>
                  <a:cubicBezTo>
                    <a:pt x="156" y="90"/>
                    <a:pt x="93" y="0"/>
                    <a:pt x="46" y="49"/>
                  </a:cubicBezTo>
                  <a:cubicBezTo>
                    <a:pt x="0" y="98"/>
                    <a:pt x="65" y="177"/>
                    <a:pt x="81" y="174"/>
                  </a:cubicBezTo>
                  <a:cubicBezTo>
                    <a:pt x="96" y="171"/>
                    <a:pt x="170" y="167"/>
                    <a:pt x="170" y="167"/>
                  </a:cubicBezTo>
                  <a:lnTo>
                    <a:pt x="156" y="90"/>
                  </a:lnTo>
                  <a:close/>
                </a:path>
              </a:pathLst>
            </a:custGeom>
            <a:solidFill>
              <a:srgbClr val="EE8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iṧḷiďe">
              <a:extLst>
                <a:ext uri="{FF2B5EF4-FFF2-40B4-BE49-F238E27FC236}">
                  <a16:creationId xmlns:a16="http://schemas.microsoft.com/office/drawing/2014/main" id="{CD5D910C-8859-41E5-A8B5-7341B310FAF2}"/>
                </a:ext>
              </a:extLst>
            </p:cNvPr>
            <p:cNvSpPr/>
            <p:nvPr/>
          </p:nvSpPr>
          <p:spPr bwMode="auto">
            <a:xfrm>
              <a:off x="7542213" y="4633913"/>
              <a:ext cx="585788" cy="539750"/>
            </a:xfrm>
            <a:custGeom>
              <a:avLst/>
              <a:gdLst>
                <a:gd name="T0" fmla="*/ 119 w 404"/>
                <a:gd name="T1" fmla="*/ 1 h 373"/>
                <a:gd name="T2" fmla="*/ 400 w 404"/>
                <a:gd name="T3" fmla="*/ 145 h 373"/>
                <a:gd name="T4" fmla="*/ 403 w 404"/>
                <a:gd name="T5" fmla="*/ 153 h 373"/>
                <a:gd name="T6" fmla="*/ 293 w 404"/>
                <a:gd name="T7" fmla="*/ 368 h 373"/>
                <a:gd name="T8" fmla="*/ 285 w 404"/>
                <a:gd name="T9" fmla="*/ 371 h 373"/>
                <a:gd name="T10" fmla="*/ 4 w 404"/>
                <a:gd name="T11" fmla="*/ 228 h 373"/>
                <a:gd name="T12" fmla="*/ 1 w 404"/>
                <a:gd name="T13" fmla="*/ 220 h 373"/>
                <a:gd name="T14" fmla="*/ 111 w 404"/>
                <a:gd name="T15" fmla="*/ 4 h 373"/>
                <a:gd name="T16" fmla="*/ 119 w 404"/>
                <a:gd name="T17" fmla="*/ 1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4" h="373">
                  <a:moveTo>
                    <a:pt x="119" y="1"/>
                  </a:moveTo>
                  <a:cubicBezTo>
                    <a:pt x="400" y="145"/>
                    <a:pt x="400" y="145"/>
                    <a:pt x="400" y="145"/>
                  </a:cubicBezTo>
                  <a:cubicBezTo>
                    <a:pt x="403" y="146"/>
                    <a:pt x="404" y="150"/>
                    <a:pt x="403" y="153"/>
                  </a:cubicBezTo>
                  <a:cubicBezTo>
                    <a:pt x="293" y="368"/>
                    <a:pt x="293" y="368"/>
                    <a:pt x="293" y="368"/>
                  </a:cubicBezTo>
                  <a:cubicBezTo>
                    <a:pt x="291" y="371"/>
                    <a:pt x="288" y="373"/>
                    <a:pt x="285" y="371"/>
                  </a:cubicBezTo>
                  <a:cubicBezTo>
                    <a:pt x="4" y="228"/>
                    <a:pt x="4" y="228"/>
                    <a:pt x="4" y="228"/>
                  </a:cubicBezTo>
                  <a:cubicBezTo>
                    <a:pt x="1" y="226"/>
                    <a:pt x="0" y="223"/>
                    <a:pt x="1" y="220"/>
                  </a:cubicBezTo>
                  <a:cubicBezTo>
                    <a:pt x="111" y="4"/>
                    <a:pt x="111" y="4"/>
                    <a:pt x="111" y="4"/>
                  </a:cubicBezTo>
                  <a:cubicBezTo>
                    <a:pt x="113" y="1"/>
                    <a:pt x="116" y="0"/>
                    <a:pt x="119" y="1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ï$lïḓé">
              <a:extLst>
                <a:ext uri="{FF2B5EF4-FFF2-40B4-BE49-F238E27FC236}">
                  <a16:creationId xmlns:a16="http://schemas.microsoft.com/office/drawing/2014/main" id="{54557F54-5C1E-46AB-8A52-B88C2E99498B}"/>
                </a:ext>
              </a:extLst>
            </p:cNvPr>
            <p:cNvSpPr/>
            <p:nvPr/>
          </p:nvSpPr>
          <p:spPr bwMode="auto">
            <a:xfrm>
              <a:off x="7589838" y="4678363"/>
              <a:ext cx="492125" cy="449263"/>
            </a:xfrm>
            <a:custGeom>
              <a:avLst/>
              <a:gdLst>
                <a:gd name="T0" fmla="*/ 86 w 310"/>
                <a:gd name="T1" fmla="*/ 0 h 283"/>
                <a:gd name="T2" fmla="*/ 310 w 310"/>
                <a:gd name="T3" fmla="*/ 114 h 283"/>
                <a:gd name="T4" fmla="*/ 224 w 310"/>
                <a:gd name="T5" fmla="*/ 283 h 283"/>
                <a:gd name="T6" fmla="*/ 0 w 310"/>
                <a:gd name="T7" fmla="*/ 169 h 283"/>
                <a:gd name="T8" fmla="*/ 86 w 310"/>
                <a:gd name="T9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0" h="283">
                  <a:moveTo>
                    <a:pt x="86" y="0"/>
                  </a:moveTo>
                  <a:lnTo>
                    <a:pt x="310" y="114"/>
                  </a:lnTo>
                  <a:lnTo>
                    <a:pt x="224" y="283"/>
                  </a:lnTo>
                  <a:lnTo>
                    <a:pt x="0" y="169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îSḷiḍe">
              <a:extLst>
                <a:ext uri="{FF2B5EF4-FFF2-40B4-BE49-F238E27FC236}">
                  <a16:creationId xmlns:a16="http://schemas.microsoft.com/office/drawing/2014/main" id="{ADF17958-AC6C-41B1-AC65-669AF1944346}"/>
                </a:ext>
              </a:extLst>
            </p:cNvPr>
            <p:cNvSpPr/>
            <p:nvPr/>
          </p:nvSpPr>
          <p:spPr bwMode="auto">
            <a:xfrm>
              <a:off x="7637463" y="4799013"/>
              <a:ext cx="12700" cy="12700"/>
            </a:xfrm>
            <a:prstGeom prst="ellipse">
              <a:avLst/>
            </a:prstGeom>
            <a:solidFill>
              <a:srgbClr val="E6E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íŝḷiḓê">
              <a:extLst>
                <a:ext uri="{FF2B5EF4-FFF2-40B4-BE49-F238E27FC236}">
                  <a16:creationId xmlns:a16="http://schemas.microsoft.com/office/drawing/2014/main" id="{769C9925-CA0C-4A68-A0F7-5867B51AC8D7}"/>
                </a:ext>
              </a:extLst>
            </p:cNvPr>
            <p:cNvSpPr/>
            <p:nvPr/>
          </p:nvSpPr>
          <p:spPr bwMode="auto">
            <a:xfrm>
              <a:off x="8016876" y="4991100"/>
              <a:ext cx="22225" cy="22225"/>
            </a:xfrm>
            <a:prstGeom prst="ellipse">
              <a:avLst/>
            </a:prstGeom>
            <a:solidFill>
              <a:srgbClr val="E6E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îśļîḋê">
              <a:extLst>
                <a:ext uri="{FF2B5EF4-FFF2-40B4-BE49-F238E27FC236}">
                  <a16:creationId xmlns:a16="http://schemas.microsoft.com/office/drawing/2014/main" id="{8C3A6BAE-5F43-452C-9CF8-4CAA84FD4330}"/>
                </a:ext>
              </a:extLst>
            </p:cNvPr>
            <p:cNvSpPr/>
            <p:nvPr/>
          </p:nvSpPr>
          <p:spPr bwMode="auto">
            <a:xfrm>
              <a:off x="7847013" y="4827588"/>
              <a:ext cx="287338" cy="228600"/>
            </a:xfrm>
            <a:custGeom>
              <a:avLst/>
              <a:gdLst>
                <a:gd name="T0" fmla="*/ 0 w 198"/>
                <a:gd name="T1" fmla="*/ 68 h 158"/>
                <a:gd name="T2" fmla="*/ 140 w 198"/>
                <a:gd name="T3" fmla="*/ 150 h 158"/>
                <a:gd name="T4" fmla="*/ 175 w 198"/>
                <a:gd name="T5" fmla="*/ 155 h 158"/>
                <a:gd name="T6" fmla="*/ 191 w 198"/>
                <a:gd name="T7" fmla="*/ 158 h 158"/>
                <a:gd name="T8" fmla="*/ 198 w 198"/>
                <a:gd name="T9" fmla="*/ 92 h 158"/>
                <a:gd name="T10" fmla="*/ 182 w 198"/>
                <a:gd name="T11" fmla="*/ 88 h 158"/>
                <a:gd name="T12" fmla="*/ 147 w 198"/>
                <a:gd name="T13" fmla="*/ 72 h 158"/>
                <a:gd name="T14" fmla="*/ 0 w 198"/>
                <a:gd name="T15" fmla="*/ 6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8" h="158">
                  <a:moveTo>
                    <a:pt x="0" y="68"/>
                  </a:moveTo>
                  <a:cubicBezTo>
                    <a:pt x="0" y="135"/>
                    <a:pt x="140" y="150"/>
                    <a:pt x="140" y="150"/>
                  </a:cubicBezTo>
                  <a:cubicBezTo>
                    <a:pt x="175" y="155"/>
                    <a:pt x="175" y="155"/>
                    <a:pt x="175" y="155"/>
                  </a:cubicBezTo>
                  <a:cubicBezTo>
                    <a:pt x="191" y="158"/>
                    <a:pt x="191" y="158"/>
                    <a:pt x="191" y="158"/>
                  </a:cubicBezTo>
                  <a:cubicBezTo>
                    <a:pt x="198" y="92"/>
                    <a:pt x="198" y="92"/>
                    <a:pt x="198" y="92"/>
                  </a:cubicBezTo>
                  <a:cubicBezTo>
                    <a:pt x="198" y="92"/>
                    <a:pt x="191" y="90"/>
                    <a:pt x="182" y="88"/>
                  </a:cubicBezTo>
                  <a:cubicBezTo>
                    <a:pt x="168" y="85"/>
                    <a:pt x="150" y="80"/>
                    <a:pt x="147" y="72"/>
                  </a:cubicBezTo>
                  <a:cubicBezTo>
                    <a:pt x="141" y="59"/>
                    <a:pt x="1" y="0"/>
                    <a:pt x="0" y="68"/>
                  </a:cubicBezTo>
                </a:path>
              </a:pathLst>
            </a:custGeom>
            <a:solidFill>
              <a:srgbClr val="EE8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îsľïdé">
              <a:extLst>
                <a:ext uri="{FF2B5EF4-FFF2-40B4-BE49-F238E27FC236}">
                  <a16:creationId xmlns:a16="http://schemas.microsoft.com/office/drawing/2014/main" id="{B38D2906-9777-4FAA-B2B9-265277BBD01F}"/>
                </a:ext>
              </a:extLst>
            </p:cNvPr>
            <p:cNvSpPr/>
            <p:nvPr/>
          </p:nvSpPr>
          <p:spPr bwMode="auto">
            <a:xfrm>
              <a:off x="8477251" y="4394200"/>
              <a:ext cx="3175" cy="6350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0 h 4"/>
                <a:gd name="T4" fmla="*/ 2 w 2"/>
                <a:gd name="T5" fmla="*/ 0 h 4"/>
                <a:gd name="T6" fmla="*/ 0 w 2"/>
                <a:gd name="T7" fmla="*/ 4 h 4"/>
                <a:gd name="T8" fmla="*/ 1 w 2"/>
                <a:gd name="T9" fmla="*/ 4 h 4"/>
                <a:gd name="T10" fmla="*/ 2 w 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2"/>
                    <a:pt x="2" y="1"/>
                    <a:pt x="2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ïṡļîďè">
              <a:extLst>
                <a:ext uri="{FF2B5EF4-FFF2-40B4-BE49-F238E27FC236}">
                  <a16:creationId xmlns:a16="http://schemas.microsoft.com/office/drawing/2014/main" id="{DC10148D-F609-4A21-B20B-2A60DF4C3DCD}"/>
                </a:ext>
              </a:extLst>
            </p:cNvPr>
            <p:cNvSpPr/>
            <p:nvPr/>
          </p:nvSpPr>
          <p:spPr bwMode="auto">
            <a:xfrm>
              <a:off x="8156576" y="4281488"/>
              <a:ext cx="323850" cy="128588"/>
            </a:xfrm>
            <a:custGeom>
              <a:avLst/>
              <a:gdLst>
                <a:gd name="T0" fmla="*/ 179 w 223"/>
                <a:gd name="T1" fmla="*/ 71 h 89"/>
                <a:gd name="T2" fmla="*/ 177 w 223"/>
                <a:gd name="T3" fmla="*/ 71 h 89"/>
                <a:gd name="T4" fmla="*/ 169 w 223"/>
                <a:gd name="T5" fmla="*/ 80 h 89"/>
                <a:gd name="T6" fmla="*/ 158 w 223"/>
                <a:gd name="T7" fmla="*/ 85 h 89"/>
                <a:gd name="T8" fmla="*/ 149 w 223"/>
                <a:gd name="T9" fmla="*/ 80 h 89"/>
                <a:gd name="T10" fmla="*/ 149 w 223"/>
                <a:gd name="T11" fmla="*/ 80 h 89"/>
                <a:gd name="T12" fmla="*/ 149 w 223"/>
                <a:gd name="T13" fmla="*/ 80 h 89"/>
                <a:gd name="T14" fmla="*/ 149 w 223"/>
                <a:gd name="T15" fmla="*/ 78 h 89"/>
                <a:gd name="T16" fmla="*/ 149 w 223"/>
                <a:gd name="T17" fmla="*/ 83 h 89"/>
                <a:gd name="T18" fmla="*/ 158 w 223"/>
                <a:gd name="T19" fmla="*/ 89 h 89"/>
                <a:gd name="T20" fmla="*/ 169 w 223"/>
                <a:gd name="T21" fmla="*/ 84 h 89"/>
                <a:gd name="T22" fmla="*/ 177 w 223"/>
                <a:gd name="T23" fmla="*/ 74 h 89"/>
                <a:gd name="T24" fmla="*/ 179 w 223"/>
                <a:gd name="T25" fmla="*/ 74 h 89"/>
                <a:gd name="T26" fmla="*/ 189 w 223"/>
                <a:gd name="T27" fmla="*/ 77 h 89"/>
                <a:gd name="T28" fmla="*/ 219 w 223"/>
                <a:gd name="T29" fmla="*/ 82 h 89"/>
                <a:gd name="T30" fmla="*/ 221 w 223"/>
                <a:gd name="T31" fmla="*/ 82 h 89"/>
                <a:gd name="T32" fmla="*/ 223 w 223"/>
                <a:gd name="T33" fmla="*/ 78 h 89"/>
                <a:gd name="T34" fmla="*/ 222 w 223"/>
                <a:gd name="T35" fmla="*/ 78 h 89"/>
                <a:gd name="T36" fmla="*/ 219 w 223"/>
                <a:gd name="T37" fmla="*/ 78 h 89"/>
                <a:gd name="T38" fmla="*/ 189 w 223"/>
                <a:gd name="T39" fmla="*/ 73 h 89"/>
                <a:gd name="T40" fmla="*/ 179 w 223"/>
                <a:gd name="T41" fmla="*/ 71 h 89"/>
                <a:gd name="T42" fmla="*/ 92 w 223"/>
                <a:gd name="T43" fmla="*/ 22 h 89"/>
                <a:gd name="T44" fmla="*/ 93 w 223"/>
                <a:gd name="T45" fmla="*/ 32 h 89"/>
                <a:gd name="T46" fmla="*/ 117 w 223"/>
                <a:gd name="T47" fmla="*/ 47 h 89"/>
                <a:gd name="T48" fmla="*/ 144 w 223"/>
                <a:gd name="T49" fmla="*/ 56 h 89"/>
                <a:gd name="T50" fmla="*/ 150 w 223"/>
                <a:gd name="T51" fmla="*/ 69 h 89"/>
                <a:gd name="T52" fmla="*/ 149 w 223"/>
                <a:gd name="T53" fmla="*/ 62 h 89"/>
                <a:gd name="T54" fmla="*/ 144 w 223"/>
                <a:gd name="T55" fmla="*/ 53 h 89"/>
                <a:gd name="T56" fmla="*/ 117 w 223"/>
                <a:gd name="T57" fmla="*/ 43 h 89"/>
                <a:gd name="T58" fmla="*/ 93 w 223"/>
                <a:gd name="T59" fmla="*/ 29 h 89"/>
                <a:gd name="T60" fmla="*/ 93 w 223"/>
                <a:gd name="T61" fmla="*/ 27 h 89"/>
                <a:gd name="T62" fmla="*/ 92 w 223"/>
                <a:gd name="T63" fmla="*/ 22 h 89"/>
                <a:gd name="T64" fmla="*/ 0 w 223"/>
                <a:gd name="T65" fmla="*/ 7 h 89"/>
                <a:gd name="T66" fmla="*/ 0 w 223"/>
                <a:gd name="T67" fmla="*/ 7 h 89"/>
                <a:gd name="T68" fmla="*/ 1 w 223"/>
                <a:gd name="T69" fmla="*/ 7 h 89"/>
                <a:gd name="T70" fmla="*/ 0 w 223"/>
                <a:gd name="T71" fmla="*/ 7 h 89"/>
                <a:gd name="T72" fmla="*/ 68 w 223"/>
                <a:gd name="T73" fmla="*/ 0 h 89"/>
                <a:gd name="T74" fmla="*/ 59 w 223"/>
                <a:gd name="T75" fmla="*/ 1 h 89"/>
                <a:gd name="T76" fmla="*/ 25 w 223"/>
                <a:gd name="T77" fmla="*/ 23 h 89"/>
                <a:gd name="T78" fmla="*/ 23 w 223"/>
                <a:gd name="T79" fmla="*/ 23 h 89"/>
                <a:gd name="T80" fmla="*/ 18 w 223"/>
                <a:gd name="T81" fmla="*/ 22 h 89"/>
                <a:gd name="T82" fmla="*/ 9 w 223"/>
                <a:gd name="T83" fmla="*/ 8 h 89"/>
                <a:gd name="T84" fmla="*/ 1 w 223"/>
                <a:gd name="T85" fmla="*/ 4 h 89"/>
                <a:gd name="T86" fmla="*/ 1 w 223"/>
                <a:gd name="T87" fmla="*/ 7 h 89"/>
                <a:gd name="T88" fmla="*/ 9 w 223"/>
                <a:gd name="T89" fmla="*/ 11 h 89"/>
                <a:gd name="T90" fmla="*/ 18 w 223"/>
                <a:gd name="T91" fmla="*/ 25 h 89"/>
                <a:gd name="T92" fmla="*/ 23 w 223"/>
                <a:gd name="T93" fmla="*/ 26 h 89"/>
                <a:gd name="T94" fmla="*/ 24 w 223"/>
                <a:gd name="T95" fmla="*/ 26 h 89"/>
                <a:gd name="T96" fmla="*/ 59 w 223"/>
                <a:gd name="T97" fmla="*/ 4 h 89"/>
                <a:gd name="T98" fmla="*/ 68 w 223"/>
                <a:gd name="T99" fmla="*/ 3 h 89"/>
                <a:gd name="T100" fmla="*/ 82 w 223"/>
                <a:gd name="T101" fmla="*/ 6 h 89"/>
                <a:gd name="T102" fmla="*/ 90 w 223"/>
                <a:gd name="T103" fmla="*/ 11 h 89"/>
                <a:gd name="T104" fmla="*/ 92 w 223"/>
                <a:gd name="T105" fmla="*/ 21 h 89"/>
                <a:gd name="T106" fmla="*/ 92 w 223"/>
                <a:gd name="T107" fmla="*/ 13 h 89"/>
                <a:gd name="T108" fmla="*/ 90 w 223"/>
                <a:gd name="T109" fmla="*/ 8 h 89"/>
                <a:gd name="T110" fmla="*/ 82 w 223"/>
                <a:gd name="T111" fmla="*/ 3 h 89"/>
                <a:gd name="T112" fmla="*/ 68 w 223"/>
                <a:gd name="T1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3" h="89">
                  <a:moveTo>
                    <a:pt x="179" y="71"/>
                  </a:moveTo>
                  <a:cubicBezTo>
                    <a:pt x="178" y="71"/>
                    <a:pt x="177" y="71"/>
                    <a:pt x="177" y="71"/>
                  </a:cubicBezTo>
                  <a:cubicBezTo>
                    <a:pt x="171" y="72"/>
                    <a:pt x="171" y="76"/>
                    <a:pt x="169" y="80"/>
                  </a:cubicBezTo>
                  <a:cubicBezTo>
                    <a:pt x="167" y="84"/>
                    <a:pt x="163" y="85"/>
                    <a:pt x="158" y="85"/>
                  </a:cubicBezTo>
                  <a:cubicBezTo>
                    <a:pt x="154" y="85"/>
                    <a:pt x="151" y="84"/>
                    <a:pt x="149" y="80"/>
                  </a:cubicBezTo>
                  <a:cubicBezTo>
                    <a:pt x="149" y="80"/>
                    <a:pt x="149" y="80"/>
                    <a:pt x="149" y="80"/>
                  </a:cubicBezTo>
                  <a:cubicBezTo>
                    <a:pt x="149" y="80"/>
                    <a:pt x="149" y="80"/>
                    <a:pt x="149" y="80"/>
                  </a:cubicBezTo>
                  <a:cubicBezTo>
                    <a:pt x="149" y="79"/>
                    <a:pt x="149" y="79"/>
                    <a:pt x="149" y="78"/>
                  </a:cubicBezTo>
                  <a:cubicBezTo>
                    <a:pt x="149" y="80"/>
                    <a:pt x="149" y="82"/>
                    <a:pt x="149" y="83"/>
                  </a:cubicBezTo>
                  <a:cubicBezTo>
                    <a:pt x="151" y="87"/>
                    <a:pt x="154" y="89"/>
                    <a:pt x="158" y="89"/>
                  </a:cubicBezTo>
                  <a:cubicBezTo>
                    <a:pt x="163" y="89"/>
                    <a:pt x="167" y="87"/>
                    <a:pt x="169" y="84"/>
                  </a:cubicBezTo>
                  <a:cubicBezTo>
                    <a:pt x="171" y="79"/>
                    <a:pt x="171" y="76"/>
                    <a:pt x="177" y="74"/>
                  </a:cubicBezTo>
                  <a:cubicBezTo>
                    <a:pt x="177" y="74"/>
                    <a:pt x="178" y="74"/>
                    <a:pt x="179" y="74"/>
                  </a:cubicBezTo>
                  <a:cubicBezTo>
                    <a:pt x="182" y="74"/>
                    <a:pt x="186" y="75"/>
                    <a:pt x="189" y="77"/>
                  </a:cubicBezTo>
                  <a:cubicBezTo>
                    <a:pt x="199" y="80"/>
                    <a:pt x="209" y="82"/>
                    <a:pt x="219" y="82"/>
                  </a:cubicBezTo>
                  <a:cubicBezTo>
                    <a:pt x="220" y="82"/>
                    <a:pt x="221" y="82"/>
                    <a:pt x="221" y="82"/>
                  </a:cubicBezTo>
                  <a:cubicBezTo>
                    <a:pt x="222" y="80"/>
                    <a:pt x="222" y="79"/>
                    <a:pt x="223" y="78"/>
                  </a:cubicBezTo>
                  <a:cubicBezTo>
                    <a:pt x="223" y="78"/>
                    <a:pt x="222" y="78"/>
                    <a:pt x="222" y="78"/>
                  </a:cubicBezTo>
                  <a:cubicBezTo>
                    <a:pt x="221" y="78"/>
                    <a:pt x="220" y="78"/>
                    <a:pt x="219" y="78"/>
                  </a:cubicBezTo>
                  <a:cubicBezTo>
                    <a:pt x="209" y="78"/>
                    <a:pt x="199" y="77"/>
                    <a:pt x="189" y="73"/>
                  </a:cubicBezTo>
                  <a:cubicBezTo>
                    <a:pt x="186" y="72"/>
                    <a:pt x="182" y="71"/>
                    <a:pt x="179" y="71"/>
                  </a:cubicBezTo>
                  <a:moveTo>
                    <a:pt x="92" y="22"/>
                  </a:moveTo>
                  <a:cubicBezTo>
                    <a:pt x="92" y="26"/>
                    <a:pt x="92" y="29"/>
                    <a:pt x="93" y="32"/>
                  </a:cubicBezTo>
                  <a:cubicBezTo>
                    <a:pt x="96" y="41"/>
                    <a:pt x="107" y="45"/>
                    <a:pt x="117" y="47"/>
                  </a:cubicBezTo>
                  <a:cubicBezTo>
                    <a:pt x="127" y="48"/>
                    <a:pt x="138" y="48"/>
                    <a:pt x="144" y="56"/>
                  </a:cubicBezTo>
                  <a:cubicBezTo>
                    <a:pt x="147" y="60"/>
                    <a:pt x="149" y="65"/>
                    <a:pt x="150" y="69"/>
                  </a:cubicBezTo>
                  <a:cubicBezTo>
                    <a:pt x="150" y="67"/>
                    <a:pt x="150" y="64"/>
                    <a:pt x="149" y="62"/>
                  </a:cubicBezTo>
                  <a:cubicBezTo>
                    <a:pt x="148" y="59"/>
                    <a:pt x="147" y="55"/>
                    <a:pt x="144" y="53"/>
                  </a:cubicBezTo>
                  <a:cubicBezTo>
                    <a:pt x="138" y="45"/>
                    <a:pt x="127" y="45"/>
                    <a:pt x="117" y="43"/>
                  </a:cubicBezTo>
                  <a:cubicBezTo>
                    <a:pt x="107" y="42"/>
                    <a:pt x="96" y="38"/>
                    <a:pt x="93" y="29"/>
                  </a:cubicBezTo>
                  <a:cubicBezTo>
                    <a:pt x="93" y="28"/>
                    <a:pt x="93" y="28"/>
                    <a:pt x="93" y="27"/>
                  </a:cubicBezTo>
                  <a:cubicBezTo>
                    <a:pt x="92" y="26"/>
                    <a:pt x="92" y="24"/>
                    <a:pt x="92" y="22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moveTo>
                    <a:pt x="68" y="0"/>
                  </a:moveTo>
                  <a:cubicBezTo>
                    <a:pt x="65" y="0"/>
                    <a:pt x="62" y="0"/>
                    <a:pt x="59" y="1"/>
                  </a:cubicBezTo>
                  <a:cubicBezTo>
                    <a:pt x="46" y="5"/>
                    <a:pt x="38" y="21"/>
                    <a:pt x="25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1" y="23"/>
                    <a:pt x="20" y="22"/>
                    <a:pt x="18" y="22"/>
                  </a:cubicBezTo>
                  <a:cubicBezTo>
                    <a:pt x="13" y="19"/>
                    <a:pt x="13" y="12"/>
                    <a:pt x="9" y="8"/>
                  </a:cubicBezTo>
                  <a:cubicBezTo>
                    <a:pt x="7" y="5"/>
                    <a:pt x="4" y="4"/>
                    <a:pt x="1" y="4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4" y="7"/>
                    <a:pt x="7" y="9"/>
                    <a:pt x="9" y="11"/>
                  </a:cubicBezTo>
                  <a:cubicBezTo>
                    <a:pt x="13" y="15"/>
                    <a:pt x="13" y="23"/>
                    <a:pt x="18" y="25"/>
                  </a:cubicBezTo>
                  <a:cubicBezTo>
                    <a:pt x="20" y="26"/>
                    <a:pt x="21" y="26"/>
                    <a:pt x="23" y="26"/>
                  </a:cubicBezTo>
                  <a:cubicBezTo>
                    <a:pt x="23" y="26"/>
                    <a:pt x="24" y="26"/>
                    <a:pt x="24" y="26"/>
                  </a:cubicBezTo>
                  <a:cubicBezTo>
                    <a:pt x="38" y="24"/>
                    <a:pt x="46" y="8"/>
                    <a:pt x="59" y="4"/>
                  </a:cubicBezTo>
                  <a:cubicBezTo>
                    <a:pt x="62" y="4"/>
                    <a:pt x="65" y="3"/>
                    <a:pt x="68" y="3"/>
                  </a:cubicBezTo>
                  <a:cubicBezTo>
                    <a:pt x="73" y="3"/>
                    <a:pt x="78" y="4"/>
                    <a:pt x="82" y="6"/>
                  </a:cubicBezTo>
                  <a:cubicBezTo>
                    <a:pt x="85" y="7"/>
                    <a:pt x="88" y="9"/>
                    <a:pt x="90" y="11"/>
                  </a:cubicBezTo>
                  <a:cubicBezTo>
                    <a:pt x="92" y="14"/>
                    <a:pt x="92" y="17"/>
                    <a:pt x="92" y="21"/>
                  </a:cubicBezTo>
                  <a:cubicBezTo>
                    <a:pt x="92" y="18"/>
                    <a:pt x="92" y="15"/>
                    <a:pt x="92" y="13"/>
                  </a:cubicBezTo>
                  <a:cubicBezTo>
                    <a:pt x="91" y="11"/>
                    <a:pt x="91" y="9"/>
                    <a:pt x="90" y="8"/>
                  </a:cubicBezTo>
                  <a:cubicBezTo>
                    <a:pt x="88" y="6"/>
                    <a:pt x="85" y="4"/>
                    <a:pt x="82" y="3"/>
                  </a:cubicBezTo>
                  <a:cubicBezTo>
                    <a:pt x="78" y="1"/>
                    <a:pt x="73" y="0"/>
                    <a:pt x="68" y="0"/>
                  </a:cubicBezTo>
                </a:path>
              </a:pathLst>
            </a:custGeom>
            <a:solidFill>
              <a:srgbClr val="D680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ïṥļïḍe">
              <a:extLst>
                <a:ext uri="{FF2B5EF4-FFF2-40B4-BE49-F238E27FC236}">
                  <a16:creationId xmlns:a16="http://schemas.microsoft.com/office/drawing/2014/main" id="{CABF8245-AA8B-4FA9-967C-70673B016A6C}"/>
                </a:ext>
              </a:extLst>
            </p:cNvPr>
            <p:cNvSpPr/>
            <p:nvPr/>
          </p:nvSpPr>
          <p:spPr bwMode="auto">
            <a:xfrm>
              <a:off x="8113713" y="4062413"/>
              <a:ext cx="422275" cy="347663"/>
            </a:xfrm>
            <a:custGeom>
              <a:avLst/>
              <a:gdLst>
                <a:gd name="T0" fmla="*/ 179 w 291"/>
                <a:gd name="T1" fmla="*/ 232 h 240"/>
                <a:gd name="T2" fmla="*/ 179 w 291"/>
                <a:gd name="T3" fmla="*/ 224 h 240"/>
                <a:gd name="T4" fmla="*/ 174 w 291"/>
                <a:gd name="T5" fmla="*/ 204 h 240"/>
                <a:gd name="T6" fmla="*/ 147 w 291"/>
                <a:gd name="T7" fmla="*/ 195 h 240"/>
                <a:gd name="T8" fmla="*/ 123 w 291"/>
                <a:gd name="T9" fmla="*/ 181 h 240"/>
                <a:gd name="T10" fmla="*/ 120 w 291"/>
                <a:gd name="T11" fmla="*/ 160 h 240"/>
                <a:gd name="T12" fmla="*/ 112 w 291"/>
                <a:gd name="T13" fmla="*/ 155 h 240"/>
                <a:gd name="T14" fmla="*/ 89 w 291"/>
                <a:gd name="T15" fmla="*/ 153 h 240"/>
                <a:gd name="T16" fmla="*/ 54 w 291"/>
                <a:gd name="T17" fmla="*/ 174 h 240"/>
                <a:gd name="T18" fmla="*/ 48 w 291"/>
                <a:gd name="T19" fmla="*/ 174 h 240"/>
                <a:gd name="T20" fmla="*/ 39 w 291"/>
                <a:gd name="T21" fmla="*/ 159 h 240"/>
                <a:gd name="T22" fmla="*/ 13 w 291"/>
                <a:gd name="T23" fmla="*/ 152 h 240"/>
                <a:gd name="T24" fmla="*/ 5 w 291"/>
                <a:gd name="T25" fmla="*/ 137 h 240"/>
                <a:gd name="T26" fmla="*/ 3 w 291"/>
                <a:gd name="T27" fmla="*/ 103 h 240"/>
                <a:gd name="T28" fmla="*/ 35 w 291"/>
                <a:gd name="T29" fmla="*/ 55 h 240"/>
                <a:gd name="T30" fmla="*/ 66 w 291"/>
                <a:gd name="T31" fmla="*/ 10 h 240"/>
                <a:gd name="T32" fmla="*/ 118 w 291"/>
                <a:gd name="T33" fmla="*/ 8 h 240"/>
                <a:gd name="T34" fmla="*/ 143 w 291"/>
                <a:gd name="T35" fmla="*/ 14 h 240"/>
                <a:gd name="T36" fmla="*/ 184 w 291"/>
                <a:gd name="T37" fmla="*/ 11 h 240"/>
                <a:gd name="T38" fmla="*/ 239 w 291"/>
                <a:gd name="T39" fmla="*/ 28 h 240"/>
                <a:gd name="T40" fmla="*/ 248 w 291"/>
                <a:gd name="T41" fmla="*/ 37 h 240"/>
                <a:gd name="T42" fmla="*/ 252 w 291"/>
                <a:gd name="T43" fmla="*/ 54 h 240"/>
                <a:gd name="T44" fmla="*/ 263 w 291"/>
                <a:gd name="T45" fmla="*/ 84 h 240"/>
                <a:gd name="T46" fmla="*/ 277 w 291"/>
                <a:gd name="T47" fmla="*/ 105 h 240"/>
                <a:gd name="T48" fmla="*/ 281 w 291"/>
                <a:gd name="T49" fmla="*/ 129 h 240"/>
                <a:gd name="T50" fmla="*/ 276 w 291"/>
                <a:gd name="T51" fmla="*/ 141 h 240"/>
                <a:gd name="T52" fmla="*/ 284 w 291"/>
                <a:gd name="T53" fmla="*/ 170 h 240"/>
                <a:gd name="T54" fmla="*/ 290 w 291"/>
                <a:gd name="T55" fmla="*/ 198 h 240"/>
                <a:gd name="T56" fmla="*/ 278 w 291"/>
                <a:gd name="T57" fmla="*/ 222 h 240"/>
                <a:gd name="T58" fmla="*/ 252 w 291"/>
                <a:gd name="T59" fmla="*/ 230 h 240"/>
                <a:gd name="T60" fmla="*/ 219 w 291"/>
                <a:gd name="T61" fmla="*/ 225 h 240"/>
                <a:gd name="T62" fmla="*/ 207 w 291"/>
                <a:gd name="T63" fmla="*/ 223 h 240"/>
                <a:gd name="T64" fmla="*/ 199 w 291"/>
                <a:gd name="T65" fmla="*/ 232 h 240"/>
                <a:gd name="T66" fmla="*/ 179 w 291"/>
                <a:gd name="T67" fmla="*/ 23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1" h="240">
                  <a:moveTo>
                    <a:pt x="179" y="232"/>
                  </a:moveTo>
                  <a:cubicBezTo>
                    <a:pt x="179" y="229"/>
                    <a:pt x="179" y="227"/>
                    <a:pt x="179" y="224"/>
                  </a:cubicBezTo>
                  <a:cubicBezTo>
                    <a:pt x="181" y="217"/>
                    <a:pt x="179" y="210"/>
                    <a:pt x="174" y="204"/>
                  </a:cubicBezTo>
                  <a:cubicBezTo>
                    <a:pt x="168" y="197"/>
                    <a:pt x="157" y="196"/>
                    <a:pt x="147" y="195"/>
                  </a:cubicBezTo>
                  <a:cubicBezTo>
                    <a:pt x="137" y="194"/>
                    <a:pt x="126" y="190"/>
                    <a:pt x="123" y="181"/>
                  </a:cubicBezTo>
                  <a:cubicBezTo>
                    <a:pt x="121" y="174"/>
                    <a:pt x="124" y="165"/>
                    <a:pt x="120" y="160"/>
                  </a:cubicBezTo>
                  <a:cubicBezTo>
                    <a:pt x="118" y="157"/>
                    <a:pt x="115" y="156"/>
                    <a:pt x="112" y="155"/>
                  </a:cubicBezTo>
                  <a:cubicBezTo>
                    <a:pt x="105" y="152"/>
                    <a:pt x="97" y="151"/>
                    <a:pt x="89" y="153"/>
                  </a:cubicBezTo>
                  <a:cubicBezTo>
                    <a:pt x="76" y="157"/>
                    <a:pt x="68" y="172"/>
                    <a:pt x="54" y="174"/>
                  </a:cubicBezTo>
                  <a:cubicBezTo>
                    <a:pt x="52" y="175"/>
                    <a:pt x="50" y="175"/>
                    <a:pt x="48" y="174"/>
                  </a:cubicBezTo>
                  <a:cubicBezTo>
                    <a:pt x="43" y="171"/>
                    <a:pt x="43" y="164"/>
                    <a:pt x="39" y="159"/>
                  </a:cubicBezTo>
                  <a:cubicBezTo>
                    <a:pt x="33" y="153"/>
                    <a:pt x="21" y="157"/>
                    <a:pt x="13" y="152"/>
                  </a:cubicBezTo>
                  <a:cubicBezTo>
                    <a:pt x="8" y="149"/>
                    <a:pt x="6" y="143"/>
                    <a:pt x="5" y="137"/>
                  </a:cubicBezTo>
                  <a:cubicBezTo>
                    <a:pt x="2" y="126"/>
                    <a:pt x="0" y="114"/>
                    <a:pt x="3" y="103"/>
                  </a:cubicBezTo>
                  <a:cubicBezTo>
                    <a:pt x="7" y="84"/>
                    <a:pt x="24" y="71"/>
                    <a:pt x="35" y="55"/>
                  </a:cubicBezTo>
                  <a:cubicBezTo>
                    <a:pt x="45" y="39"/>
                    <a:pt x="51" y="20"/>
                    <a:pt x="66" y="10"/>
                  </a:cubicBezTo>
                  <a:cubicBezTo>
                    <a:pt x="81" y="0"/>
                    <a:pt x="101" y="2"/>
                    <a:pt x="118" y="8"/>
                  </a:cubicBezTo>
                  <a:cubicBezTo>
                    <a:pt x="126" y="10"/>
                    <a:pt x="134" y="12"/>
                    <a:pt x="143" y="14"/>
                  </a:cubicBezTo>
                  <a:cubicBezTo>
                    <a:pt x="157" y="16"/>
                    <a:pt x="171" y="12"/>
                    <a:pt x="184" y="11"/>
                  </a:cubicBezTo>
                  <a:cubicBezTo>
                    <a:pt x="204" y="11"/>
                    <a:pt x="223" y="17"/>
                    <a:pt x="239" y="28"/>
                  </a:cubicBezTo>
                  <a:cubicBezTo>
                    <a:pt x="243" y="31"/>
                    <a:pt x="246" y="34"/>
                    <a:pt x="248" y="37"/>
                  </a:cubicBezTo>
                  <a:cubicBezTo>
                    <a:pt x="251" y="42"/>
                    <a:pt x="252" y="48"/>
                    <a:pt x="252" y="54"/>
                  </a:cubicBezTo>
                  <a:cubicBezTo>
                    <a:pt x="254" y="64"/>
                    <a:pt x="258" y="74"/>
                    <a:pt x="263" y="84"/>
                  </a:cubicBezTo>
                  <a:cubicBezTo>
                    <a:pt x="268" y="91"/>
                    <a:pt x="273" y="97"/>
                    <a:pt x="277" y="105"/>
                  </a:cubicBezTo>
                  <a:cubicBezTo>
                    <a:pt x="281" y="112"/>
                    <a:pt x="283" y="121"/>
                    <a:pt x="281" y="129"/>
                  </a:cubicBezTo>
                  <a:cubicBezTo>
                    <a:pt x="279" y="133"/>
                    <a:pt x="277" y="137"/>
                    <a:pt x="276" y="141"/>
                  </a:cubicBezTo>
                  <a:cubicBezTo>
                    <a:pt x="273" y="151"/>
                    <a:pt x="280" y="161"/>
                    <a:pt x="284" y="170"/>
                  </a:cubicBezTo>
                  <a:cubicBezTo>
                    <a:pt x="289" y="179"/>
                    <a:pt x="291" y="188"/>
                    <a:pt x="290" y="198"/>
                  </a:cubicBezTo>
                  <a:cubicBezTo>
                    <a:pt x="290" y="207"/>
                    <a:pt x="286" y="216"/>
                    <a:pt x="278" y="222"/>
                  </a:cubicBezTo>
                  <a:cubicBezTo>
                    <a:pt x="271" y="227"/>
                    <a:pt x="261" y="230"/>
                    <a:pt x="252" y="230"/>
                  </a:cubicBezTo>
                  <a:cubicBezTo>
                    <a:pt x="241" y="230"/>
                    <a:pt x="230" y="229"/>
                    <a:pt x="219" y="225"/>
                  </a:cubicBezTo>
                  <a:cubicBezTo>
                    <a:pt x="215" y="223"/>
                    <a:pt x="211" y="223"/>
                    <a:pt x="207" y="223"/>
                  </a:cubicBezTo>
                  <a:cubicBezTo>
                    <a:pt x="201" y="224"/>
                    <a:pt x="201" y="228"/>
                    <a:pt x="199" y="232"/>
                  </a:cubicBezTo>
                  <a:cubicBezTo>
                    <a:pt x="195" y="238"/>
                    <a:pt x="182" y="240"/>
                    <a:pt x="179" y="232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îŝ1ïḋe">
              <a:extLst>
                <a:ext uri="{FF2B5EF4-FFF2-40B4-BE49-F238E27FC236}">
                  <a16:creationId xmlns:a16="http://schemas.microsoft.com/office/drawing/2014/main" id="{41501C16-C38E-40E2-9525-7BF9D41DF576}"/>
                </a:ext>
              </a:extLst>
            </p:cNvPr>
            <p:cNvSpPr/>
            <p:nvPr/>
          </p:nvSpPr>
          <p:spPr bwMode="auto">
            <a:xfrm>
              <a:off x="8215313" y="5313363"/>
              <a:ext cx="6350" cy="3175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0 h 3"/>
                <a:gd name="T4" fmla="*/ 4 w 5"/>
                <a:gd name="T5" fmla="*/ 3 h 3"/>
                <a:gd name="T6" fmla="*/ 5 w 5"/>
                <a:gd name="T7" fmla="*/ 3 h 3"/>
                <a:gd name="T8" fmla="*/ 0 w 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3"/>
                    <a:pt x="5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653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îS1ïḍé">
              <a:extLst>
                <a:ext uri="{FF2B5EF4-FFF2-40B4-BE49-F238E27FC236}">
                  <a16:creationId xmlns:a16="http://schemas.microsoft.com/office/drawing/2014/main" id="{F5CA8B7B-EF0A-4797-871B-F50B6D159FAA}"/>
                </a:ext>
              </a:extLst>
            </p:cNvPr>
            <p:cNvSpPr/>
            <p:nvPr/>
          </p:nvSpPr>
          <p:spPr bwMode="auto">
            <a:xfrm>
              <a:off x="8215313" y="5149850"/>
              <a:ext cx="254000" cy="166688"/>
            </a:xfrm>
            <a:custGeom>
              <a:avLst/>
              <a:gdLst>
                <a:gd name="T0" fmla="*/ 176 w 176"/>
                <a:gd name="T1" fmla="*/ 0 h 116"/>
                <a:gd name="T2" fmla="*/ 175 w 176"/>
                <a:gd name="T3" fmla="*/ 1 h 116"/>
                <a:gd name="T4" fmla="*/ 175 w 176"/>
                <a:gd name="T5" fmla="*/ 1 h 116"/>
                <a:gd name="T6" fmla="*/ 163 w 176"/>
                <a:gd name="T7" fmla="*/ 7 h 116"/>
                <a:gd name="T8" fmla="*/ 155 w 176"/>
                <a:gd name="T9" fmla="*/ 7 h 116"/>
                <a:gd name="T10" fmla="*/ 146 w 176"/>
                <a:gd name="T11" fmla="*/ 6 h 116"/>
                <a:gd name="T12" fmla="*/ 132 w 176"/>
                <a:gd name="T13" fmla="*/ 9 h 116"/>
                <a:gd name="T14" fmla="*/ 35 w 176"/>
                <a:gd name="T15" fmla="*/ 106 h 116"/>
                <a:gd name="T16" fmla="*/ 35 w 176"/>
                <a:gd name="T17" fmla="*/ 106 h 116"/>
                <a:gd name="T18" fmla="*/ 17 w 176"/>
                <a:gd name="T19" fmla="*/ 103 h 116"/>
                <a:gd name="T20" fmla="*/ 8 w 176"/>
                <a:gd name="T21" fmla="*/ 108 h 116"/>
                <a:gd name="T22" fmla="*/ 8 w 176"/>
                <a:gd name="T23" fmla="*/ 109 h 116"/>
                <a:gd name="T24" fmla="*/ 0 w 176"/>
                <a:gd name="T25" fmla="*/ 113 h 116"/>
                <a:gd name="T26" fmla="*/ 5 w 176"/>
                <a:gd name="T27" fmla="*/ 116 h 116"/>
                <a:gd name="T28" fmla="*/ 8 w 176"/>
                <a:gd name="T29" fmla="*/ 113 h 116"/>
                <a:gd name="T30" fmla="*/ 8 w 176"/>
                <a:gd name="T31" fmla="*/ 112 h 116"/>
                <a:gd name="T32" fmla="*/ 17 w 176"/>
                <a:gd name="T33" fmla="*/ 108 h 116"/>
                <a:gd name="T34" fmla="*/ 36 w 176"/>
                <a:gd name="T35" fmla="*/ 110 h 116"/>
                <a:gd name="T36" fmla="*/ 36 w 176"/>
                <a:gd name="T37" fmla="*/ 110 h 116"/>
                <a:gd name="T38" fmla="*/ 132 w 176"/>
                <a:gd name="T39" fmla="*/ 14 h 116"/>
                <a:gd name="T40" fmla="*/ 147 w 176"/>
                <a:gd name="T41" fmla="*/ 11 h 116"/>
                <a:gd name="T42" fmla="*/ 156 w 176"/>
                <a:gd name="T43" fmla="*/ 11 h 116"/>
                <a:gd name="T44" fmla="*/ 164 w 176"/>
                <a:gd name="T45" fmla="*/ 12 h 116"/>
                <a:gd name="T46" fmla="*/ 175 w 176"/>
                <a:gd name="T47" fmla="*/ 6 h 116"/>
                <a:gd name="T48" fmla="*/ 176 w 176"/>
                <a:gd name="T4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6" h="116">
                  <a:moveTo>
                    <a:pt x="176" y="0"/>
                  </a:moveTo>
                  <a:cubicBezTo>
                    <a:pt x="176" y="0"/>
                    <a:pt x="175" y="0"/>
                    <a:pt x="175" y="1"/>
                  </a:cubicBezTo>
                  <a:cubicBezTo>
                    <a:pt x="175" y="1"/>
                    <a:pt x="175" y="1"/>
                    <a:pt x="175" y="1"/>
                  </a:cubicBezTo>
                  <a:cubicBezTo>
                    <a:pt x="174" y="6"/>
                    <a:pt x="170" y="7"/>
                    <a:pt x="163" y="7"/>
                  </a:cubicBezTo>
                  <a:cubicBezTo>
                    <a:pt x="161" y="7"/>
                    <a:pt x="158" y="7"/>
                    <a:pt x="155" y="7"/>
                  </a:cubicBezTo>
                  <a:cubicBezTo>
                    <a:pt x="152" y="7"/>
                    <a:pt x="149" y="6"/>
                    <a:pt x="146" y="6"/>
                  </a:cubicBezTo>
                  <a:cubicBezTo>
                    <a:pt x="141" y="6"/>
                    <a:pt x="136" y="7"/>
                    <a:pt x="132" y="9"/>
                  </a:cubicBezTo>
                  <a:cubicBezTo>
                    <a:pt x="118" y="16"/>
                    <a:pt x="48" y="106"/>
                    <a:pt x="35" y="106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28" y="105"/>
                    <a:pt x="22" y="103"/>
                    <a:pt x="17" y="103"/>
                  </a:cubicBezTo>
                  <a:cubicBezTo>
                    <a:pt x="13" y="103"/>
                    <a:pt x="10" y="104"/>
                    <a:pt x="8" y="108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6" y="111"/>
                    <a:pt x="3" y="112"/>
                    <a:pt x="0" y="11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6" y="115"/>
                    <a:pt x="7" y="114"/>
                    <a:pt x="8" y="113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11" y="109"/>
                    <a:pt x="14" y="108"/>
                    <a:pt x="17" y="108"/>
                  </a:cubicBezTo>
                  <a:cubicBezTo>
                    <a:pt x="22" y="108"/>
                    <a:pt x="28" y="110"/>
                    <a:pt x="36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48" y="110"/>
                    <a:pt x="118" y="21"/>
                    <a:pt x="132" y="14"/>
                  </a:cubicBezTo>
                  <a:cubicBezTo>
                    <a:pt x="136" y="12"/>
                    <a:pt x="142" y="11"/>
                    <a:pt x="147" y="11"/>
                  </a:cubicBezTo>
                  <a:cubicBezTo>
                    <a:pt x="150" y="11"/>
                    <a:pt x="153" y="11"/>
                    <a:pt x="156" y="11"/>
                  </a:cubicBezTo>
                  <a:cubicBezTo>
                    <a:pt x="158" y="12"/>
                    <a:pt x="161" y="12"/>
                    <a:pt x="164" y="12"/>
                  </a:cubicBezTo>
                  <a:cubicBezTo>
                    <a:pt x="170" y="12"/>
                    <a:pt x="175" y="11"/>
                    <a:pt x="175" y="6"/>
                  </a:cubicBezTo>
                  <a:cubicBezTo>
                    <a:pt x="175" y="4"/>
                    <a:pt x="175" y="2"/>
                    <a:pt x="176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íṡḻíḋé">
              <a:extLst>
                <a:ext uri="{FF2B5EF4-FFF2-40B4-BE49-F238E27FC236}">
                  <a16:creationId xmlns:a16="http://schemas.microsoft.com/office/drawing/2014/main" id="{C5DE1202-BF83-427B-8EAD-C573098C6957}"/>
                </a:ext>
              </a:extLst>
            </p:cNvPr>
            <p:cNvSpPr/>
            <p:nvPr/>
          </p:nvSpPr>
          <p:spPr bwMode="auto">
            <a:xfrm>
              <a:off x="8088313" y="5043488"/>
              <a:ext cx="728663" cy="485775"/>
            </a:xfrm>
            <a:custGeom>
              <a:avLst/>
              <a:gdLst>
                <a:gd name="T0" fmla="*/ 0 w 502"/>
                <a:gd name="T1" fmla="*/ 212 h 335"/>
                <a:gd name="T2" fmla="*/ 33 w 502"/>
                <a:gd name="T3" fmla="*/ 318 h 335"/>
                <a:gd name="T4" fmla="*/ 38 w 502"/>
                <a:gd name="T5" fmla="*/ 335 h 335"/>
                <a:gd name="T6" fmla="*/ 54 w 502"/>
                <a:gd name="T7" fmla="*/ 331 h 335"/>
                <a:gd name="T8" fmla="*/ 89 w 502"/>
                <a:gd name="T9" fmla="*/ 321 h 335"/>
                <a:gd name="T10" fmla="*/ 244 w 502"/>
                <a:gd name="T11" fmla="*/ 278 h 335"/>
                <a:gd name="T12" fmla="*/ 300 w 502"/>
                <a:gd name="T13" fmla="*/ 263 h 335"/>
                <a:gd name="T14" fmla="*/ 397 w 502"/>
                <a:gd name="T15" fmla="*/ 242 h 335"/>
                <a:gd name="T16" fmla="*/ 459 w 502"/>
                <a:gd name="T17" fmla="*/ 200 h 335"/>
                <a:gd name="T18" fmla="*/ 394 w 502"/>
                <a:gd name="T19" fmla="*/ 37 h 335"/>
                <a:gd name="T20" fmla="*/ 280 w 502"/>
                <a:gd name="T21" fmla="*/ 56 h 335"/>
                <a:gd name="T22" fmla="*/ 278 w 502"/>
                <a:gd name="T23" fmla="*/ 57 h 335"/>
                <a:gd name="T24" fmla="*/ 262 w 502"/>
                <a:gd name="T25" fmla="*/ 79 h 335"/>
                <a:gd name="T26" fmla="*/ 243 w 502"/>
                <a:gd name="T27" fmla="*/ 84 h 335"/>
                <a:gd name="T28" fmla="*/ 219 w 502"/>
                <a:gd name="T29" fmla="*/ 87 h 335"/>
                <a:gd name="T30" fmla="*/ 123 w 502"/>
                <a:gd name="T31" fmla="*/ 183 h 335"/>
                <a:gd name="T32" fmla="*/ 95 w 502"/>
                <a:gd name="T33" fmla="*/ 185 h 335"/>
                <a:gd name="T34" fmla="*/ 95 w 502"/>
                <a:gd name="T35" fmla="*/ 186 h 335"/>
                <a:gd name="T36" fmla="*/ 72 w 502"/>
                <a:gd name="T37" fmla="*/ 193 h 335"/>
                <a:gd name="T38" fmla="*/ 65 w 502"/>
                <a:gd name="T39" fmla="*/ 193 h 335"/>
                <a:gd name="T40" fmla="*/ 64 w 502"/>
                <a:gd name="T41" fmla="*/ 193 h 335"/>
                <a:gd name="T42" fmla="*/ 56 w 502"/>
                <a:gd name="T43" fmla="*/ 195 h 335"/>
                <a:gd name="T44" fmla="*/ 0 w 502"/>
                <a:gd name="T45" fmla="*/ 212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02" h="335">
                  <a:moveTo>
                    <a:pt x="0" y="212"/>
                  </a:moveTo>
                  <a:cubicBezTo>
                    <a:pt x="33" y="318"/>
                    <a:pt x="33" y="318"/>
                    <a:pt x="33" y="318"/>
                  </a:cubicBezTo>
                  <a:cubicBezTo>
                    <a:pt x="38" y="335"/>
                    <a:pt x="38" y="335"/>
                    <a:pt x="38" y="335"/>
                  </a:cubicBezTo>
                  <a:cubicBezTo>
                    <a:pt x="54" y="331"/>
                    <a:pt x="54" y="331"/>
                    <a:pt x="54" y="331"/>
                  </a:cubicBezTo>
                  <a:cubicBezTo>
                    <a:pt x="89" y="321"/>
                    <a:pt x="89" y="321"/>
                    <a:pt x="89" y="321"/>
                  </a:cubicBezTo>
                  <a:cubicBezTo>
                    <a:pt x="244" y="278"/>
                    <a:pt x="244" y="278"/>
                    <a:pt x="244" y="278"/>
                  </a:cubicBezTo>
                  <a:cubicBezTo>
                    <a:pt x="264" y="277"/>
                    <a:pt x="283" y="272"/>
                    <a:pt x="300" y="263"/>
                  </a:cubicBezTo>
                  <a:cubicBezTo>
                    <a:pt x="330" y="247"/>
                    <a:pt x="363" y="240"/>
                    <a:pt x="397" y="242"/>
                  </a:cubicBezTo>
                  <a:cubicBezTo>
                    <a:pt x="418" y="244"/>
                    <a:pt x="440" y="235"/>
                    <a:pt x="459" y="200"/>
                  </a:cubicBezTo>
                  <a:cubicBezTo>
                    <a:pt x="459" y="200"/>
                    <a:pt x="502" y="73"/>
                    <a:pt x="394" y="37"/>
                  </a:cubicBezTo>
                  <a:cubicBezTo>
                    <a:pt x="285" y="0"/>
                    <a:pt x="280" y="56"/>
                    <a:pt x="280" y="56"/>
                  </a:cubicBezTo>
                  <a:cubicBezTo>
                    <a:pt x="278" y="57"/>
                    <a:pt x="278" y="57"/>
                    <a:pt x="278" y="57"/>
                  </a:cubicBezTo>
                  <a:cubicBezTo>
                    <a:pt x="274" y="60"/>
                    <a:pt x="262" y="68"/>
                    <a:pt x="262" y="79"/>
                  </a:cubicBezTo>
                  <a:cubicBezTo>
                    <a:pt x="262" y="86"/>
                    <a:pt x="253" y="85"/>
                    <a:pt x="243" y="84"/>
                  </a:cubicBezTo>
                  <a:cubicBezTo>
                    <a:pt x="235" y="84"/>
                    <a:pt x="226" y="83"/>
                    <a:pt x="219" y="87"/>
                  </a:cubicBezTo>
                  <a:cubicBezTo>
                    <a:pt x="205" y="94"/>
                    <a:pt x="135" y="184"/>
                    <a:pt x="123" y="183"/>
                  </a:cubicBezTo>
                  <a:cubicBezTo>
                    <a:pt x="110" y="182"/>
                    <a:pt x="101" y="177"/>
                    <a:pt x="95" y="185"/>
                  </a:cubicBezTo>
                  <a:cubicBezTo>
                    <a:pt x="95" y="186"/>
                    <a:pt x="95" y="186"/>
                    <a:pt x="95" y="186"/>
                  </a:cubicBezTo>
                  <a:cubicBezTo>
                    <a:pt x="91" y="191"/>
                    <a:pt x="80" y="193"/>
                    <a:pt x="72" y="193"/>
                  </a:cubicBezTo>
                  <a:cubicBezTo>
                    <a:pt x="68" y="193"/>
                    <a:pt x="65" y="193"/>
                    <a:pt x="65" y="193"/>
                  </a:cubicBezTo>
                  <a:cubicBezTo>
                    <a:pt x="64" y="193"/>
                    <a:pt x="64" y="193"/>
                    <a:pt x="64" y="193"/>
                  </a:cubicBezTo>
                  <a:cubicBezTo>
                    <a:pt x="56" y="195"/>
                    <a:pt x="56" y="195"/>
                    <a:pt x="56" y="195"/>
                  </a:cubicBezTo>
                  <a:cubicBezTo>
                    <a:pt x="0" y="212"/>
                    <a:pt x="0" y="212"/>
                    <a:pt x="0" y="212"/>
                  </a:cubicBezTo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iṧḻiḋê">
              <a:extLst>
                <a:ext uri="{FF2B5EF4-FFF2-40B4-BE49-F238E27FC236}">
                  <a16:creationId xmlns:a16="http://schemas.microsoft.com/office/drawing/2014/main" id="{9E09D3A3-F1D4-4127-9210-DD220F0BB228}"/>
                </a:ext>
              </a:extLst>
            </p:cNvPr>
            <p:cNvSpPr/>
            <p:nvPr/>
          </p:nvSpPr>
          <p:spPr bwMode="auto">
            <a:xfrm>
              <a:off x="8101013" y="4954588"/>
              <a:ext cx="14288" cy="98425"/>
            </a:xfrm>
            <a:custGeom>
              <a:avLst/>
              <a:gdLst>
                <a:gd name="T0" fmla="*/ 7 w 10"/>
                <a:gd name="T1" fmla="*/ 0 h 68"/>
                <a:gd name="T2" fmla="*/ 0 w 10"/>
                <a:gd name="T3" fmla="*/ 67 h 68"/>
                <a:gd name="T4" fmla="*/ 3 w 10"/>
                <a:gd name="T5" fmla="*/ 68 h 68"/>
                <a:gd name="T6" fmla="*/ 10 w 10"/>
                <a:gd name="T7" fmla="*/ 9 h 68"/>
                <a:gd name="T8" fmla="*/ 10 w 10"/>
                <a:gd name="T9" fmla="*/ 9 h 68"/>
                <a:gd name="T10" fmla="*/ 10 w 10"/>
                <a:gd name="T11" fmla="*/ 9 h 68"/>
                <a:gd name="T12" fmla="*/ 10 w 10"/>
                <a:gd name="T13" fmla="*/ 1 h 68"/>
                <a:gd name="T14" fmla="*/ 7 w 10"/>
                <a:gd name="T1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68">
                  <a:moveTo>
                    <a:pt x="7" y="0"/>
                  </a:moveTo>
                  <a:cubicBezTo>
                    <a:pt x="9" y="10"/>
                    <a:pt x="3" y="45"/>
                    <a:pt x="0" y="67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6" y="50"/>
                    <a:pt x="10" y="24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6"/>
                    <a:pt x="10" y="3"/>
                    <a:pt x="10" y="1"/>
                  </a:cubicBezTo>
                  <a:cubicBezTo>
                    <a:pt x="9" y="1"/>
                    <a:pt x="8" y="1"/>
                    <a:pt x="7" y="0"/>
                  </a:cubicBezTo>
                </a:path>
              </a:pathLst>
            </a:custGeom>
            <a:solidFill>
              <a:srgbClr val="D680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îŝḷîde">
              <a:extLst>
                <a:ext uri="{FF2B5EF4-FFF2-40B4-BE49-F238E27FC236}">
                  <a16:creationId xmlns:a16="http://schemas.microsoft.com/office/drawing/2014/main" id="{72CA3EB7-8DF8-4E58-A618-5C487AB00F7D}"/>
                </a:ext>
              </a:extLst>
            </p:cNvPr>
            <p:cNvSpPr/>
            <p:nvPr/>
          </p:nvSpPr>
          <p:spPr bwMode="auto">
            <a:xfrm>
              <a:off x="8364538" y="5141913"/>
              <a:ext cx="104775" cy="14288"/>
            </a:xfrm>
            <a:custGeom>
              <a:avLst/>
              <a:gdLst>
                <a:gd name="T0" fmla="*/ 73 w 73"/>
                <a:gd name="T1" fmla="*/ 0 h 10"/>
                <a:gd name="T2" fmla="*/ 21 w 73"/>
                <a:gd name="T3" fmla="*/ 6 h 10"/>
                <a:gd name="T4" fmla="*/ 0 w 73"/>
                <a:gd name="T5" fmla="*/ 5 h 10"/>
                <a:gd name="T6" fmla="*/ 26 w 73"/>
                <a:gd name="T7" fmla="*/ 9 h 10"/>
                <a:gd name="T8" fmla="*/ 37 w 73"/>
                <a:gd name="T9" fmla="*/ 10 h 10"/>
                <a:gd name="T10" fmla="*/ 72 w 73"/>
                <a:gd name="T11" fmla="*/ 6 h 10"/>
                <a:gd name="T12" fmla="*/ 73 w 73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0">
                  <a:moveTo>
                    <a:pt x="73" y="0"/>
                  </a:moveTo>
                  <a:cubicBezTo>
                    <a:pt x="62" y="4"/>
                    <a:pt x="43" y="6"/>
                    <a:pt x="21" y="6"/>
                  </a:cubicBezTo>
                  <a:cubicBezTo>
                    <a:pt x="14" y="6"/>
                    <a:pt x="7" y="6"/>
                    <a:pt x="0" y="5"/>
                  </a:cubicBezTo>
                  <a:cubicBezTo>
                    <a:pt x="8" y="6"/>
                    <a:pt x="17" y="8"/>
                    <a:pt x="26" y="9"/>
                  </a:cubicBezTo>
                  <a:cubicBezTo>
                    <a:pt x="30" y="10"/>
                    <a:pt x="33" y="10"/>
                    <a:pt x="37" y="10"/>
                  </a:cubicBezTo>
                  <a:cubicBezTo>
                    <a:pt x="48" y="10"/>
                    <a:pt x="59" y="8"/>
                    <a:pt x="72" y="6"/>
                  </a:cubicBezTo>
                  <a:cubicBezTo>
                    <a:pt x="72" y="4"/>
                    <a:pt x="72" y="2"/>
                    <a:pt x="73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iṧḻîďé">
              <a:extLst>
                <a:ext uri="{FF2B5EF4-FFF2-40B4-BE49-F238E27FC236}">
                  <a16:creationId xmlns:a16="http://schemas.microsoft.com/office/drawing/2014/main" id="{5E5C89D2-8056-4AD8-8CC3-FDF8A31290C2}"/>
                </a:ext>
              </a:extLst>
            </p:cNvPr>
            <p:cNvSpPr/>
            <p:nvPr/>
          </p:nvSpPr>
          <p:spPr bwMode="auto">
            <a:xfrm>
              <a:off x="8253413" y="5114925"/>
              <a:ext cx="217488" cy="36513"/>
            </a:xfrm>
            <a:custGeom>
              <a:avLst/>
              <a:gdLst>
                <a:gd name="T0" fmla="*/ 0 w 150"/>
                <a:gd name="T1" fmla="*/ 0 h 25"/>
                <a:gd name="T2" fmla="*/ 0 w 150"/>
                <a:gd name="T3" fmla="*/ 10 h 25"/>
                <a:gd name="T4" fmla="*/ 23 w 150"/>
                <a:gd name="T5" fmla="*/ 19 h 25"/>
                <a:gd name="T6" fmla="*/ 76 w 150"/>
                <a:gd name="T7" fmla="*/ 24 h 25"/>
                <a:gd name="T8" fmla="*/ 97 w 150"/>
                <a:gd name="T9" fmla="*/ 25 h 25"/>
                <a:gd name="T10" fmla="*/ 149 w 150"/>
                <a:gd name="T11" fmla="*/ 19 h 25"/>
                <a:gd name="T12" fmla="*/ 150 w 150"/>
                <a:gd name="T13" fmla="*/ 17 h 25"/>
                <a:gd name="T14" fmla="*/ 150 w 150"/>
                <a:gd name="T15" fmla="*/ 17 h 25"/>
                <a:gd name="T16" fmla="*/ 145 w 150"/>
                <a:gd name="T17" fmla="*/ 14 h 25"/>
                <a:gd name="T18" fmla="*/ 112 w 150"/>
                <a:gd name="T19" fmla="*/ 18 h 25"/>
                <a:gd name="T20" fmla="*/ 101 w 150"/>
                <a:gd name="T21" fmla="*/ 17 h 25"/>
                <a:gd name="T22" fmla="*/ 22 w 150"/>
                <a:gd name="T23" fmla="*/ 9 h 25"/>
                <a:gd name="T24" fmla="*/ 0 w 150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" h="25">
                  <a:moveTo>
                    <a:pt x="0" y="0"/>
                  </a:moveTo>
                  <a:cubicBezTo>
                    <a:pt x="0" y="4"/>
                    <a:pt x="0" y="7"/>
                    <a:pt x="0" y="10"/>
                  </a:cubicBezTo>
                  <a:cubicBezTo>
                    <a:pt x="8" y="12"/>
                    <a:pt x="16" y="15"/>
                    <a:pt x="23" y="19"/>
                  </a:cubicBezTo>
                  <a:cubicBezTo>
                    <a:pt x="23" y="19"/>
                    <a:pt x="44" y="20"/>
                    <a:pt x="76" y="24"/>
                  </a:cubicBezTo>
                  <a:cubicBezTo>
                    <a:pt x="83" y="25"/>
                    <a:pt x="90" y="25"/>
                    <a:pt x="97" y="25"/>
                  </a:cubicBezTo>
                  <a:cubicBezTo>
                    <a:pt x="119" y="25"/>
                    <a:pt x="138" y="23"/>
                    <a:pt x="149" y="19"/>
                  </a:cubicBezTo>
                  <a:cubicBezTo>
                    <a:pt x="149" y="18"/>
                    <a:pt x="150" y="18"/>
                    <a:pt x="150" y="17"/>
                  </a:cubicBezTo>
                  <a:cubicBezTo>
                    <a:pt x="150" y="17"/>
                    <a:pt x="150" y="17"/>
                    <a:pt x="150" y="17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33" y="17"/>
                    <a:pt x="122" y="18"/>
                    <a:pt x="112" y="18"/>
                  </a:cubicBezTo>
                  <a:cubicBezTo>
                    <a:pt x="108" y="18"/>
                    <a:pt x="105" y="18"/>
                    <a:pt x="101" y="17"/>
                  </a:cubicBezTo>
                  <a:cubicBezTo>
                    <a:pt x="56" y="10"/>
                    <a:pt x="22" y="9"/>
                    <a:pt x="22" y="9"/>
                  </a:cubicBezTo>
                  <a:cubicBezTo>
                    <a:pt x="15" y="5"/>
                    <a:pt x="8" y="2"/>
                    <a:pt x="0" y="0"/>
                  </a:cubicBezTo>
                </a:path>
              </a:pathLst>
            </a:custGeom>
            <a:solidFill>
              <a:srgbClr val="CCD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ïšḻíḍe">
              <a:extLst>
                <a:ext uri="{FF2B5EF4-FFF2-40B4-BE49-F238E27FC236}">
                  <a16:creationId xmlns:a16="http://schemas.microsoft.com/office/drawing/2014/main" id="{A51E4CC6-5167-4DA0-9D96-4A7D80C17828}"/>
                </a:ext>
              </a:extLst>
            </p:cNvPr>
            <p:cNvSpPr/>
            <p:nvPr/>
          </p:nvSpPr>
          <p:spPr bwMode="auto">
            <a:xfrm>
              <a:off x="8464551" y="5133975"/>
              <a:ext cx="9525" cy="4763"/>
            </a:xfrm>
            <a:custGeom>
              <a:avLst/>
              <a:gdLst>
                <a:gd name="T0" fmla="*/ 4 w 7"/>
                <a:gd name="T1" fmla="*/ 0 h 4"/>
                <a:gd name="T2" fmla="*/ 0 w 7"/>
                <a:gd name="T3" fmla="*/ 1 h 4"/>
                <a:gd name="T4" fmla="*/ 5 w 7"/>
                <a:gd name="T5" fmla="*/ 4 h 4"/>
                <a:gd name="T6" fmla="*/ 5 w 7"/>
                <a:gd name="T7" fmla="*/ 4 h 4"/>
                <a:gd name="T8" fmla="*/ 7 w 7"/>
                <a:gd name="T9" fmla="*/ 1 h 4"/>
                <a:gd name="T10" fmla="*/ 4 w 7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4">
                  <a:moveTo>
                    <a:pt x="4" y="0"/>
                  </a:moveTo>
                  <a:cubicBezTo>
                    <a:pt x="3" y="1"/>
                    <a:pt x="1" y="1"/>
                    <a:pt x="0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7" y="1"/>
                  </a:cubicBezTo>
                  <a:cubicBezTo>
                    <a:pt x="6" y="1"/>
                    <a:pt x="5" y="1"/>
                    <a:pt x="4" y="0"/>
                  </a:cubicBezTo>
                </a:path>
              </a:pathLst>
            </a:custGeom>
            <a:solidFill>
              <a:srgbClr val="B7B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íš1ïḋé">
              <a:extLst>
                <a:ext uri="{FF2B5EF4-FFF2-40B4-BE49-F238E27FC236}">
                  <a16:creationId xmlns:a16="http://schemas.microsoft.com/office/drawing/2014/main" id="{8420AAE8-25F7-4EBE-9AC6-D547A26661DA}"/>
                </a:ext>
              </a:extLst>
            </p:cNvPr>
            <p:cNvSpPr/>
            <p:nvPr/>
          </p:nvSpPr>
          <p:spPr bwMode="auto">
            <a:xfrm>
              <a:off x="8469313" y="4673600"/>
              <a:ext cx="295275" cy="461963"/>
            </a:xfrm>
            <a:custGeom>
              <a:avLst/>
              <a:gdLst>
                <a:gd name="T0" fmla="*/ 4 w 203"/>
                <a:gd name="T1" fmla="*/ 317 h 319"/>
                <a:gd name="T2" fmla="*/ 0 w 203"/>
                <a:gd name="T3" fmla="*/ 318 h 319"/>
                <a:gd name="T4" fmla="*/ 3 w 203"/>
                <a:gd name="T5" fmla="*/ 319 h 319"/>
                <a:gd name="T6" fmla="*/ 4 w 203"/>
                <a:gd name="T7" fmla="*/ 317 h 319"/>
                <a:gd name="T8" fmla="*/ 12 w 203"/>
                <a:gd name="T9" fmla="*/ 316 h 319"/>
                <a:gd name="T10" fmla="*/ 10 w 203"/>
                <a:gd name="T11" fmla="*/ 316 h 319"/>
                <a:gd name="T12" fmla="*/ 11 w 203"/>
                <a:gd name="T13" fmla="*/ 316 h 319"/>
                <a:gd name="T14" fmla="*/ 12 w 203"/>
                <a:gd name="T15" fmla="*/ 316 h 319"/>
                <a:gd name="T16" fmla="*/ 200 w 203"/>
                <a:gd name="T17" fmla="*/ 0 h 319"/>
                <a:gd name="T18" fmla="*/ 199 w 203"/>
                <a:gd name="T19" fmla="*/ 64 h 319"/>
                <a:gd name="T20" fmla="*/ 100 w 203"/>
                <a:gd name="T21" fmla="*/ 284 h 319"/>
                <a:gd name="T22" fmla="*/ 109 w 203"/>
                <a:gd name="T23" fmla="*/ 286 h 319"/>
                <a:gd name="T24" fmla="*/ 201 w 203"/>
                <a:gd name="T25" fmla="*/ 75 h 319"/>
                <a:gd name="T26" fmla="*/ 200 w 203"/>
                <a:gd name="T27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3" h="319">
                  <a:moveTo>
                    <a:pt x="4" y="317"/>
                  </a:moveTo>
                  <a:cubicBezTo>
                    <a:pt x="3" y="318"/>
                    <a:pt x="2" y="318"/>
                    <a:pt x="0" y="318"/>
                  </a:cubicBezTo>
                  <a:cubicBezTo>
                    <a:pt x="1" y="319"/>
                    <a:pt x="2" y="319"/>
                    <a:pt x="3" y="319"/>
                  </a:cubicBezTo>
                  <a:cubicBezTo>
                    <a:pt x="3" y="319"/>
                    <a:pt x="4" y="318"/>
                    <a:pt x="4" y="317"/>
                  </a:cubicBezTo>
                  <a:moveTo>
                    <a:pt x="12" y="316"/>
                  </a:moveTo>
                  <a:cubicBezTo>
                    <a:pt x="11" y="316"/>
                    <a:pt x="10" y="316"/>
                    <a:pt x="10" y="316"/>
                  </a:cubicBezTo>
                  <a:cubicBezTo>
                    <a:pt x="10" y="316"/>
                    <a:pt x="11" y="316"/>
                    <a:pt x="11" y="316"/>
                  </a:cubicBezTo>
                  <a:cubicBezTo>
                    <a:pt x="11" y="316"/>
                    <a:pt x="12" y="316"/>
                    <a:pt x="12" y="316"/>
                  </a:cubicBezTo>
                  <a:moveTo>
                    <a:pt x="200" y="0"/>
                  </a:moveTo>
                  <a:cubicBezTo>
                    <a:pt x="202" y="16"/>
                    <a:pt x="202" y="37"/>
                    <a:pt x="199" y="64"/>
                  </a:cubicBezTo>
                  <a:cubicBezTo>
                    <a:pt x="188" y="192"/>
                    <a:pt x="108" y="276"/>
                    <a:pt x="100" y="284"/>
                  </a:cubicBezTo>
                  <a:cubicBezTo>
                    <a:pt x="103" y="285"/>
                    <a:pt x="106" y="286"/>
                    <a:pt x="109" y="286"/>
                  </a:cubicBezTo>
                  <a:cubicBezTo>
                    <a:pt x="131" y="261"/>
                    <a:pt x="191" y="184"/>
                    <a:pt x="201" y="75"/>
                  </a:cubicBezTo>
                  <a:cubicBezTo>
                    <a:pt x="203" y="42"/>
                    <a:pt x="203" y="17"/>
                    <a:pt x="20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íṣľïďé">
              <a:extLst>
                <a:ext uri="{FF2B5EF4-FFF2-40B4-BE49-F238E27FC236}">
                  <a16:creationId xmlns:a16="http://schemas.microsoft.com/office/drawing/2014/main" id="{969EDA96-BB5B-465D-B134-E8F8370EE8CE}"/>
                </a:ext>
              </a:extLst>
            </p:cNvPr>
            <p:cNvSpPr/>
            <p:nvPr/>
          </p:nvSpPr>
          <p:spPr bwMode="auto">
            <a:xfrm>
              <a:off x="8104188" y="5080000"/>
              <a:ext cx="55563" cy="33338"/>
            </a:xfrm>
            <a:custGeom>
              <a:avLst/>
              <a:gdLst>
                <a:gd name="T0" fmla="*/ 1 w 38"/>
                <a:gd name="T1" fmla="*/ 0 h 23"/>
                <a:gd name="T2" fmla="*/ 0 w 38"/>
                <a:gd name="T3" fmla="*/ 9 h 23"/>
                <a:gd name="T4" fmla="*/ 36 w 38"/>
                <a:gd name="T5" fmla="*/ 23 h 23"/>
                <a:gd name="T6" fmla="*/ 38 w 38"/>
                <a:gd name="T7" fmla="*/ 13 h 23"/>
                <a:gd name="T8" fmla="*/ 1 w 38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1" y="0"/>
                  </a:moveTo>
                  <a:cubicBezTo>
                    <a:pt x="0" y="5"/>
                    <a:pt x="0" y="8"/>
                    <a:pt x="0" y="9"/>
                  </a:cubicBezTo>
                  <a:cubicBezTo>
                    <a:pt x="0" y="12"/>
                    <a:pt x="17" y="18"/>
                    <a:pt x="36" y="23"/>
                  </a:cubicBezTo>
                  <a:cubicBezTo>
                    <a:pt x="37" y="20"/>
                    <a:pt x="38" y="17"/>
                    <a:pt x="38" y="13"/>
                  </a:cubicBezTo>
                  <a:cubicBezTo>
                    <a:pt x="21" y="9"/>
                    <a:pt x="6" y="4"/>
                    <a:pt x="1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iṥļiḍè">
              <a:extLst>
                <a:ext uri="{FF2B5EF4-FFF2-40B4-BE49-F238E27FC236}">
                  <a16:creationId xmlns:a16="http://schemas.microsoft.com/office/drawing/2014/main" id="{5CB43860-D1DC-4679-A657-38B54275971C}"/>
                </a:ext>
              </a:extLst>
            </p:cNvPr>
            <p:cNvSpPr/>
            <p:nvPr/>
          </p:nvSpPr>
          <p:spPr bwMode="auto">
            <a:xfrm>
              <a:off x="8251826" y="5114925"/>
              <a:ext cx="1588" cy="14288"/>
            </a:xfrm>
            <a:custGeom>
              <a:avLst/>
              <a:gdLst>
                <a:gd name="T0" fmla="*/ 0 w 2"/>
                <a:gd name="T1" fmla="*/ 0 h 10"/>
                <a:gd name="T2" fmla="*/ 0 w 2"/>
                <a:gd name="T3" fmla="*/ 10 h 10"/>
                <a:gd name="T4" fmla="*/ 2 w 2"/>
                <a:gd name="T5" fmla="*/ 10 h 10"/>
                <a:gd name="T6" fmla="*/ 2 w 2"/>
                <a:gd name="T7" fmla="*/ 0 h 10"/>
                <a:gd name="T8" fmla="*/ 0 w 2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0">
                  <a:moveTo>
                    <a:pt x="0" y="0"/>
                  </a:moveTo>
                  <a:cubicBezTo>
                    <a:pt x="0" y="4"/>
                    <a:pt x="0" y="7"/>
                    <a:pt x="0" y="10"/>
                  </a:cubicBezTo>
                  <a:cubicBezTo>
                    <a:pt x="0" y="10"/>
                    <a:pt x="1" y="10"/>
                    <a:pt x="2" y="10"/>
                  </a:cubicBezTo>
                  <a:cubicBezTo>
                    <a:pt x="2" y="7"/>
                    <a:pt x="2" y="4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B7B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íşḻïḓé">
              <a:extLst>
                <a:ext uri="{FF2B5EF4-FFF2-40B4-BE49-F238E27FC236}">
                  <a16:creationId xmlns:a16="http://schemas.microsoft.com/office/drawing/2014/main" id="{11F5BE7C-7010-4521-9530-8F98F96AB6F2}"/>
                </a:ext>
              </a:extLst>
            </p:cNvPr>
            <p:cNvSpPr/>
            <p:nvPr/>
          </p:nvSpPr>
          <p:spPr bwMode="auto">
            <a:xfrm>
              <a:off x="8156576" y="5099050"/>
              <a:ext cx="95250" cy="30163"/>
            </a:xfrm>
            <a:custGeom>
              <a:avLst/>
              <a:gdLst>
                <a:gd name="T0" fmla="*/ 2 w 65"/>
                <a:gd name="T1" fmla="*/ 0 h 21"/>
                <a:gd name="T2" fmla="*/ 0 w 65"/>
                <a:gd name="T3" fmla="*/ 10 h 21"/>
                <a:gd name="T4" fmla="*/ 44 w 65"/>
                <a:gd name="T5" fmla="*/ 18 h 21"/>
                <a:gd name="T6" fmla="*/ 65 w 65"/>
                <a:gd name="T7" fmla="*/ 21 h 21"/>
                <a:gd name="T8" fmla="*/ 65 w 65"/>
                <a:gd name="T9" fmla="*/ 11 h 21"/>
                <a:gd name="T10" fmla="*/ 43 w 65"/>
                <a:gd name="T11" fmla="*/ 8 h 21"/>
                <a:gd name="T12" fmla="*/ 2 w 65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21">
                  <a:moveTo>
                    <a:pt x="2" y="0"/>
                  </a:moveTo>
                  <a:cubicBezTo>
                    <a:pt x="2" y="4"/>
                    <a:pt x="1" y="7"/>
                    <a:pt x="0" y="10"/>
                  </a:cubicBezTo>
                  <a:cubicBezTo>
                    <a:pt x="16" y="14"/>
                    <a:pt x="33" y="18"/>
                    <a:pt x="44" y="18"/>
                  </a:cubicBezTo>
                  <a:cubicBezTo>
                    <a:pt x="51" y="18"/>
                    <a:pt x="58" y="19"/>
                    <a:pt x="65" y="21"/>
                  </a:cubicBezTo>
                  <a:cubicBezTo>
                    <a:pt x="65" y="18"/>
                    <a:pt x="65" y="15"/>
                    <a:pt x="65" y="11"/>
                  </a:cubicBezTo>
                  <a:cubicBezTo>
                    <a:pt x="58" y="9"/>
                    <a:pt x="51" y="8"/>
                    <a:pt x="43" y="8"/>
                  </a:cubicBezTo>
                  <a:cubicBezTo>
                    <a:pt x="32" y="7"/>
                    <a:pt x="17" y="4"/>
                    <a:pt x="2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îṧļíḑè">
              <a:extLst>
                <a:ext uri="{FF2B5EF4-FFF2-40B4-BE49-F238E27FC236}">
                  <a16:creationId xmlns:a16="http://schemas.microsoft.com/office/drawing/2014/main" id="{C9FF20CF-0F6C-4766-8851-B2EF734B8A83}"/>
                </a:ext>
              </a:extLst>
            </p:cNvPr>
            <p:cNvSpPr/>
            <p:nvPr/>
          </p:nvSpPr>
          <p:spPr bwMode="auto">
            <a:xfrm>
              <a:off x="8469313" y="5137150"/>
              <a:ext cx="9525" cy="14288"/>
            </a:xfrm>
            <a:custGeom>
              <a:avLst/>
              <a:gdLst>
                <a:gd name="T0" fmla="*/ 7 w 7"/>
                <a:gd name="T1" fmla="*/ 0 h 9"/>
                <a:gd name="T2" fmla="*/ 3 w 7"/>
                <a:gd name="T3" fmla="*/ 2 h 9"/>
                <a:gd name="T4" fmla="*/ 1 w 7"/>
                <a:gd name="T5" fmla="*/ 3 h 9"/>
                <a:gd name="T6" fmla="*/ 0 w 7"/>
                <a:gd name="T7" fmla="*/ 9 h 9"/>
                <a:gd name="T8" fmla="*/ 1 w 7"/>
                <a:gd name="T9" fmla="*/ 8 h 9"/>
                <a:gd name="T10" fmla="*/ 7 w 7"/>
                <a:gd name="T11" fmla="*/ 0 h 9"/>
                <a:gd name="T12" fmla="*/ 7 w 7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9">
                  <a:moveTo>
                    <a:pt x="7" y="0"/>
                  </a:moveTo>
                  <a:cubicBezTo>
                    <a:pt x="6" y="1"/>
                    <a:pt x="4" y="2"/>
                    <a:pt x="3" y="2"/>
                  </a:cubicBezTo>
                  <a:cubicBezTo>
                    <a:pt x="3" y="2"/>
                    <a:pt x="2" y="3"/>
                    <a:pt x="1" y="3"/>
                  </a:cubicBezTo>
                  <a:cubicBezTo>
                    <a:pt x="0" y="5"/>
                    <a:pt x="0" y="7"/>
                    <a:pt x="0" y="9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2" y="5"/>
                    <a:pt x="4" y="3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524E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îŝľïḓè">
              <a:extLst>
                <a:ext uri="{FF2B5EF4-FFF2-40B4-BE49-F238E27FC236}">
                  <a16:creationId xmlns:a16="http://schemas.microsoft.com/office/drawing/2014/main" id="{B1674C2B-0AAE-4C2B-B823-12F915C01BD0}"/>
                </a:ext>
              </a:extLst>
            </p:cNvPr>
            <p:cNvSpPr/>
            <p:nvPr/>
          </p:nvSpPr>
          <p:spPr bwMode="auto">
            <a:xfrm>
              <a:off x="8469313" y="5135563"/>
              <a:ext cx="9525" cy="6350"/>
            </a:xfrm>
            <a:custGeom>
              <a:avLst/>
              <a:gdLst>
                <a:gd name="T0" fmla="*/ 4 w 6"/>
                <a:gd name="T1" fmla="*/ 0 h 4"/>
                <a:gd name="T2" fmla="*/ 1 w 6"/>
                <a:gd name="T3" fmla="*/ 2 h 4"/>
                <a:gd name="T4" fmla="*/ 0 w 6"/>
                <a:gd name="T5" fmla="*/ 4 h 4"/>
                <a:gd name="T6" fmla="*/ 2 w 6"/>
                <a:gd name="T7" fmla="*/ 3 h 4"/>
                <a:gd name="T8" fmla="*/ 6 w 6"/>
                <a:gd name="T9" fmla="*/ 1 h 4"/>
                <a:gd name="T10" fmla="*/ 4 w 6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cubicBezTo>
                    <a:pt x="3" y="1"/>
                    <a:pt x="2" y="2"/>
                    <a:pt x="1" y="2"/>
                  </a:cubicBezTo>
                  <a:cubicBezTo>
                    <a:pt x="1" y="3"/>
                    <a:pt x="0" y="3"/>
                    <a:pt x="0" y="4"/>
                  </a:cubicBezTo>
                  <a:cubicBezTo>
                    <a:pt x="1" y="4"/>
                    <a:pt x="2" y="3"/>
                    <a:pt x="2" y="3"/>
                  </a:cubicBezTo>
                  <a:cubicBezTo>
                    <a:pt x="3" y="3"/>
                    <a:pt x="5" y="2"/>
                    <a:pt x="6" y="1"/>
                  </a:cubicBezTo>
                  <a:cubicBezTo>
                    <a:pt x="5" y="1"/>
                    <a:pt x="5" y="1"/>
                    <a:pt x="4" y="0"/>
                  </a:cubicBezTo>
                </a:path>
              </a:pathLst>
            </a:custGeom>
            <a:solidFill>
              <a:srgbClr val="B7B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ïṥľidé">
              <a:extLst>
                <a:ext uri="{FF2B5EF4-FFF2-40B4-BE49-F238E27FC236}">
                  <a16:creationId xmlns:a16="http://schemas.microsoft.com/office/drawing/2014/main" id="{6110CA56-EBC4-420C-882D-60BB146CE347}"/>
                </a:ext>
              </a:extLst>
            </p:cNvPr>
            <p:cNvSpPr/>
            <p:nvPr/>
          </p:nvSpPr>
          <p:spPr bwMode="auto">
            <a:xfrm>
              <a:off x="8470901" y="5135563"/>
              <a:ext cx="4763" cy="3175"/>
            </a:xfrm>
            <a:custGeom>
              <a:avLst/>
              <a:gdLst>
                <a:gd name="T0" fmla="*/ 2 w 3"/>
                <a:gd name="T1" fmla="*/ 0 h 3"/>
                <a:gd name="T2" fmla="*/ 0 w 3"/>
                <a:gd name="T3" fmla="*/ 3 h 3"/>
                <a:gd name="T4" fmla="*/ 3 w 3"/>
                <a:gd name="T5" fmla="*/ 1 h 3"/>
                <a:gd name="T6" fmla="*/ 2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1" y="3"/>
                    <a:pt x="2" y="2"/>
                    <a:pt x="3" y="1"/>
                  </a:cubicBezTo>
                  <a:cubicBezTo>
                    <a:pt x="3" y="1"/>
                    <a:pt x="2" y="1"/>
                    <a:pt x="2" y="0"/>
                  </a:cubicBezTo>
                </a:path>
              </a:pathLst>
            </a:custGeom>
            <a:solidFill>
              <a:srgbClr val="A4A8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ïśḻiḋè">
              <a:extLst>
                <a:ext uri="{FF2B5EF4-FFF2-40B4-BE49-F238E27FC236}">
                  <a16:creationId xmlns:a16="http://schemas.microsoft.com/office/drawing/2014/main" id="{B81962FC-9F93-46CD-8C3B-DE00989D0B00}"/>
                </a:ext>
              </a:extLst>
            </p:cNvPr>
            <p:cNvSpPr/>
            <p:nvPr/>
          </p:nvSpPr>
          <p:spPr bwMode="auto">
            <a:xfrm>
              <a:off x="8474076" y="5130800"/>
              <a:ext cx="11113" cy="6350"/>
            </a:xfrm>
            <a:custGeom>
              <a:avLst/>
              <a:gdLst>
                <a:gd name="T0" fmla="*/ 7 w 8"/>
                <a:gd name="T1" fmla="*/ 0 h 5"/>
                <a:gd name="T2" fmla="*/ 1 w 8"/>
                <a:gd name="T3" fmla="*/ 1 h 5"/>
                <a:gd name="T4" fmla="*/ 0 w 8"/>
                <a:gd name="T5" fmla="*/ 3 h 5"/>
                <a:gd name="T6" fmla="*/ 1 w 8"/>
                <a:gd name="T7" fmla="*/ 4 h 5"/>
                <a:gd name="T8" fmla="*/ 3 w 8"/>
                <a:gd name="T9" fmla="*/ 5 h 5"/>
                <a:gd name="T10" fmla="*/ 3 w 8"/>
                <a:gd name="T11" fmla="*/ 5 h 5"/>
                <a:gd name="T12" fmla="*/ 8 w 8"/>
                <a:gd name="T13" fmla="*/ 0 h 5"/>
                <a:gd name="T14" fmla="*/ 7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7" y="0"/>
                  </a:moveTo>
                  <a:cubicBezTo>
                    <a:pt x="5" y="1"/>
                    <a:pt x="3" y="1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3"/>
                    <a:pt x="6" y="2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</a:path>
              </a:pathLst>
            </a:custGeom>
            <a:solidFill>
              <a:srgbClr val="3331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iṧľídè">
              <a:extLst>
                <a:ext uri="{FF2B5EF4-FFF2-40B4-BE49-F238E27FC236}">
                  <a16:creationId xmlns:a16="http://schemas.microsoft.com/office/drawing/2014/main" id="{F1B3C1E3-661D-4994-B8D3-D80E4E6E9FC7}"/>
                </a:ext>
              </a:extLst>
            </p:cNvPr>
            <p:cNvSpPr/>
            <p:nvPr/>
          </p:nvSpPr>
          <p:spPr bwMode="auto">
            <a:xfrm>
              <a:off x="8469313" y="5084763"/>
              <a:ext cx="158750" cy="65088"/>
            </a:xfrm>
            <a:custGeom>
              <a:avLst/>
              <a:gdLst>
                <a:gd name="T0" fmla="*/ 100 w 109"/>
                <a:gd name="T1" fmla="*/ 0 h 45"/>
                <a:gd name="T2" fmla="*/ 99 w 109"/>
                <a:gd name="T3" fmla="*/ 1 h 45"/>
                <a:gd name="T4" fmla="*/ 12 w 109"/>
                <a:gd name="T5" fmla="*/ 32 h 45"/>
                <a:gd name="T6" fmla="*/ 11 w 109"/>
                <a:gd name="T7" fmla="*/ 32 h 45"/>
                <a:gd name="T8" fmla="*/ 6 w 109"/>
                <a:gd name="T9" fmla="*/ 37 h 45"/>
                <a:gd name="T10" fmla="*/ 0 w 109"/>
                <a:gd name="T11" fmla="*/ 45 h 45"/>
                <a:gd name="T12" fmla="*/ 101 w 109"/>
                <a:gd name="T13" fmla="*/ 12 h 45"/>
                <a:gd name="T14" fmla="*/ 109 w 109"/>
                <a:gd name="T15" fmla="*/ 2 h 45"/>
                <a:gd name="T16" fmla="*/ 100 w 109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" h="45">
                  <a:moveTo>
                    <a:pt x="100" y="0"/>
                  </a:move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55" y="20"/>
                    <a:pt x="12" y="32"/>
                  </a:cubicBezTo>
                  <a:cubicBezTo>
                    <a:pt x="12" y="32"/>
                    <a:pt x="11" y="32"/>
                    <a:pt x="11" y="32"/>
                  </a:cubicBezTo>
                  <a:cubicBezTo>
                    <a:pt x="9" y="34"/>
                    <a:pt x="7" y="35"/>
                    <a:pt x="6" y="37"/>
                  </a:cubicBezTo>
                  <a:cubicBezTo>
                    <a:pt x="3" y="40"/>
                    <a:pt x="1" y="42"/>
                    <a:pt x="0" y="45"/>
                  </a:cubicBezTo>
                  <a:cubicBezTo>
                    <a:pt x="47" y="35"/>
                    <a:pt x="101" y="12"/>
                    <a:pt x="101" y="12"/>
                  </a:cubicBezTo>
                  <a:cubicBezTo>
                    <a:pt x="101" y="12"/>
                    <a:pt x="104" y="8"/>
                    <a:pt x="109" y="2"/>
                  </a:cubicBezTo>
                  <a:cubicBezTo>
                    <a:pt x="106" y="2"/>
                    <a:pt x="103" y="1"/>
                    <a:pt x="100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iṥlíḋè">
              <a:extLst>
                <a:ext uri="{FF2B5EF4-FFF2-40B4-BE49-F238E27FC236}">
                  <a16:creationId xmlns:a16="http://schemas.microsoft.com/office/drawing/2014/main" id="{31ACD1D6-2172-4B26-8DA3-6B82B6D461D6}"/>
                </a:ext>
              </a:extLst>
            </p:cNvPr>
            <p:cNvSpPr/>
            <p:nvPr/>
          </p:nvSpPr>
          <p:spPr bwMode="auto">
            <a:xfrm>
              <a:off x="8115301" y="496887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073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i$1ïḋe">
              <a:extLst>
                <a:ext uri="{FF2B5EF4-FFF2-40B4-BE49-F238E27FC236}">
                  <a16:creationId xmlns:a16="http://schemas.microsoft.com/office/drawing/2014/main" id="{D6C6FE4A-929A-4BAC-AD21-6A7BBB40F0F9}"/>
                </a:ext>
              </a:extLst>
            </p:cNvPr>
            <p:cNvSpPr/>
            <p:nvPr/>
          </p:nvSpPr>
          <p:spPr bwMode="auto">
            <a:xfrm>
              <a:off x="8101013" y="4565650"/>
              <a:ext cx="674688" cy="585788"/>
            </a:xfrm>
            <a:custGeom>
              <a:avLst/>
              <a:gdLst>
                <a:gd name="T0" fmla="*/ 417 w 465"/>
                <a:gd name="T1" fmla="*/ 17 h 404"/>
                <a:gd name="T2" fmla="*/ 453 w 465"/>
                <a:gd name="T3" fmla="*/ 138 h 404"/>
                <a:gd name="T4" fmla="*/ 353 w 465"/>
                <a:gd name="T5" fmla="*/ 359 h 404"/>
                <a:gd name="T6" fmla="*/ 206 w 465"/>
                <a:gd name="T7" fmla="*/ 396 h 404"/>
                <a:gd name="T8" fmla="*/ 127 w 465"/>
                <a:gd name="T9" fmla="*/ 388 h 404"/>
                <a:gd name="T10" fmla="*/ 81 w 465"/>
                <a:gd name="T11" fmla="*/ 376 h 404"/>
                <a:gd name="T12" fmla="*/ 1 w 465"/>
                <a:gd name="T13" fmla="*/ 354 h 404"/>
                <a:gd name="T14" fmla="*/ 8 w 465"/>
                <a:gd name="T15" fmla="*/ 267 h 404"/>
                <a:gd name="T16" fmla="*/ 87 w 465"/>
                <a:gd name="T17" fmla="*/ 275 h 404"/>
                <a:gd name="T18" fmla="*/ 112 w 465"/>
                <a:gd name="T19" fmla="*/ 275 h 404"/>
                <a:gd name="T20" fmla="*/ 190 w 465"/>
                <a:gd name="T21" fmla="*/ 271 h 404"/>
                <a:gd name="T22" fmla="*/ 212 w 465"/>
                <a:gd name="T23" fmla="*/ 269 h 404"/>
                <a:gd name="T24" fmla="*/ 228 w 465"/>
                <a:gd name="T25" fmla="*/ 268 h 404"/>
                <a:gd name="T26" fmla="*/ 239 w 465"/>
                <a:gd name="T27" fmla="*/ 262 h 404"/>
                <a:gd name="T28" fmla="*/ 253 w 465"/>
                <a:gd name="T29" fmla="*/ 262 h 404"/>
                <a:gd name="T30" fmla="*/ 260 w 465"/>
                <a:gd name="T31" fmla="*/ 260 h 404"/>
                <a:gd name="T32" fmla="*/ 260 w 465"/>
                <a:gd name="T33" fmla="*/ 259 h 404"/>
                <a:gd name="T34" fmla="*/ 268 w 465"/>
                <a:gd name="T35" fmla="*/ 247 h 404"/>
                <a:gd name="T36" fmla="*/ 308 w 465"/>
                <a:gd name="T37" fmla="*/ 140 h 404"/>
                <a:gd name="T38" fmla="*/ 313 w 465"/>
                <a:gd name="T39" fmla="*/ 125 h 404"/>
                <a:gd name="T40" fmla="*/ 417 w 465"/>
                <a:gd name="T41" fmla="*/ 1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5" h="404">
                  <a:moveTo>
                    <a:pt x="417" y="17"/>
                  </a:moveTo>
                  <a:cubicBezTo>
                    <a:pt x="417" y="17"/>
                    <a:pt x="465" y="3"/>
                    <a:pt x="453" y="138"/>
                  </a:cubicBezTo>
                  <a:cubicBezTo>
                    <a:pt x="442" y="273"/>
                    <a:pt x="353" y="359"/>
                    <a:pt x="353" y="359"/>
                  </a:cubicBezTo>
                  <a:cubicBezTo>
                    <a:pt x="353" y="359"/>
                    <a:pt x="252" y="404"/>
                    <a:pt x="206" y="396"/>
                  </a:cubicBezTo>
                  <a:cubicBezTo>
                    <a:pt x="161" y="389"/>
                    <a:pt x="127" y="388"/>
                    <a:pt x="127" y="388"/>
                  </a:cubicBezTo>
                  <a:cubicBezTo>
                    <a:pt x="113" y="381"/>
                    <a:pt x="97" y="376"/>
                    <a:pt x="81" y="376"/>
                  </a:cubicBezTo>
                  <a:cubicBezTo>
                    <a:pt x="55" y="375"/>
                    <a:pt x="2" y="359"/>
                    <a:pt x="1" y="354"/>
                  </a:cubicBezTo>
                  <a:cubicBezTo>
                    <a:pt x="0" y="348"/>
                    <a:pt x="14" y="273"/>
                    <a:pt x="8" y="267"/>
                  </a:cubicBezTo>
                  <a:cubicBezTo>
                    <a:pt x="8" y="267"/>
                    <a:pt x="79" y="270"/>
                    <a:pt x="87" y="275"/>
                  </a:cubicBezTo>
                  <a:cubicBezTo>
                    <a:pt x="94" y="280"/>
                    <a:pt x="104" y="277"/>
                    <a:pt x="112" y="275"/>
                  </a:cubicBezTo>
                  <a:cubicBezTo>
                    <a:pt x="119" y="274"/>
                    <a:pt x="143" y="253"/>
                    <a:pt x="190" y="271"/>
                  </a:cubicBezTo>
                  <a:cubicBezTo>
                    <a:pt x="190" y="271"/>
                    <a:pt x="206" y="273"/>
                    <a:pt x="212" y="269"/>
                  </a:cubicBezTo>
                  <a:cubicBezTo>
                    <a:pt x="218" y="265"/>
                    <a:pt x="228" y="268"/>
                    <a:pt x="228" y="268"/>
                  </a:cubicBezTo>
                  <a:cubicBezTo>
                    <a:pt x="232" y="266"/>
                    <a:pt x="235" y="265"/>
                    <a:pt x="239" y="262"/>
                  </a:cubicBezTo>
                  <a:cubicBezTo>
                    <a:pt x="240" y="260"/>
                    <a:pt x="253" y="262"/>
                    <a:pt x="253" y="262"/>
                  </a:cubicBezTo>
                  <a:cubicBezTo>
                    <a:pt x="255" y="263"/>
                    <a:pt x="259" y="262"/>
                    <a:pt x="260" y="260"/>
                  </a:cubicBezTo>
                  <a:cubicBezTo>
                    <a:pt x="260" y="259"/>
                    <a:pt x="260" y="259"/>
                    <a:pt x="260" y="259"/>
                  </a:cubicBezTo>
                  <a:cubicBezTo>
                    <a:pt x="262" y="254"/>
                    <a:pt x="264" y="251"/>
                    <a:pt x="268" y="247"/>
                  </a:cubicBezTo>
                  <a:cubicBezTo>
                    <a:pt x="268" y="247"/>
                    <a:pt x="281" y="169"/>
                    <a:pt x="308" y="140"/>
                  </a:cubicBezTo>
                  <a:cubicBezTo>
                    <a:pt x="308" y="140"/>
                    <a:pt x="315" y="134"/>
                    <a:pt x="313" y="125"/>
                  </a:cubicBezTo>
                  <a:cubicBezTo>
                    <a:pt x="311" y="117"/>
                    <a:pt x="356" y="0"/>
                    <a:pt x="417" y="17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iśḻídê">
              <a:extLst>
                <a:ext uri="{FF2B5EF4-FFF2-40B4-BE49-F238E27FC236}">
                  <a16:creationId xmlns:a16="http://schemas.microsoft.com/office/drawing/2014/main" id="{7D78D27F-4023-4B50-9FBE-DDF8897EA957}"/>
                </a:ext>
              </a:extLst>
            </p:cNvPr>
            <p:cNvSpPr/>
            <p:nvPr/>
          </p:nvSpPr>
          <p:spPr bwMode="auto">
            <a:xfrm>
              <a:off x="8169276" y="5322888"/>
              <a:ext cx="12700" cy="3175"/>
            </a:xfrm>
            <a:custGeom>
              <a:avLst/>
              <a:gdLst>
                <a:gd name="T0" fmla="*/ 8 w 8"/>
                <a:gd name="T1" fmla="*/ 0 h 2"/>
                <a:gd name="T2" fmla="*/ 0 w 8"/>
                <a:gd name="T3" fmla="*/ 2 h 2"/>
                <a:gd name="T4" fmla="*/ 0 w 8"/>
                <a:gd name="T5" fmla="*/ 2 h 2"/>
                <a:gd name="T6" fmla="*/ 0 w 8"/>
                <a:gd name="T7" fmla="*/ 2 h 2"/>
                <a:gd name="T8" fmla="*/ 8 w 8"/>
                <a:gd name="T9" fmla="*/ 0 h 2"/>
                <a:gd name="T10" fmla="*/ 8 w 8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">
                  <a:moveTo>
                    <a:pt x="8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isḻídè">
              <a:extLst>
                <a:ext uri="{FF2B5EF4-FFF2-40B4-BE49-F238E27FC236}">
                  <a16:creationId xmlns:a16="http://schemas.microsoft.com/office/drawing/2014/main" id="{C3308A42-1319-43B8-BE89-91526D0D1F77}"/>
                </a:ext>
              </a:extLst>
            </p:cNvPr>
            <p:cNvSpPr/>
            <p:nvPr/>
          </p:nvSpPr>
          <p:spPr bwMode="auto">
            <a:xfrm>
              <a:off x="8169276" y="5322888"/>
              <a:ext cx="98425" cy="84138"/>
            </a:xfrm>
            <a:custGeom>
              <a:avLst/>
              <a:gdLst>
                <a:gd name="T0" fmla="*/ 8 w 68"/>
                <a:gd name="T1" fmla="*/ 0 h 58"/>
                <a:gd name="T2" fmla="*/ 0 w 68"/>
                <a:gd name="T3" fmla="*/ 2 h 58"/>
                <a:gd name="T4" fmla="*/ 0 w 68"/>
                <a:gd name="T5" fmla="*/ 2 h 58"/>
                <a:gd name="T6" fmla="*/ 46 w 68"/>
                <a:gd name="T7" fmla="*/ 58 h 58"/>
                <a:gd name="T8" fmla="*/ 54 w 68"/>
                <a:gd name="T9" fmla="*/ 53 h 58"/>
                <a:gd name="T10" fmla="*/ 58 w 68"/>
                <a:gd name="T11" fmla="*/ 54 h 58"/>
                <a:gd name="T12" fmla="*/ 59 w 68"/>
                <a:gd name="T13" fmla="*/ 54 h 58"/>
                <a:gd name="T14" fmla="*/ 68 w 68"/>
                <a:gd name="T15" fmla="*/ 55 h 58"/>
                <a:gd name="T16" fmla="*/ 37 w 68"/>
                <a:gd name="T17" fmla="*/ 26 h 58"/>
                <a:gd name="T18" fmla="*/ 8 w 68"/>
                <a:gd name="T1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58">
                  <a:moveTo>
                    <a:pt x="8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6" y="55"/>
                    <a:pt x="49" y="53"/>
                    <a:pt x="54" y="53"/>
                  </a:cubicBezTo>
                  <a:cubicBezTo>
                    <a:pt x="55" y="53"/>
                    <a:pt x="56" y="53"/>
                    <a:pt x="58" y="54"/>
                  </a:cubicBezTo>
                  <a:cubicBezTo>
                    <a:pt x="58" y="54"/>
                    <a:pt x="59" y="54"/>
                    <a:pt x="59" y="54"/>
                  </a:cubicBezTo>
                  <a:cubicBezTo>
                    <a:pt x="61" y="54"/>
                    <a:pt x="64" y="54"/>
                    <a:pt x="68" y="55"/>
                  </a:cubicBezTo>
                  <a:cubicBezTo>
                    <a:pt x="62" y="46"/>
                    <a:pt x="52" y="33"/>
                    <a:pt x="37" y="26"/>
                  </a:cubicBezTo>
                  <a:cubicBezTo>
                    <a:pt x="25" y="21"/>
                    <a:pt x="15" y="11"/>
                    <a:pt x="8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îṥľíḋê">
              <a:extLst>
                <a:ext uri="{FF2B5EF4-FFF2-40B4-BE49-F238E27FC236}">
                  <a16:creationId xmlns:a16="http://schemas.microsoft.com/office/drawing/2014/main" id="{D0C75F03-EA22-494D-ADF8-48950D5B3CE4}"/>
                </a:ext>
              </a:extLst>
            </p:cNvPr>
            <p:cNvSpPr/>
            <p:nvPr/>
          </p:nvSpPr>
          <p:spPr bwMode="auto">
            <a:xfrm>
              <a:off x="8234363" y="5407025"/>
              <a:ext cx="25400" cy="26988"/>
            </a:xfrm>
            <a:custGeom>
              <a:avLst/>
              <a:gdLst>
                <a:gd name="T0" fmla="*/ 1 w 17"/>
                <a:gd name="T1" fmla="*/ 0 h 19"/>
                <a:gd name="T2" fmla="*/ 12 w 17"/>
                <a:gd name="T3" fmla="*/ 18 h 19"/>
                <a:gd name="T4" fmla="*/ 17 w 17"/>
                <a:gd name="T5" fmla="*/ 19 h 19"/>
                <a:gd name="T6" fmla="*/ 1 w 1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9">
                  <a:moveTo>
                    <a:pt x="1" y="0"/>
                  </a:moveTo>
                  <a:cubicBezTo>
                    <a:pt x="0" y="6"/>
                    <a:pt x="9" y="15"/>
                    <a:pt x="12" y="18"/>
                  </a:cubicBezTo>
                  <a:cubicBezTo>
                    <a:pt x="14" y="18"/>
                    <a:pt x="16" y="19"/>
                    <a:pt x="17" y="19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ï$ḷiḓe">
              <a:extLst>
                <a:ext uri="{FF2B5EF4-FFF2-40B4-BE49-F238E27FC236}">
                  <a16:creationId xmlns:a16="http://schemas.microsoft.com/office/drawing/2014/main" id="{7D399CD5-E383-499F-9C01-925218CC596F}"/>
                </a:ext>
              </a:extLst>
            </p:cNvPr>
            <p:cNvSpPr/>
            <p:nvPr/>
          </p:nvSpPr>
          <p:spPr bwMode="auto">
            <a:xfrm>
              <a:off x="8170863" y="5530850"/>
              <a:ext cx="9525" cy="4763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6 w 6"/>
                <a:gd name="T5" fmla="*/ 3 h 3"/>
                <a:gd name="T6" fmla="*/ 6 w 6"/>
                <a:gd name="T7" fmla="*/ 3 h 3"/>
                <a:gd name="T8" fmla="*/ 0 w 6"/>
                <a:gd name="T9" fmla="*/ 0 h 3"/>
                <a:gd name="T10" fmla="*/ 0 w 6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iṥľïḋê">
              <a:extLst>
                <a:ext uri="{FF2B5EF4-FFF2-40B4-BE49-F238E27FC236}">
                  <a16:creationId xmlns:a16="http://schemas.microsoft.com/office/drawing/2014/main" id="{D6A30748-48B0-4E51-B3B5-F89F0028924C}"/>
                </a:ext>
              </a:extLst>
            </p:cNvPr>
            <p:cNvSpPr/>
            <p:nvPr/>
          </p:nvSpPr>
          <p:spPr bwMode="auto">
            <a:xfrm>
              <a:off x="8169276" y="5519738"/>
              <a:ext cx="11113" cy="15875"/>
            </a:xfrm>
            <a:custGeom>
              <a:avLst/>
              <a:gdLst>
                <a:gd name="T0" fmla="*/ 5 w 7"/>
                <a:gd name="T1" fmla="*/ 0 h 11"/>
                <a:gd name="T2" fmla="*/ 0 w 7"/>
                <a:gd name="T3" fmla="*/ 1 h 11"/>
                <a:gd name="T4" fmla="*/ 1 w 7"/>
                <a:gd name="T5" fmla="*/ 8 h 11"/>
                <a:gd name="T6" fmla="*/ 1 w 7"/>
                <a:gd name="T7" fmla="*/ 8 h 11"/>
                <a:gd name="T8" fmla="*/ 7 w 7"/>
                <a:gd name="T9" fmla="*/ 11 h 11"/>
                <a:gd name="T10" fmla="*/ 5 w 7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5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3"/>
                    <a:pt x="0" y="6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8"/>
                    <a:pt x="5" y="4"/>
                    <a:pt x="5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íš1ïďe">
              <a:extLst>
                <a:ext uri="{FF2B5EF4-FFF2-40B4-BE49-F238E27FC236}">
                  <a16:creationId xmlns:a16="http://schemas.microsoft.com/office/drawing/2014/main" id="{48E4B810-0255-4E40-8009-BC8F7DFDD7A6}"/>
                </a:ext>
              </a:extLst>
            </p:cNvPr>
            <p:cNvSpPr/>
            <p:nvPr/>
          </p:nvSpPr>
          <p:spPr bwMode="auto">
            <a:xfrm>
              <a:off x="8167688" y="5432425"/>
              <a:ext cx="76200" cy="88900"/>
            </a:xfrm>
            <a:custGeom>
              <a:avLst/>
              <a:gdLst>
                <a:gd name="T0" fmla="*/ 48 w 52"/>
                <a:gd name="T1" fmla="*/ 0 h 61"/>
                <a:gd name="T2" fmla="*/ 1 w 52"/>
                <a:gd name="T3" fmla="*/ 49 h 61"/>
                <a:gd name="T4" fmla="*/ 1 w 52"/>
                <a:gd name="T5" fmla="*/ 61 h 61"/>
                <a:gd name="T6" fmla="*/ 6 w 52"/>
                <a:gd name="T7" fmla="*/ 60 h 61"/>
                <a:gd name="T8" fmla="*/ 5 w 52"/>
                <a:gd name="T9" fmla="*/ 49 h 61"/>
                <a:gd name="T10" fmla="*/ 52 w 52"/>
                <a:gd name="T11" fmla="*/ 0 h 61"/>
                <a:gd name="T12" fmla="*/ 48 w 52"/>
                <a:gd name="T1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61">
                  <a:moveTo>
                    <a:pt x="48" y="0"/>
                  </a:moveTo>
                  <a:cubicBezTo>
                    <a:pt x="31" y="0"/>
                    <a:pt x="3" y="6"/>
                    <a:pt x="1" y="49"/>
                  </a:cubicBezTo>
                  <a:cubicBezTo>
                    <a:pt x="0" y="53"/>
                    <a:pt x="0" y="57"/>
                    <a:pt x="1" y="61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5" y="57"/>
                    <a:pt x="5" y="53"/>
                    <a:pt x="5" y="49"/>
                  </a:cubicBezTo>
                  <a:cubicBezTo>
                    <a:pt x="8" y="7"/>
                    <a:pt x="36" y="0"/>
                    <a:pt x="52" y="0"/>
                  </a:cubicBezTo>
                  <a:cubicBezTo>
                    <a:pt x="51" y="0"/>
                    <a:pt x="49" y="0"/>
                    <a:pt x="48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íṧļîḍê">
              <a:extLst>
                <a:ext uri="{FF2B5EF4-FFF2-40B4-BE49-F238E27FC236}">
                  <a16:creationId xmlns:a16="http://schemas.microsoft.com/office/drawing/2014/main" id="{555992F6-B476-4D00-860D-48B1663C1FCE}"/>
                </a:ext>
              </a:extLst>
            </p:cNvPr>
            <p:cNvSpPr/>
            <p:nvPr/>
          </p:nvSpPr>
          <p:spPr bwMode="auto">
            <a:xfrm>
              <a:off x="8228013" y="5399088"/>
              <a:ext cx="33338" cy="34925"/>
            </a:xfrm>
            <a:custGeom>
              <a:avLst/>
              <a:gdLst>
                <a:gd name="T0" fmla="*/ 14 w 23"/>
                <a:gd name="T1" fmla="*/ 0 h 24"/>
                <a:gd name="T2" fmla="*/ 6 w 23"/>
                <a:gd name="T3" fmla="*/ 5 h 24"/>
                <a:gd name="T4" fmla="*/ 22 w 23"/>
                <a:gd name="T5" fmla="*/ 24 h 24"/>
                <a:gd name="T6" fmla="*/ 23 w 23"/>
                <a:gd name="T7" fmla="*/ 24 h 24"/>
                <a:gd name="T8" fmla="*/ 18 w 23"/>
                <a:gd name="T9" fmla="*/ 1 h 24"/>
                <a:gd name="T10" fmla="*/ 14 w 23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4">
                  <a:moveTo>
                    <a:pt x="14" y="0"/>
                  </a:moveTo>
                  <a:cubicBezTo>
                    <a:pt x="9" y="0"/>
                    <a:pt x="6" y="2"/>
                    <a:pt x="6" y="5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0" y="23"/>
                    <a:pt x="0" y="2"/>
                    <a:pt x="18" y="1"/>
                  </a:cubicBezTo>
                  <a:cubicBezTo>
                    <a:pt x="16" y="0"/>
                    <a:pt x="15" y="0"/>
                    <a:pt x="14" y="0"/>
                  </a:cubicBezTo>
                </a:path>
              </a:pathLst>
            </a:custGeom>
            <a:solidFill>
              <a:srgbClr val="524E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íṧļïḓé">
              <a:extLst>
                <a:ext uri="{FF2B5EF4-FFF2-40B4-BE49-F238E27FC236}">
                  <a16:creationId xmlns:a16="http://schemas.microsoft.com/office/drawing/2014/main" id="{6EB62215-4BC8-43D5-B118-8795DD97B4E6}"/>
                </a:ext>
              </a:extLst>
            </p:cNvPr>
            <p:cNvSpPr/>
            <p:nvPr/>
          </p:nvSpPr>
          <p:spPr bwMode="auto">
            <a:xfrm>
              <a:off x="8170863" y="5381625"/>
              <a:ext cx="357188" cy="227013"/>
            </a:xfrm>
            <a:custGeom>
              <a:avLst/>
              <a:gdLst>
                <a:gd name="T0" fmla="*/ 57 w 246"/>
                <a:gd name="T1" fmla="*/ 130 h 157"/>
                <a:gd name="T2" fmla="*/ 66 w 246"/>
                <a:gd name="T3" fmla="*/ 136 h 157"/>
                <a:gd name="T4" fmla="*/ 165 w 246"/>
                <a:gd name="T5" fmla="*/ 138 h 157"/>
                <a:gd name="T6" fmla="*/ 200 w 246"/>
                <a:gd name="T7" fmla="*/ 155 h 157"/>
                <a:gd name="T8" fmla="*/ 205 w 246"/>
                <a:gd name="T9" fmla="*/ 156 h 157"/>
                <a:gd name="T10" fmla="*/ 233 w 246"/>
                <a:gd name="T11" fmla="*/ 157 h 157"/>
                <a:gd name="T12" fmla="*/ 246 w 246"/>
                <a:gd name="T13" fmla="*/ 156 h 157"/>
                <a:gd name="T14" fmla="*/ 238 w 246"/>
                <a:gd name="T15" fmla="*/ 18 h 157"/>
                <a:gd name="T16" fmla="*/ 220 w 246"/>
                <a:gd name="T17" fmla="*/ 16 h 157"/>
                <a:gd name="T18" fmla="*/ 202 w 246"/>
                <a:gd name="T19" fmla="*/ 25 h 157"/>
                <a:gd name="T20" fmla="*/ 154 w 246"/>
                <a:gd name="T21" fmla="*/ 33 h 157"/>
                <a:gd name="T22" fmla="*/ 135 w 246"/>
                <a:gd name="T23" fmla="*/ 33 h 157"/>
                <a:gd name="T24" fmla="*/ 116 w 246"/>
                <a:gd name="T25" fmla="*/ 33 h 157"/>
                <a:gd name="T26" fmla="*/ 83 w 246"/>
                <a:gd name="T27" fmla="*/ 19 h 157"/>
                <a:gd name="T28" fmla="*/ 62 w 246"/>
                <a:gd name="T29" fmla="*/ 37 h 157"/>
                <a:gd name="T30" fmla="*/ 3 w 246"/>
                <a:gd name="T31" fmla="*/ 85 h 157"/>
                <a:gd name="T32" fmla="*/ 57 w 246"/>
                <a:gd name="T33" fmla="*/ 13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6" h="157">
                  <a:moveTo>
                    <a:pt x="57" y="130"/>
                  </a:moveTo>
                  <a:cubicBezTo>
                    <a:pt x="66" y="136"/>
                    <a:pt x="66" y="136"/>
                    <a:pt x="66" y="136"/>
                  </a:cubicBezTo>
                  <a:cubicBezTo>
                    <a:pt x="165" y="138"/>
                    <a:pt x="165" y="138"/>
                    <a:pt x="165" y="138"/>
                  </a:cubicBezTo>
                  <a:cubicBezTo>
                    <a:pt x="165" y="138"/>
                    <a:pt x="186" y="151"/>
                    <a:pt x="200" y="155"/>
                  </a:cubicBezTo>
                  <a:cubicBezTo>
                    <a:pt x="202" y="155"/>
                    <a:pt x="204" y="156"/>
                    <a:pt x="205" y="156"/>
                  </a:cubicBezTo>
                  <a:cubicBezTo>
                    <a:pt x="214" y="157"/>
                    <a:pt x="224" y="157"/>
                    <a:pt x="233" y="157"/>
                  </a:cubicBezTo>
                  <a:cubicBezTo>
                    <a:pt x="240" y="157"/>
                    <a:pt x="246" y="156"/>
                    <a:pt x="246" y="156"/>
                  </a:cubicBezTo>
                  <a:cubicBezTo>
                    <a:pt x="246" y="156"/>
                    <a:pt x="242" y="31"/>
                    <a:pt x="238" y="18"/>
                  </a:cubicBezTo>
                  <a:cubicBezTo>
                    <a:pt x="237" y="12"/>
                    <a:pt x="228" y="13"/>
                    <a:pt x="220" y="16"/>
                  </a:cubicBezTo>
                  <a:cubicBezTo>
                    <a:pt x="214" y="19"/>
                    <a:pt x="208" y="22"/>
                    <a:pt x="202" y="25"/>
                  </a:cubicBezTo>
                  <a:cubicBezTo>
                    <a:pt x="202" y="25"/>
                    <a:pt x="160" y="29"/>
                    <a:pt x="154" y="33"/>
                  </a:cubicBezTo>
                  <a:cubicBezTo>
                    <a:pt x="150" y="35"/>
                    <a:pt x="143" y="34"/>
                    <a:pt x="135" y="33"/>
                  </a:cubicBezTo>
                  <a:cubicBezTo>
                    <a:pt x="128" y="33"/>
                    <a:pt x="122" y="32"/>
                    <a:pt x="116" y="33"/>
                  </a:cubicBezTo>
                  <a:cubicBezTo>
                    <a:pt x="104" y="35"/>
                    <a:pt x="83" y="19"/>
                    <a:pt x="83" y="19"/>
                  </a:cubicBezTo>
                  <a:cubicBezTo>
                    <a:pt x="26" y="0"/>
                    <a:pt x="58" y="36"/>
                    <a:pt x="62" y="37"/>
                  </a:cubicBezTo>
                  <a:cubicBezTo>
                    <a:pt x="62" y="37"/>
                    <a:pt x="6" y="24"/>
                    <a:pt x="3" y="85"/>
                  </a:cubicBezTo>
                  <a:cubicBezTo>
                    <a:pt x="0" y="146"/>
                    <a:pt x="57" y="130"/>
                    <a:pt x="57" y="130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ïṧḻíde">
              <a:extLst>
                <a:ext uri="{FF2B5EF4-FFF2-40B4-BE49-F238E27FC236}">
                  <a16:creationId xmlns:a16="http://schemas.microsoft.com/office/drawing/2014/main" id="{E9C7F090-70A5-4BFF-8528-CB9E6844D42E}"/>
                </a:ext>
              </a:extLst>
            </p:cNvPr>
            <p:cNvSpPr/>
            <p:nvPr/>
          </p:nvSpPr>
          <p:spPr bwMode="auto">
            <a:xfrm>
              <a:off x="8459788" y="5399088"/>
              <a:ext cx="68263" cy="207963"/>
            </a:xfrm>
            <a:custGeom>
              <a:avLst/>
              <a:gdLst>
                <a:gd name="T0" fmla="*/ 1 w 47"/>
                <a:gd name="T1" fmla="*/ 70 h 144"/>
                <a:gd name="T2" fmla="*/ 34 w 47"/>
                <a:gd name="T3" fmla="*/ 144 h 144"/>
                <a:gd name="T4" fmla="*/ 47 w 47"/>
                <a:gd name="T5" fmla="*/ 144 h 144"/>
                <a:gd name="T6" fmla="*/ 39 w 47"/>
                <a:gd name="T7" fmla="*/ 6 h 144"/>
                <a:gd name="T8" fmla="*/ 21 w 47"/>
                <a:gd name="T9" fmla="*/ 4 h 144"/>
                <a:gd name="T10" fmla="*/ 1 w 47"/>
                <a:gd name="T11" fmla="*/ 7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144">
                  <a:moveTo>
                    <a:pt x="1" y="70"/>
                  </a:moveTo>
                  <a:cubicBezTo>
                    <a:pt x="2" y="95"/>
                    <a:pt x="22" y="127"/>
                    <a:pt x="34" y="144"/>
                  </a:cubicBezTo>
                  <a:cubicBezTo>
                    <a:pt x="41" y="144"/>
                    <a:pt x="47" y="144"/>
                    <a:pt x="47" y="144"/>
                  </a:cubicBezTo>
                  <a:cubicBezTo>
                    <a:pt x="47" y="144"/>
                    <a:pt x="43" y="19"/>
                    <a:pt x="39" y="6"/>
                  </a:cubicBezTo>
                  <a:cubicBezTo>
                    <a:pt x="38" y="0"/>
                    <a:pt x="29" y="1"/>
                    <a:pt x="21" y="4"/>
                  </a:cubicBezTo>
                  <a:cubicBezTo>
                    <a:pt x="11" y="23"/>
                    <a:pt x="0" y="49"/>
                    <a:pt x="1" y="70"/>
                  </a:cubicBezTo>
                </a:path>
              </a:pathLst>
            </a:custGeom>
            <a:solidFill>
              <a:srgbClr val="5653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ísļïḋé">
              <a:extLst>
                <a:ext uri="{FF2B5EF4-FFF2-40B4-BE49-F238E27FC236}">
                  <a16:creationId xmlns:a16="http://schemas.microsoft.com/office/drawing/2014/main" id="{CF419A76-5E58-4BEA-A03B-DD77C8BE30E6}"/>
                </a:ext>
              </a:extLst>
            </p:cNvPr>
            <p:cNvSpPr/>
            <p:nvPr/>
          </p:nvSpPr>
          <p:spPr bwMode="auto">
            <a:xfrm>
              <a:off x="8489951" y="5400675"/>
              <a:ext cx="38100" cy="206375"/>
            </a:xfrm>
            <a:custGeom>
              <a:avLst/>
              <a:gdLst>
                <a:gd name="T0" fmla="*/ 11 w 26"/>
                <a:gd name="T1" fmla="*/ 0 h 142"/>
                <a:gd name="T2" fmla="*/ 0 w 26"/>
                <a:gd name="T3" fmla="*/ 2 h 142"/>
                <a:gd name="T4" fmla="*/ 0 w 26"/>
                <a:gd name="T5" fmla="*/ 2 h 142"/>
                <a:gd name="T6" fmla="*/ 0 w 26"/>
                <a:gd name="T7" fmla="*/ 2 h 142"/>
                <a:gd name="T8" fmla="*/ 11 w 26"/>
                <a:gd name="T9" fmla="*/ 0 h 142"/>
                <a:gd name="T10" fmla="*/ 18 w 26"/>
                <a:gd name="T11" fmla="*/ 4 h 142"/>
                <a:gd name="T12" fmla="*/ 26 w 26"/>
                <a:gd name="T13" fmla="*/ 142 h 142"/>
                <a:gd name="T14" fmla="*/ 26 w 26"/>
                <a:gd name="T15" fmla="*/ 142 h 142"/>
                <a:gd name="T16" fmla="*/ 18 w 26"/>
                <a:gd name="T17" fmla="*/ 4 h 142"/>
                <a:gd name="T18" fmla="*/ 11 w 26"/>
                <a:gd name="T1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2">
                  <a:moveTo>
                    <a:pt x="11" y="0"/>
                  </a:moveTo>
                  <a:cubicBezTo>
                    <a:pt x="8" y="0"/>
                    <a:pt x="4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1"/>
                    <a:pt x="8" y="0"/>
                    <a:pt x="11" y="0"/>
                  </a:cubicBezTo>
                  <a:cubicBezTo>
                    <a:pt x="15" y="0"/>
                    <a:pt x="17" y="1"/>
                    <a:pt x="18" y="4"/>
                  </a:cubicBezTo>
                  <a:cubicBezTo>
                    <a:pt x="21" y="17"/>
                    <a:pt x="26" y="138"/>
                    <a:pt x="26" y="142"/>
                  </a:cubicBezTo>
                  <a:cubicBezTo>
                    <a:pt x="26" y="142"/>
                    <a:pt x="26" y="142"/>
                    <a:pt x="26" y="142"/>
                  </a:cubicBezTo>
                  <a:cubicBezTo>
                    <a:pt x="26" y="142"/>
                    <a:pt x="22" y="17"/>
                    <a:pt x="18" y="4"/>
                  </a:cubicBezTo>
                  <a:cubicBezTo>
                    <a:pt x="17" y="1"/>
                    <a:pt x="15" y="0"/>
                    <a:pt x="11" y="0"/>
                  </a:cubicBezTo>
                </a:path>
              </a:pathLst>
            </a:custGeom>
            <a:solidFill>
              <a:srgbClr val="4D4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í$ḻïďe">
              <a:extLst>
                <a:ext uri="{FF2B5EF4-FFF2-40B4-BE49-F238E27FC236}">
                  <a16:creationId xmlns:a16="http://schemas.microsoft.com/office/drawing/2014/main" id="{D352EA11-4D9A-4E84-B4B1-2D9DADA758DE}"/>
                </a:ext>
              </a:extLst>
            </p:cNvPr>
            <p:cNvSpPr/>
            <p:nvPr/>
          </p:nvSpPr>
          <p:spPr bwMode="auto">
            <a:xfrm>
              <a:off x="8423276" y="5403850"/>
              <a:ext cx="104775" cy="204788"/>
            </a:xfrm>
            <a:custGeom>
              <a:avLst/>
              <a:gdLst>
                <a:gd name="T0" fmla="*/ 46 w 72"/>
                <a:gd name="T1" fmla="*/ 0 h 141"/>
                <a:gd name="T2" fmla="*/ 28 w 72"/>
                <a:gd name="T3" fmla="*/ 9 h 141"/>
                <a:gd name="T4" fmla="*/ 28 w 72"/>
                <a:gd name="T5" fmla="*/ 9 h 141"/>
                <a:gd name="T6" fmla="*/ 9 w 72"/>
                <a:gd name="T7" fmla="*/ 69 h 141"/>
                <a:gd name="T8" fmla="*/ 26 w 72"/>
                <a:gd name="T9" fmla="*/ 139 h 141"/>
                <a:gd name="T10" fmla="*/ 31 w 72"/>
                <a:gd name="T11" fmla="*/ 140 h 141"/>
                <a:gd name="T12" fmla="*/ 49 w 72"/>
                <a:gd name="T13" fmla="*/ 141 h 141"/>
                <a:gd name="T14" fmla="*/ 59 w 72"/>
                <a:gd name="T15" fmla="*/ 141 h 141"/>
                <a:gd name="T16" fmla="*/ 72 w 72"/>
                <a:gd name="T17" fmla="*/ 140 h 141"/>
                <a:gd name="T18" fmla="*/ 72 w 72"/>
                <a:gd name="T19" fmla="*/ 140 h 141"/>
                <a:gd name="T20" fmla="*/ 59 w 72"/>
                <a:gd name="T21" fmla="*/ 140 h 141"/>
                <a:gd name="T22" fmla="*/ 26 w 72"/>
                <a:gd name="T23" fmla="*/ 66 h 141"/>
                <a:gd name="T24" fmla="*/ 26 w 72"/>
                <a:gd name="T25" fmla="*/ 63 h 141"/>
                <a:gd name="T26" fmla="*/ 46 w 72"/>
                <a:gd name="T27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41">
                  <a:moveTo>
                    <a:pt x="46" y="0"/>
                  </a:moveTo>
                  <a:cubicBezTo>
                    <a:pt x="40" y="3"/>
                    <a:pt x="34" y="6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0" y="37"/>
                    <a:pt x="9" y="69"/>
                  </a:cubicBezTo>
                  <a:cubicBezTo>
                    <a:pt x="15" y="94"/>
                    <a:pt x="15" y="122"/>
                    <a:pt x="26" y="139"/>
                  </a:cubicBezTo>
                  <a:cubicBezTo>
                    <a:pt x="28" y="139"/>
                    <a:pt x="30" y="140"/>
                    <a:pt x="31" y="140"/>
                  </a:cubicBezTo>
                  <a:cubicBezTo>
                    <a:pt x="37" y="141"/>
                    <a:pt x="43" y="141"/>
                    <a:pt x="49" y="141"/>
                  </a:cubicBezTo>
                  <a:cubicBezTo>
                    <a:pt x="52" y="141"/>
                    <a:pt x="56" y="141"/>
                    <a:pt x="59" y="141"/>
                  </a:cubicBezTo>
                  <a:cubicBezTo>
                    <a:pt x="66" y="141"/>
                    <a:pt x="72" y="140"/>
                    <a:pt x="72" y="140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2" y="140"/>
                    <a:pt x="66" y="140"/>
                    <a:pt x="59" y="140"/>
                  </a:cubicBezTo>
                  <a:cubicBezTo>
                    <a:pt x="47" y="123"/>
                    <a:pt x="27" y="91"/>
                    <a:pt x="26" y="66"/>
                  </a:cubicBezTo>
                  <a:cubicBezTo>
                    <a:pt x="26" y="65"/>
                    <a:pt x="26" y="64"/>
                    <a:pt x="26" y="63"/>
                  </a:cubicBezTo>
                  <a:cubicBezTo>
                    <a:pt x="26" y="43"/>
                    <a:pt x="36" y="18"/>
                    <a:pt x="46" y="0"/>
                  </a:cubicBezTo>
                </a:path>
              </a:pathLst>
            </a:custGeom>
            <a:solidFill>
              <a:srgbClr val="3C3A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íšļíďè">
              <a:extLst>
                <a:ext uri="{FF2B5EF4-FFF2-40B4-BE49-F238E27FC236}">
                  <a16:creationId xmlns:a16="http://schemas.microsoft.com/office/drawing/2014/main" id="{B3430B90-627E-4221-9557-4ECF16EF4F7F}"/>
                </a:ext>
              </a:extLst>
            </p:cNvPr>
            <p:cNvSpPr/>
            <p:nvPr/>
          </p:nvSpPr>
          <p:spPr bwMode="auto">
            <a:xfrm>
              <a:off x="8461376" y="5400675"/>
              <a:ext cx="66675" cy="206375"/>
            </a:xfrm>
            <a:custGeom>
              <a:avLst/>
              <a:gdLst>
                <a:gd name="T0" fmla="*/ 31 w 46"/>
                <a:gd name="T1" fmla="*/ 0 h 142"/>
                <a:gd name="T2" fmla="*/ 20 w 46"/>
                <a:gd name="T3" fmla="*/ 2 h 142"/>
                <a:gd name="T4" fmla="*/ 20 w 46"/>
                <a:gd name="T5" fmla="*/ 2 h 142"/>
                <a:gd name="T6" fmla="*/ 0 w 46"/>
                <a:gd name="T7" fmla="*/ 65 h 142"/>
                <a:gd name="T8" fmla="*/ 0 w 46"/>
                <a:gd name="T9" fmla="*/ 68 h 142"/>
                <a:gd name="T10" fmla="*/ 33 w 46"/>
                <a:gd name="T11" fmla="*/ 142 h 142"/>
                <a:gd name="T12" fmla="*/ 46 w 46"/>
                <a:gd name="T13" fmla="*/ 142 h 142"/>
                <a:gd name="T14" fmla="*/ 38 w 46"/>
                <a:gd name="T15" fmla="*/ 4 h 142"/>
                <a:gd name="T16" fmla="*/ 31 w 46"/>
                <a:gd name="T1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142">
                  <a:moveTo>
                    <a:pt x="31" y="0"/>
                  </a:moveTo>
                  <a:cubicBezTo>
                    <a:pt x="28" y="0"/>
                    <a:pt x="24" y="1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0"/>
                    <a:pt x="0" y="45"/>
                    <a:pt x="0" y="65"/>
                  </a:cubicBezTo>
                  <a:cubicBezTo>
                    <a:pt x="0" y="66"/>
                    <a:pt x="0" y="67"/>
                    <a:pt x="0" y="68"/>
                  </a:cubicBezTo>
                  <a:cubicBezTo>
                    <a:pt x="1" y="93"/>
                    <a:pt x="21" y="125"/>
                    <a:pt x="33" y="142"/>
                  </a:cubicBezTo>
                  <a:cubicBezTo>
                    <a:pt x="40" y="142"/>
                    <a:pt x="46" y="142"/>
                    <a:pt x="46" y="142"/>
                  </a:cubicBezTo>
                  <a:cubicBezTo>
                    <a:pt x="46" y="138"/>
                    <a:pt x="41" y="17"/>
                    <a:pt x="38" y="4"/>
                  </a:cubicBezTo>
                  <a:cubicBezTo>
                    <a:pt x="37" y="1"/>
                    <a:pt x="35" y="0"/>
                    <a:pt x="31" y="0"/>
                  </a:cubicBezTo>
                </a:path>
              </a:pathLst>
            </a:custGeom>
            <a:solidFill>
              <a:srgbClr val="4947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i$ḷïḑê">
              <a:extLst>
                <a:ext uri="{FF2B5EF4-FFF2-40B4-BE49-F238E27FC236}">
                  <a16:creationId xmlns:a16="http://schemas.microsoft.com/office/drawing/2014/main" id="{F93E3318-89F2-4213-A8BD-B1DF5F218ABD}"/>
                </a:ext>
              </a:extLst>
            </p:cNvPr>
            <p:cNvSpPr/>
            <p:nvPr/>
          </p:nvSpPr>
          <p:spPr bwMode="auto">
            <a:xfrm>
              <a:off x="7970838" y="5156200"/>
              <a:ext cx="85725" cy="66675"/>
            </a:xfrm>
            <a:custGeom>
              <a:avLst/>
              <a:gdLst>
                <a:gd name="T0" fmla="*/ 0 w 59"/>
                <a:gd name="T1" fmla="*/ 0 h 46"/>
                <a:gd name="T2" fmla="*/ 0 w 59"/>
                <a:gd name="T3" fmla="*/ 1 h 46"/>
                <a:gd name="T4" fmla="*/ 59 w 59"/>
                <a:gd name="T5" fmla="*/ 46 h 46"/>
                <a:gd name="T6" fmla="*/ 39 w 59"/>
                <a:gd name="T7" fmla="*/ 25 h 46"/>
                <a:gd name="T8" fmla="*/ 0 w 59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46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0" y="15"/>
                    <a:pt x="46" y="34"/>
                    <a:pt x="59" y="46"/>
                  </a:cubicBezTo>
                  <a:cubicBezTo>
                    <a:pt x="52" y="38"/>
                    <a:pt x="45" y="31"/>
                    <a:pt x="39" y="2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653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î$ḷîďè">
              <a:extLst>
                <a:ext uri="{FF2B5EF4-FFF2-40B4-BE49-F238E27FC236}">
                  <a16:creationId xmlns:a16="http://schemas.microsoft.com/office/drawing/2014/main" id="{75DBA825-5A56-43E6-AF12-8AE96E0B817D}"/>
                </a:ext>
              </a:extLst>
            </p:cNvPr>
            <p:cNvSpPr/>
            <p:nvPr/>
          </p:nvSpPr>
          <p:spPr bwMode="auto">
            <a:xfrm>
              <a:off x="7969251" y="5153025"/>
              <a:ext cx="103188" cy="90488"/>
            </a:xfrm>
            <a:custGeom>
              <a:avLst/>
              <a:gdLst>
                <a:gd name="T0" fmla="*/ 1 w 71"/>
                <a:gd name="T1" fmla="*/ 3 h 62"/>
                <a:gd name="T2" fmla="*/ 0 w 71"/>
                <a:gd name="T3" fmla="*/ 5 h 62"/>
                <a:gd name="T4" fmla="*/ 71 w 71"/>
                <a:gd name="T5" fmla="*/ 62 h 62"/>
                <a:gd name="T6" fmla="*/ 60 w 71"/>
                <a:gd name="T7" fmla="*/ 48 h 62"/>
                <a:gd name="T8" fmla="*/ 1 w 71"/>
                <a:gd name="T9" fmla="*/ 3 h 62"/>
                <a:gd name="T10" fmla="*/ 3 w 71"/>
                <a:gd name="T11" fmla="*/ 0 h 62"/>
                <a:gd name="T12" fmla="*/ 1 w 71"/>
                <a:gd name="T13" fmla="*/ 2 h 62"/>
                <a:gd name="T14" fmla="*/ 40 w 71"/>
                <a:gd name="T15" fmla="*/ 27 h 62"/>
                <a:gd name="T16" fmla="*/ 3 w 71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62">
                  <a:moveTo>
                    <a:pt x="1" y="3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67" y="57"/>
                    <a:pt x="64" y="52"/>
                    <a:pt x="60" y="48"/>
                  </a:cubicBezTo>
                  <a:cubicBezTo>
                    <a:pt x="47" y="36"/>
                    <a:pt x="21" y="17"/>
                    <a:pt x="1" y="3"/>
                  </a:cubicBezTo>
                  <a:moveTo>
                    <a:pt x="3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26" y="14"/>
                    <a:pt x="13" y="6"/>
                    <a:pt x="3" y="0"/>
                  </a:cubicBezTo>
                </a:path>
              </a:pathLst>
            </a:custGeom>
            <a:solidFill>
              <a:srgbClr val="5B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ïsḷïḍê">
              <a:extLst>
                <a:ext uri="{FF2B5EF4-FFF2-40B4-BE49-F238E27FC236}">
                  <a16:creationId xmlns:a16="http://schemas.microsoft.com/office/drawing/2014/main" id="{345DE23E-20AD-4B32-9265-0B509EBD7C57}"/>
                </a:ext>
              </a:extLst>
            </p:cNvPr>
            <p:cNvSpPr/>
            <p:nvPr/>
          </p:nvSpPr>
          <p:spPr bwMode="auto">
            <a:xfrm>
              <a:off x="7940676" y="5137150"/>
              <a:ext cx="33338" cy="23813"/>
            </a:xfrm>
            <a:custGeom>
              <a:avLst/>
              <a:gdLst>
                <a:gd name="T0" fmla="*/ 0 w 23"/>
                <a:gd name="T1" fmla="*/ 0 h 16"/>
                <a:gd name="T2" fmla="*/ 20 w 23"/>
                <a:gd name="T3" fmla="*/ 16 h 16"/>
                <a:gd name="T4" fmla="*/ 21 w 23"/>
                <a:gd name="T5" fmla="*/ 14 h 16"/>
                <a:gd name="T6" fmla="*/ 21 w 23"/>
                <a:gd name="T7" fmla="*/ 13 h 16"/>
                <a:gd name="T8" fmla="*/ 23 w 23"/>
                <a:gd name="T9" fmla="*/ 11 h 16"/>
                <a:gd name="T10" fmla="*/ 0 w 23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6">
                  <a:moveTo>
                    <a:pt x="0" y="0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9" y="3"/>
                    <a:pt x="0" y="0"/>
                    <a:pt x="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îṣļiḋe">
              <a:extLst>
                <a:ext uri="{FF2B5EF4-FFF2-40B4-BE49-F238E27FC236}">
                  <a16:creationId xmlns:a16="http://schemas.microsoft.com/office/drawing/2014/main" id="{BDD281F9-CB24-4994-B8ED-A1CACEBA0679}"/>
                </a:ext>
              </a:extLst>
            </p:cNvPr>
            <p:cNvSpPr/>
            <p:nvPr/>
          </p:nvSpPr>
          <p:spPr bwMode="auto">
            <a:xfrm>
              <a:off x="8518526" y="4246563"/>
              <a:ext cx="1588" cy="7938"/>
            </a:xfrm>
            <a:custGeom>
              <a:avLst/>
              <a:gdLst>
                <a:gd name="T0" fmla="*/ 2 w 2"/>
                <a:gd name="T1" fmla="*/ 0 h 5"/>
                <a:gd name="T2" fmla="*/ 0 w 2"/>
                <a:gd name="T3" fmla="*/ 5 h 5"/>
                <a:gd name="T4" fmla="*/ 1 w 2"/>
                <a:gd name="T5" fmla="*/ 1 h 5"/>
                <a:gd name="T6" fmla="*/ 2 w 2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cubicBezTo>
                    <a:pt x="1" y="2"/>
                    <a:pt x="0" y="4"/>
                    <a:pt x="0" y="5"/>
                  </a:cubicBezTo>
                  <a:cubicBezTo>
                    <a:pt x="0" y="4"/>
                    <a:pt x="1" y="3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ïṥḷíḑê">
              <a:extLst>
                <a:ext uri="{FF2B5EF4-FFF2-40B4-BE49-F238E27FC236}">
                  <a16:creationId xmlns:a16="http://schemas.microsoft.com/office/drawing/2014/main" id="{524219A2-5F66-4B66-B6AD-36711279C72C}"/>
                </a:ext>
              </a:extLst>
            </p:cNvPr>
            <p:cNvSpPr/>
            <p:nvPr/>
          </p:nvSpPr>
          <p:spPr bwMode="auto">
            <a:xfrm>
              <a:off x="8113713" y="4203700"/>
              <a:ext cx="419100" cy="190500"/>
            </a:xfrm>
            <a:custGeom>
              <a:avLst/>
              <a:gdLst>
                <a:gd name="T0" fmla="*/ 289 w 289"/>
                <a:gd name="T1" fmla="*/ 108 h 132"/>
                <a:gd name="T2" fmla="*/ 278 w 289"/>
                <a:gd name="T3" fmla="*/ 124 h 132"/>
                <a:gd name="T4" fmla="*/ 253 w 289"/>
                <a:gd name="T5" fmla="*/ 132 h 132"/>
                <a:gd name="T6" fmla="*/ 253 w 289"/>
                <a:gd name="T7" fmla="*/ 132 h 132"/>
                <a:gd name="T8" fmla="*/ 278 w 289"/>
                <a:gd name="T9" fmla="*/ 124 h 132"/>
                <a:gd name="T10" fmla="*/ 289 w 289"/>
                <a:gd name="T11" fmla="*/ 108 h 132"/>
                <a:gd name="T12" fmla="*/ 6 w 289"/>
                <a:gd name="T13" fmla="*/ 41 h 132"/>
                <a:gd name="T14" fmla="*/ 13 w 289"/>
                <a:gd name="T15" fmla="*/ 54 h 132"/>
                <a:gd name="T16" fmla="*/ 31 w 289"/>
                <a:gd name="T17" fmla="*/ 58 h 132"/>
                <a:gd name="T18" fmla="*/ 31 w 289"/>
                <a:gd name="T19" fmla="*/ 58 h 132"/>
                <a:gd name="T20" fmla="*/ 13 w 289"/>
                <a:gd name="T21" fmla="*/ 54 h 132"/>
                <a:gd name="T22" fmla="*/ 6 w 289"/>
                <a:gd name="T23" fmla="*/ 41 h 132"/>
                <a:gd name="T24" fmla="*/ 4 w 289"/>
                <a:gd name="T25" fmla="*/ 0 h 132"/>
                <a:gd name="T26" fmla="*/ 3 w 289"/>
                <a:gd name="T27" fmla="*/ 5 h 132"/>
                <a:gd name="T28" fmla="*/ 5 w 289"/>
                <a:gd name="T29" fmla="*/ 39 h 132"/>
                <a:gd name="T30" fmla="*/ 3 w 289"/>
                <a:gd name="T31" fmla="*/ 5 h 132"/>
                <a:gd name="T32" fmla="*/ 4 w 289"/>
                <a:gd name="T33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9" h="132">
                  <a:moveTo>
                    <a:pt x="289" y="108"/>
                  </a:moveTo>
                  <a:cubicBezTo>
                    <a:pt x="287" y="114"/>
                    <a:pt x="283" y="120"/>
                    <a:pt x="278" y="124"/>
                  </a:cubicBezTo>
                  <a:cubicBezTo>
                    <a:pt x="271" y="129"/>
                    <a:pt x="262" y="132"/>
                    <a:pt x="253" y="132"/>
                  </a:cubicBezTo>
                  <a:cubicBezTo>
                    <a:pt x="253" y="132"/>
                    <a:pt x="253" y="132"/>
                    <a:pt x="253" y="132"/>
                  </a:cubicBezTo>
                  <a:cubicBezTo>
                    <a:pt x="262" y="132"/>
                    <a:pt x="271" y="129"/>
                    <a:pt x="278" y="124"/>
                  </a:cubicBezTo>
                  <a:cubicBezTo>
                    <a:pt x="283" y="120"/>
                    <a:pt x="287" y="115"/>
                    <a:pt x="289" y="108"/>
                  </a:cubicBezTo>
                  <a:moveTo>
                    <a:pt x="6" y="41"/>
                  </a:moveTo>
                  <a:cubicBezTo>
                    <a:pt x="7" y="46"/>
                    <a:pt x="9" y="52"/>
                    <a:pt x="13" y="54"/>
                  </a:cubicBezTo>
                  <a:cubicBezTo>
                    <a:pt x="18" y="58"/>
                    <a:pt x="25" y="57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25" y="57"/>
                    <a:pt x="18" y="57"/>
                    <a:pt x="13" y="54"/>
                  </a:cubicBezTo>
                  <a:cubicBezTo>
                    <a:pt x="9" y="51"/>
                    <a:pt x="7" y="46"/>
                    <a:pt x="6" y="41"/>
                  </a:cubicBezTo>
                  <a:moveTo>
                    <a:pt x="4" y="0"/>
                  </a:moveTo>
                  <a:cubicBezTo>
                    <a:pt x="4" y="1"/>
                    <a:pt x="3" y="3"/>
                    <a:pt x="3" y="5"/>
                  </a:cubicBezTo>
                  <a:cubicBezTo>
                    <a:pt x="0" y="16"/>
                    <a:pt x="2" y="28"/>
                    <a:pt x="5" y="39"/>
                  </a:cubicBezTo>
                  <a:cubicBezTo>
                    <a:pt x="2" y="28"/>
                    <a:pt x="0" y="16"/>
                    <a:pt x="3" y="5"/>
                  </a:cubicBezTo>
                  <a:cubicBezTo>
                    <a:pt x="3" y="3"/>
                    <a:pt x="4" y="1"/>
                    <a:pt x="4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iṥḻîḋê">
              <a:extLst>
                <a:ext uri="{FF2B5EF4-FFF2-40B4-BE49-F238E27FC236}">
                  <a16:creationId xmlns:a16="http://schemas.microsoft.com/office/drawing/2014/main" id="{ADEC7D83-4E02-49EF-AB27-42B3F6FB5278}"/>
                </a:ext>
              </a:extLst>
            </p:cNvPr>
            <p:cNvSpPr/>
            <p:nvPr/>
          </p:nvSpPr>
          <p:spPr bwMode="auto">
            <a:xfrm>
              <a:off x="8158163" y="4287838"/>
              <a:ext cx="1588" cy="1588"/>
            </a:xfrm>
            <a:prstGeom prst="ellipse">
              <a:avLst/>
            </a:prstGeom>
            <a:solidFill>
              <a:srgbClr val="D680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iṣļîḋê">
              <a:extLst>
                <a:ext uri="{FF2B5EF4-FFF2-40B4-BE49-F238E27FC236}">
                  <a16:creationId xmlns:a16="http://schemas.microsoft.com/office/drawing/2014/main" id="{C57B5C34-E72A-4874-823C-6F2A75E12E47}"/>
                </a:ext>
              </a:extLst>
            </p:cNvPr>
            <p:cNvSpPr/>
            <p:nvPr/>
          </p:nvSpPr>
          <p:spPr bwMode="auto">
            <a:xfrm>
              <a:off x="8480426" y="43942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56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îṧlíďê">
              <a:extLst>
                <a:ext uri="{FF2B5EF4-FFF2-40B4-BE49-F238E27FC236}">
                  <a16:creationId xmlns:a16="http://schemas.microsoft.com/office/drawing/2014/main" id="{4AC6B458-3935-4B84-BD62-E1314A06DDA7}"/>
                </a:ext>
              </a:extLst>
            </p:cNvPr>
            <p:cNvSpPr/>
            <p:nvPr/>
          </p:nvSpPr>
          <p:spPr bwMode="auto">
            <a:xfrm>
              <a:off x="8158163" y="4281488"/>
              <a:ext cx="322263" cy="123825"/>
            </a:xfrm>
            <a:custGeom>
              <a:avLst/>
              <a:gdLst>
                <a:gd name="T0" fmla="*/ 178 w 222"/>
                <a:gd name="T1" fmla="*/ 71 h 85"/>
                <a:gd name="T2" fmla="*/ 176 w 222"/>
                <a:gd name="T3" fmla="*/ 71 h 85"/>
                <a:gd name="T4" fmla="*/ 168 w 222"/>
                <a:gd name="T5" fmla="*/ 80 h 85"/>
                <a:gd name="T6" fmla="*/ 157 w 222"/>
                <a:gd name="T7" fmla="*/ 85 h 85"/>
                <a:gd name="T8" fmla="*/ 148 w 222"/>
                <a:gd name="T9" fmla="*/ 80 h 85"/>
                <a:gd name="T10" fmla="*/ 148 w 222"/>
                <a:gd name="T11" fmla="*/ 80 h 85"/>
                <a:gd name="T12" fmla="*/ 157 w 222"/>
                <a:gd name="T13" fmla="*/ 85 h 85"/>
                <a:gd name="T14" fmla="*/ 168 w 222"/>
                <a:gd name="T15" fmla="*/ 80 h 85"/>
                <a:gd name="T16" fmla="*/ 176 w 222"/>
                <a:gd name="T17" fmla="*/ 71 h 85"/>
                <a:gd name="T18" fmla="*/ 178 w 222"/>
                <a:gd name="T19" fmla="*/ 71 h 85"/>
                <a:gd name="T20" fmla="*/ 188 w 222"/>
                <a:gd name="T21" fmla="*/ 73 h 85"/>
                <a:gd name="T22" fmla="*/ 218 w 222"/>
                <a:gd name="T23" fmla="*/ 78 h 85"/>
                <a:gd name="T24" fmla="*/ 221 w 222"/>
                <a:gd name="T25" fmla="*/ 78 h 85"/>
                <a:gd name="T26" fmla="*/ 222 w 222"/>
                <a:gd name="T27" fmla="*/ 78 h 85"/>
                <a:gd name="T28" fmla="*/ 222 w 222"/>
                <a:gd name="T29" fmla="*/ 78 h 85"/>
                <a:gd name="T30" fmla="*/ 222 w 222"/>
                <a:gd name="T31" fmla="*/ 78 h 85"/>
                <a:gd name="T32" fmla="*/ 221 w 222"/>
                <a:gd name="T33" fmla="*/ 78 h 85"/>
                <a:gd name="T34" fmla="*/ 218 w 222"/>
                <a:gd name="T35" fmla="*/ 78 h 85"/>
                <a:gd name="T36" fmla="*/ 188 w 222"/>
                <a:gd name="T37" fmla="*/ 73 h 85"/>
                <a:gd name="T38" fmla="*/ 178 w 222"/>
                <a:gd name="T39" fmla="*/ 71 h 85"/>
                <a:gd name="T40" fmla="*/ 92 w 222"/>
                <a:gd name="T41" fmla="*/ 27 h 85"/>
                <a:gd name="T42" fmla="*/ 92 w 222"/>
                <a:gd name="T43" fmla="*/ 29 h 85"/>
                <a:gd name="T44" fmla="*/ 116 w 222"/>
                <a:gd name="T45" fmla="*/ 43 h 85"/>
                <a:gd name="T46" fmla="*/ 143 w 222"/>
                <a:gd name="T47" fmla="*/ 53 h 85"/>
                <a:gd name="T48" fmla="*/ 148 w 222"/>
                <a:gd name="T49" fmla="*/ 62 h 85"/>
                <a:gd name="T50" fmla="*/ 143 w 222"/>
                <a:gd name="T51" fmla="*/ 52 h 85"/>
                <a:gd name="T52" fmla="*/ 116 w 222"/>
                <a:gd name="T53" fmla="*/ 43 h 85"/>
                <a:gd name="T54" fmla="*/ 92 w 222"/>
                <a:gd name="T55" fmla="*/ 29 h 85"/>
                <a:gd name="T56" fmla="*/ 92 w 222"/>
                <a:gd name="T57" fmla="*/ 27 h 85"/>
                <a:gd name="T58" fmla="*/ 67 w 222"/>
                <a:gd name="T59" fmla="*/ 0 h 85"/>
                <a:gd name="T60" fmla="*/ 58 w 222"/>
                <a:gd name="T61" fmla="*/ 1 h 85"/>
                <a:gd name="T62" fmla="*/ 23 w 222"/>
                <a:gd name="T63" fmla="*/ 22 h 85"/>
                <a:gd name="T64" fmla="*/ 22 w 222"/>
                <a:gd name="T65" fmla="*/ 23 h 85"/>
                <a:gd name="T66" fmla="*/ 17 w 222"/>
                <a:gd name="T67" fmla="*/ 22 h 85"/>
                <a:gd name="T68" fmla="*/ 8 w 222"/>
                <a:gd name="T69" fmla="*/ 7 h 85"/>
                <a:gd name="T70" fmla="*/ 0 w 222"/>
                <a:gd name="T71" fmla="*/ 4 h 85"/>
                <a:gd name="T72" fmla="*/ 0 w 222"/>
                <a:gd name="T73" fmla="*/ 4 h 85"/>
                <a:gd name="T74" fmla="*/ 8 w 222"/>
                <a:gd name="T75" fmla="*/ 8 h 85"/>
                <a:gd name="T76" fmla="*/ 17 w 222"/>
                <a:gd name="T77" fmla="*/ 22 h 85"/>
                <a:gd name="T78" fmla="*/ 22 w 222"/>
                <a:gd name="T79" fmla="*/ 23 h 85"/>
                <a:gd name="T80" fmla="*/ 24 w 222"/>
                <a:gd name="T81" fmla="*/ 23 h 85"/>
                <a:gd name="T82" fmla="*/ 58 w 222"/>
                <a:gd name="T83" fmla="*/ 1 h 85"/>
                <a:gd name="T84" fmla="*/ 67 w 222"/>
                <a:gd name="T85" fmla="*/ 0 h 85"/>
                <a:gd name="T86" fmla="*/ 81 w 222"/>
                <a:gd name="T87" fmla="*/ 3 h 85"/>
                <a:gd name="T88" fmla="*/ 89 w 222"/>
                <a:gd name="T89" fmla="*/ 8 h 85"/>
                <a:gd name="T90" fmla="*/ 91 w 222"/>
                <a:gd name="T91" fmla="*/ 13 h 85"/>
                <a:gd name="T92" fmla="*/ 89 w 222"/>
                <a:gd name="T93" fmla="*/ 8 h 85"/>
                <a:gd name="T94" fmla="*/ 81 w 222"/>
                <a:gd name="T95" fmla="*/ 3 h 85"/>
                <a:gd name="T96" fmla="*/ 67 w 222"/>
                <a:gd name="T9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2" h="85">
                  <a:moveTo>
                    <a:pt x="178" y="71"/>
                  </a:moveTo>
                  <a:cubicBezTo>
                    <a:pt x="177" y="71"/>
                    <a:pt x="176" y="71"/>
                    <a:pt x="176" y="71"/>
                  </a:cubicBezTo>
                  <a:cubicBezTo>
                    <a:pt x="170" y="72"/>
                    <a:pt x="170" y="76"/>
                    <a:pt x="168" y="80"/>
                  </a:cubicBezTo>
                  <a:cubicBezTo>
                    <a:pt x="166" y="83"/>
                    <a:pt x="162" y="85"/>
                    <a:pt x="157" y="85"/>
                  </a:cubicBezTo>
                  <a:cubicBezTo>
                    <a:pt x="153" y="85"/>
                    <a:pt x="150" y="84"/>
                    <a:pt x="148" y="80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50" y="84"/>
                    <a:pt x="153" y="85"/>
                    <a:pt x="157" y="85"/>
                  </a:cubicBezTo>
                  <a:cubicBezTo>
                    <a:pt x="162" y="85"/>
                    <a:pt x="166" y="84"/>
                    <a:pt x="168" y="80"/>
                  </a:cubicBezTo>
                  <a:cubicBezTo>
                    <a:pt x="170" y="76"/>
                    <a:pt x="170" y="72"/>
                    <a:pt x="176" y="71"/>
                  </a:cubicBezTo>
                  <a:cubicBezTo>
                    <a:pt x="176" y="71"/>
                    <a:pt x="177" y="71"/>
                    <a:pt x="178" y="71"/>
                  </a:cubicBezTo>
                  <a:cubicBezTo>
                    <a:pt x="181" y="71"/>
                    <a:pt x="185" y="72"/>
                    <a:pt x="188" y="73"/>
                  </a:cubicBezTo>
                  <a:cubicBezTo>
                    <a:pt x="198" y="77"/>
                    <a:pt x="208" y="78"/>
                    <a:pt x="218" y="78"/>
                  </a:cubicBezTo>
                  <a:cubicBezTo>
                    <a:pt x="219" y="78"/>
                    <a:pt x="220" y="78"/>
                    <a:pt x="221" y="78"/>
                  </a:cubicBezTo>
                  <a:cubicBezTo>
                    <a:pt x="221" y="78"/>
                    <a:pt x="222" y="78"/>
                    <a:pt x="222" y="78"/>
                  </a:cubicBezTo>
                  <a:cubicBezTo>
                    <a:pt x="222" y="78"/>
                    <a:pt x="222" y="78"/>
                    <a:pt x="222" y="78"/>
                  </a:cubicBezTo>
                  <a:cubicBezTo>
                    <a:pt x="222" y="78"/>
                    <a:pt x="222" y="78"/>
                    <a:pt x="222" y="78"/>
                  </a:cubicBezTo>
                  <a:cubicBezTo>
                    <a:pt x="222" y="78"/>
                    <a:pt x="221" y="78"/>
                    <a:pt x="221" y="78"/>
                  </a:cubicBezTo>
                  <a:cubicBezTo>
                    <a:pt x="220" y="78"/>
                    <a:pt x="219" y="78"/>
                    <a:pt x="218" y="78"/>
                  </a:cubicBezTo>
                  <a:cubicBezTo>
                    <a:pt x="208" y="78"/>
                    <a:pt x="198" y="76"/>
                    <a:pt x="188" y="73"/>
                  </a:cubicBezTo>
                  <a:cubicBezTo>
                    <a:pt x="185" y="72"/>
                    <a:pt x="181" y="71"/>
                    <a:pt x="178" y="71"/>
                  </a:cubicBezTo>
                  <a:moveTo>
                    <a:pt x="92" y="27"/>
                  </a:moveTo>
                  <a:cubicBezTo>
                    <a:pt x="92" y="28"/>
                    <a:pt x="92" y="28"/>
                    <a:pt x="92" y="29"/>
                  </a:cubicBezTo>
                  <a:cubicBezTo>
                    <a:pt x="95" y="38"/>
                    <a:pt x="106" y="42"/>
                    <a:pt x="116" y="43"/>
                  </a:cubicBezTo>
                  <a:cubicBezTo>
                    <a:pt x="126" y="45"/>
                    <a:pt x="137" y="45"/>
                    <a:pt x="143" y="53"/>
                  </a:cubicBezTo>
                  <a:cubicBezTo>
                    <a:pt x="146" y="55"/>
                    <a:pt x="147" y="59"/>
                    <a:pt x="148" y="62"/>
                  </a:cubicBezTo>
                  <a:cubicBezTo>
                    <a:pt x="147" y="59"/>
                    <a:pt x="146" y="55"/>
                    <a:pt x="143" y="52"/>
                  </a:cubicBezTo>
                  <a:cubicBezTo>
                    <a:pt x="137" y="45"/>
                    <a:pt x="126" y="44"/>
                    <a:pt x="116" y="43"/>
                  </a:cubicBezTo>
                  <a:cubicBezTo>
                    <a:pt x="106" y="42"/>
                    <a:pt x="95" y="38"/>
                    <a:pt x="92" y="29"/>
                  </a:cubicBezTo>
                  <a:cubicBezTo>
                    <a:pt x="92" y="28"/>
                    <a:pt x="92" y="28"/>
                    <a:pt x="92" y="27"/>
                  </a:cubicBezTo>
                  <a:moveTo>
                    <a:pt x="67" y="0"/>
                  </a:moveTo>
                  <a:cubicBezTo>
                    <a:pt x="64" y="0"/>
                    <a:pt x="61" y="0"/>
                    <a:pt x="58" y="1"/>
                  </a:cubicBezTo>
                  <a:cubicBezTo>
                    <a:pt x="45" y="5"/>
                    <a:pt x="37" y="20"/>
                    <a:pt x="23" y="22"/>
                  </a:cubicBezTo>
                  <a:cubicBezTo>
                    <a:pt x="23" y="23"/>
                    <a:pt x="22" y="23"/>
                    <a:pt x="22" y="23"/>
                  </a:cubicBezTo>
                  <a:cubicBezTo>
                    <a:pt x="20" y="23"/>
                    <a:pt x="19" y="22"/>
                    <a:pt x="17" y="22"/>
                  </a:cubicBezTo>
                  <a:cubicBezTo>
                    <a:pt x="12" y="19"/>
                    <a:pt x="12" y="12"/>
                    <a:pt x="8" y="7"/>
                  </a:cubicBezTo>
                  <a:cubicBezTo>
                    <a:pt x="6" y="5"/>
                    <a:pt x="3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" y="4"/>
                    <a:pt x="6" y="5"/>
                    <a:pt x="8" y="8"/>
                  </a:cubicBezTo>
                  <a:cubicBezTo>
                    <a:pt x="12" y="12"/>
                    <a:pt x="12" y="19"/>
                    <a:pt x="17" y="22"/>
                  </a:cubicBezTo>
                  <a:cubicBezTo>
                    <a:pt x="19" y="22"/>
                    <a:pt x="20" y="23"/>
                    <a:pt x="22" y="23"/>
                  </a:cubicBezTo>
                  <a:cubicBezTo>
                    <a:pt x="22" y="23"/>
                    <a:pt x="23" y="23"/>
                    <a:pt x="24" y="23"/>
                  </a:cubicBezTo>
                  <a:cubicBezTo>
                    <a:pt x="37" y="21"/>
                    <a:pt x="45" y="5"/>
                    <a:pt x="58" y="1"/>
                  </a:cubicBezTo>
                  <a:cubicBezTo>
                    <a:pt x="61" y="0"/>
                    <a:pt x="64" y="0"/>
                    <a:pt x="67" y="0"/>
                  </a:cubicBezTo>
                  <a:cubicBezTo>
                    <a:pt x="72" y="0"/>
                    <a:pt x="77" y="1"/>
                    <a:pt x="81" y="3"/>
                  </a:cubicBezTo>
                  <a:cubicBezTo>
                    <a:pt x="84" y="4"/>
                    <a:pt x="87" y="6"/>
                    <a:pt x="89" y="8"/>
                  </a:cubicBezTo>
                  <a:cubicBezTo>
                    <a:pt x="90" y="9"/>
                    <a:pt x="90" y="11"/>
                    <a:pt x="91" y="13"/>
                  </a:cubicBezTo>
                  <a:cubicBezTo>
                    <a:pt x="90" y="11"/>
                    <a:pt x="90" y="9"/>
                    <a:pt x="89" y="8"/>
                  </a:cubicBezTo>
                  <a:cubicBezTo>
                    <a:pt x="87" y="5"/>
                    <a:pt x="84" y="4"/>
                    <a:pt x="81" y="3"/>
                  </a:cubicBezTo>
                  <a:cubicBezTo>
                    <a:pt x="76" y="1"/>
                    <a:pt x="72" y="0"/>
                    <a:pt x="67" y="0"/>
                  </a:cubicBezTo>
                </a:path>
              </a:pathLst>
            </a:custGeom>
            <a:solidFill>
              <a:srgbClr val="C073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íśļïďè">
              <a:extLst>
                <a:ext uri="{FF2B5EF4-FFF2-40B4-BE49-F238E27FC236}">
                  <a16:creationId xmlns:a16="http://schemas.microsoft.com/office/drawing/2014/main" id="{FBFF1857-3310-4245-8F2D-A846957E053F}"/>
                </a:ext>
              </a:extLst>
            </p:cNvPr>
            <p:cNvSpPr/>
            <p:nvPr/>
          </p:nvSpPr>
          <p:spPr bwMode="auto">
            <a:xfrm>
              <a:off x="8113713" y="4195763"/>
              <a:ext cx="419100" cy="209550"/>
            </a:xfrm>
            <a:custGeom>
              <a:avLst/>
              <a:gdLst>
                <a:gd name="T0" fmla="*/ 4 w 289"/>
                <a:gd name="T1" fmla="*/ 5 h 144"/>
                <a:gd name="T2" fmla="*/ 5 w 289"/>
                <a:gd name="T3" fmla="*/ 44 h 144"/>
                <a:gd name="T4" fmla="*/ 6 w 289"/>
                <a:gd name="T5" fmla="*/ 46 h 144"/>
                <a:gd name="T6" fmla="*/ 31 w 289"/>
                <a:gd name="T7" fmla="*/ 63 h 144"/>
                <a:gd name="T8" fmla="*/ 39 w 289"/>
                <a:gd name="T9" fmla="*/ 66 h 144"/>
                <a:gd name="T10" fmla="*/ 53 w 289"/>
                <a:gd name="T11" fmla="*/ 82 h 144"/>
                <a:gd name="T12" fmla="*/ 89 w 289"/>
                <a:gd name="T13" fmla="*/ 60 h 144"/>
                <a:gd name="T14" fmla="*/ 112 w 289"/>
                <a:gd name="T15" fmla="*/ 62 h 144"/>
                <a:gd name="T16" fmla="*/ 122 w 289"/>
                <a:gd name="T17" fmla="*/ 72 h 144"/>
                <a:gd name="T18" fmla="*/ 123 w 289"/>
                <a:gd name="T19" fmla="*/ 88 h 144"/>
                <a:gd name="T20" fmla="*/ 174 w 289"/>
                <a:gd name="T21" fmla="*/ 111 h 144"/>
                <a:gd name="T22" fmla="*/ 179 w 289"/>
                <a:gd name="T23" fmla="*/ 132 h 144"/>
                <a:gd name="T24" fmla="*/ 188 w 289"/>
                <a:gd name="T25" fmla="*/ 144 h 144"/>
                <a:gd name="T26" fmla="*/ 207 w 289"/>
                <a:gd name="T27" fmla="*/ 130 h 144"/>
                <a:gd name="T28" fmla="*/ 219 w 289"/>
                <a:gd name="T29" fmla="*/ 132 h 144"/>
                <a:gd name="T30" fmla="*/ 252 w 289"/>
                <a:gd name="T31" fmla="*/ 137 h 144"/>
                <a:gd name="T32" fmla="*/ 253 w 289"/>
                <a:gd name="T33" fmla="*/ 137 h 144"/>
                <a:gd name="T34" fmla="*/ 278 w 289"/>
                <a:gd name="T35" fmla="*/ 129 h 144"/>
                <a:gd name="T36" fmla="*/ 289 w 289"/>
                <a:gd name="T37" fmla="*/ 112 h 144"/>
                <a:gd name="T38" fmla="*/ 256 w 289"/>
                <a:gd name="T39" fmla="*/ 130 h 144"/>
                <a:gd name="T40" fmla="*/ 252 w 289"/>
                <a:gd name="T41" fmla="*/ 130 h 144"/>
                <a:gd name="T42" fmla="*/ 212 w 289"/>
                <a:gd name="T43" fmla="*/ 122 h 144"/>
                <a:gd name="T44" fmla="*/ 202 w 289"/>
                <a:gd name="T45" fmla="*/ 132 h 144"/>
                <a:gd name="T46" fmla="*/ 182 w 289"/>
                <a:gd name="T47" fmla="*/ 131 h 144"/>
                <a:gd name="T48" fmla="*/ 177 w 289"/>
                <a:gd name="T49" fmla="*/ 104 h 144"/>
                <a:gd name="T50" fmla="*/ 126 w 289"/>
                <a:gd name="T51" fmla="*/ 80 h 144"/>
                <a:gd name="T52" fmla="*/ 115 w 289"/>
                <a:gd name="T53" fmla="*/ 54 h 144"/>
                <a:gd name="T54" fmla="*/ 92 w 289"/>
                <a:gd name="T55" fmla="*/ 52 h 144"/>
                <a:gd name="T56" fmla="*/ 56 w 289"/>
                <a:gd name="T57" fmla="*/ 74 h 144"/>
                <a:gd name="T58" fmla="*/ 42 w 289"/>
                <a:gd name="T59" fmla="*/ 59 h 144"/>
                <a:gd name="T60" fmla="*/ 8 w 289"/>
                <a:gd name="T61" fmla="*/ 37 h 144"/>
                <a:gd name="T62" fmla="*/ 7 w 289"/>
                <a:gd name="T6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9" h="144">
                  <a:moveTo>
                    <a:pt x="7" y="0"/>
                  </a:moveTo>
                  <a:cubicBezTo>
                    <a:pt x="6" y="1"/>
                    <a:pt x="5" y="3"/>
                    <a:pt x="4" y="5"/>
                  </a:cubicBezTo>
                  <a:cubicBezTo>
                    <a:pt x="4" y="6"/>
                    <a:pt x="3" y="8"/>
                    <a:pt x="3" y="10"/>
                  </a:cubicBezTo>
                  <a:cubicBezTo>
                    <a:pt x="0" y="21"/>
                    <a:pt x="2" y="3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5" y="45"/>
                    <a:pt x="6" y="46"/>
                  </a:cubicBezTo>
                  <a:cubicBezTo>
                    <a:pt x="7" y="51"/>
                    <a:pt x="9" y="56"/>
                    <a:pt x="13" y="59"/>
                  </a:cubicBezTo>
                  <a:cubicBezTo>
                    <a:pt x="18" y="62"/>
                    <a:pt x="25" y="62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4" y="63"/>
                    <a:pt x="37" y="64"/>
                    <a:pt x="39" y="66"/>
                  </a:cubicBezTo>
                  <a:cubicBezTo>
                    <a:pt x="43" y="71"/>
                    <a:pt x="43" y="78"/>
                    <a:pt x="48" y="81"/>
                  </a:cubicBezTo>
                  <a:cubicBezTo>
                    <a:pt x="50" y="81"/>
                    <a:pt x="51" y="82"/>
                    <a:pt x="53" y="82"/>
                  </a:cubicBezTo>
                  <a:cubicBezTo>
                    <a:pt x="53" y="82"/>
                    <a:pt x="54" y="82"/>
                    <a:pt x="54" y="81"/>
                  </a:cubicBezTo>
                  <a:cubicBezTo>
                    <a:pt x="68" y="79"/>
                    <a:pt x="76" y="64"/>
                    <a:pt x="89" y="60"/>
                  </a:cubicBezTo>
                  <a:cubicBezTo>
                    <a:pt x="92" y="59"/>
                    <a:pt x="95" y="59"/>
                    <a:pt x="98" y="59"/>
                  </a:cubicBezTo>
                  <a:cubicBezTo>
                    <a:pt x="103" y="59"/>
                    <a:pt x="107" y="60"/>
                    <a:pt x="112" y="62"/>
                  </a:cubicBezTo>
                  <a:cubicBezTo>
                    <a:pt x="115" y="63"/>
                    <a:pt x="118" y="64"/>
                    <a:pt x="120" y="67"/>
                  </a:cubicBezTo>
                  <a:cubicBezTo>
                    <a:pt x="121" y="68"/>
                    <a:pt x="121" y="70"/>
                    <a:pt x="122" y="72"/>
                  </a:cubicBezTo>
                  <a:cubicBezTo>
                    <a:pt x="123" y="76"/>
                    <a:pt x="122" y="82"/>
                    <a:pt x="123" y="86"/>
                  </a:cubicBezTo>
                  <a:cubicBezTo>
                    <a:pt x="123" y="87"/>
                    <a:pt x="123" y="87"/>
                    <a:pt x="123" y="88"/>
                  </a:cubicBezTo>
                  <a:cubicBezTo>
                    <a:pt x="126" y="97"/>
                    <a:pt x="137" y="101"/>
                    <a:pt x="147" y="102"/>
                  </a:cubicBezTo>
                  <a:cubicBezTo>
                    <a:pt x="157" y="103"/>
                    <a:pt x="168" y="104"/>
                    <a:pt x="174" y="111"/>
                  </a:cubicBezTo>
                  <a:cubicBezTo>
                    <a:pt x="177" y="114"/>
                    <a:pt x="178" y="118"/>
                    <a:pt x="179" y="121"/>
                  </a:cubicBezTo>
                  <a:cubicBezTo>
                    <a:pt x="180" y="124"/>
                    <a:pt x="180" y="128"/>
                    <a:pt x="179" y="132"/>
                  </a:cubicBezTo>
                  <a:cubicBezTo>
                    <a:pt x="179" y="134"/>
                    <a:pt x="179" y="136"/>
                    <a:pt x="179" y="139"/>
                  </a:cubicBezTo>
                  <a:cubicBezTo>
                    <a:pt x="181" y="143"/>
                    <a:pt x="184" y="144"/>
                    <a:pt x="188" y="144"/>
                  </a:cubicBezTo>
                  <a:cubicBezTo>
                    <a:pt x="193" y="144"/>
                    <a:pt x="197" y="142"/>
                    <a:pt x="199" y="139"/>
                  </a:cubicBezTo>
                  <a:cubicBezTo>
                    <a:pt x="201" y="135"/>
                    <a:pt x="201" y="131"/>
                    <a:pt x="207" y="130"/>
                  </a:cubicBezTo>
                  <a:cubicBezTo>
                    <a:pt x="207" y="130"/>
                    <a:pt x="208" y="130"/>
                    <a:pt x="209" y="130"/>
                  </a:cubicBezTo>
                  <a:cubicBezTo>
                    <a:pt x="212" y="130"/>
                    <a:pt x="216" y="131"/>
                    <a:pt x="219" y="132"/>
                  </a:cubicBezTo>
                  <a:cubicBezTo>
                    <a:pt x="229" y="135"/>
                    <a:pt x="239" y="137"/>
                    <a:pt x="249" y="137"/>
                  </a:cubicBezTo>
                  <a:cubicBezTo>
                    <a:pt x="250" y="137"/>
                    <a:pt x="251" y="137"/>
                    <a:pt x="252" y="137"/>
                  </a:cubicBezTo>
                  <a:cubicBezTo>
                    <a:pt x="252" y="137"/>
                    <a:pt x="253" y="137"/>
                    <a:pt x="253" y="137"/>
                  </a:cubicBezTo>
                  <a:cubicBezTo>
                    <a:pt x="253" y="137"/>
                    <a:pt x="253" y="137"/>
                    <a:pt x="253" y="137"/>
                  </a:cubicBezTo>
                  <a:cubicBezTo>
                    <a:pt x="253" y="137"/>
                    <a:pt x="253" y="137"/>
                    <a:pt x="253" y="137"/>
                  </a:cubicBezTo>
                  <a:cubicBezTo>
                    <a:pt x="262" y="137"/>
                    <a:pt x="271" y="134"/>
                    <a:pt x="278" y="129"/>
                  </a:cubicBezTo>
                  <a:cubicBezTo>
                    <a:pt x="283" y="125"/>
                    <a:pt x="287" y="119"/>
                    <a:pt x="289" y="113"/>
                  </a:cubicBezTo>
                  <a:cubicBezTo>
                    <a:pt x="289" y="113"/>
                    <a:pt x="289" y="112"/>
                    <a:pt x="289" y="112"/>
                  </a:cubicBezTo>
                  <a:cubicBezTo>
                    <a:pt x="287" y="116"/>
                    <a:pt x="285" y="119"/>
                    <a:pt x="281" y="122"/>
                  </a:cubicBezTo>
                  <a:cubicBezTo>
                    <a:pt x="274" y="127"/>
                    <a:pt x="265" y="130"/>
                    <a:pt x="256" y="130"/>
                  </a:cubicBezTo>
                  <a:cubicBezTo>
                    <a:pt x="256" y="130"/>
                    <a:pt x="255" y="130"/>
                    <a:pt x="255" y="130"/>
                  </a:cubicBezTo>
                  <a:cubicBezTo>
                    <a:pt x="254" y="130"/>
                    <a:pt x="253" y="130"/>
                    <a:pt x="252" y="130"/>
                  </a:cubicBezTo>
                  <a:cubicBezTo>
                    <a:pt x="242" y="130"/>
                    <a:pt x="232" y="128"/>
                    <a:pt x="222" y="125"/>
                  </a:cubicBezTo>
                  <a:cubicBezTo>
                    <a:pt x="219" y="123"/>
                    <a:pt x="215" y="122"/>
                    <a:pt x="212" y="122"/>
                  </a:cubicBezTo>
                  <a:cubicBezTo>
                    <a:pt x="211" y="122"/>
                    <a:pt x="210" y="122"/>
                    <a:pt x="210" y="122"/>
                  </a:cubicBezTo>
                  <a:cubicBezTo>
                    <a:pt x="204" y="124"/>
                    <a:pt x="204" y="127"/>
                    <a:pt x="202" y="132"/>
                  </a:cubicBezTo>
                  <a:cubicBezTo>
                    <a:pt x="200" y="135"/>
                    <a:pt x="196" y="137"/>
                    <a:pt x="191" y="137"/>
                  </a:cubicBezTo>
                  <a:cubicBezTo>
                    <a:pt x="188" y="137"/>
                    <a:pt x="184" y="135"/>
                    <a:pt x="182" y="131"/>
                  </a:cubicBezTo>
                  <a:cubicBezTo>
                    <a:pt x="182" y="129"/>
                    <a:pt x="182" y="126"/>
                    <a:pt x="182" y="124"/>
                  </a:cubicBezTo>
                  <a:cubicBezTo>
                    <a:pt x="184" y="117"/>
                    <a:pt x="182" y="110"/>
                    <a:pt x="177" y="104"/>
                  </a:cubicBezTo>
                  <a:cubicBezTo>
                    <a:pt x="171" y="97"/>
                    <a:pt x="160" y="96"/>
                    <a:pt x="150" y="95"/>
                  </a:cubicBezTo>
                  <a:cubicBezTo>
                    <a:pt x="140" y="93"/>
                    <a:pt x="129" y="90"/>
                    <a:pt x="126" y="80"/>
                  </a:cubicBezTo>
                  <a:cubicBezTo>
                    <a:pt x="124" y="73"/>
                    <a:pt x="127" y="65"/>
                    <a:pt x="123" y="59"/>
                  </a:cubicBezTo>
                  <a:cubicBezTo>
                    <a:pt x="121" y="57"/>
                    <a:pt x="118" y="55"/>
                    <a:pt x="115" y="54"/>
                  </a:cubicBezTo>
                  <a:cubicBezTo>
                    <a:pt x="111" y="52"/>
                    <a:pt x="106" y="51"/>
                    <a:pt x="101" y="51"/>
                  </a:cubicBezTo>
                  <a:cubicBezTo>
                    <a:pt x="98" y="51"/>
                    <a:pt x="95" y="52"/>
                    <a:pt x="92" y="52"/>
                  </a:cubicBezTo>
                  <a:cubicBezTo>
                    <a:pt x="79" y="57"/>
                    <a:pt x="71" y="72"/>
                    <a:pt x="58" y="74"/>
                  </a:cubicBezTo>
                  <a:cubicBezTo>
                    <a:pt x="57" y="74"/>
                    <a:pt x="56" y="74"/>
                    <a:pt x="56" y="74"/>
                  </a:cubicBezTo>
                  <a:cubicBezTo>
                    <a:pt x="54" y="74"/>
                    <a:pt x="53" y="74"/>
                    <a:pt x="51" y="73"/>
                  </a:cubicBezTo>
                  <a:cubicBezTo>
                    <a:pt x="46" y="71"/>
                    <a:pt x="46" y="63"/>
                    <a:pt x="42" y="59"/>
                  </a:cubicBezTo>
                  <a:cubicBezTo>
                    <a:pt x="36" y="52"/>
                    <a:pt x="24" y="57"/>
                    <a:pt x="16" y="52"/>
                  </a:cubicBezTo>
                  <a:cubicBezTo>
                    <a:pt x="11" y="49"/>
                    <a:pt x="10" y="42"/>
                    <a:pt x="8" y="37"/>
                  </a:cubicBezTo>
                  <a:cubicBezTo>
                    <a:pt x="5" y="25"/>
                    <a:pt x="3" y="14"/>
                    <a:pt x="6" y="3"/>
                  </a:cubicBezTo>
                  <a:cubicBezTo>
                    <a:pt x="6" y="2"/>
                    <a:pt x="6" y="1"/>
                    <a:pt x="7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îSḻîḓe">
              <a:extLst>
                <a:ext uri="{FF2B5EF4-FFF2-40B4-BE49-F238E27FC236}">
                  <a16:creationId xmlns:a16="http://schemas.microsoft.com/office/drawing/2014/main" id="{8CDA4547-AA35-4CB2-B7E1-ABF2D4167AC6}"/>
                </a:ext>
              </a:extLst>
            </p:cNvPr>
            <p:cNvSpPr/>
            <p:nvPr/>
          </p:nvSpPr>
          <p:spPr bwMode="auto">
            <a:xfrm>
              <a:off x="8469313" y="4824413"/>
              <a:ext cx="47625" cy="100013"/>
            </a:xfrm>
            <a:custGeom>
              <a:avLst/>
              <a:gdLst>
                <a:gd name="T0" fmla="*/ 32 w 32"/>
                <a:gd name="T1" fmla="*/ 0 h 69"/>
                <a:gd name="T2" fmla="*/ 14 w 32"/>
                <a:gd name="T3" fmla="*/ 24 h 69"/>
                <a:gd name="T4" fmla="*/ 2 w 32"/>
                <a:gd name="T5" fmla="*/ 69 h 69"/>
                <a:gd name="T6" fmla="*/ 20 w 32"/>
                <a:gd name="T7" fmla="*/ 37 h 69"/>
                <a:gd name="T8" fmla="*/ 22 w 32"/>
                <a:gd name="T9" fmla="*/ 33 h 69"/>
                <a:gd name="T10" fmla="*/ 32 w 32"/>
                <a:gd name="T1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69">
                  <a:moveTo>
                    <a:pt x="32" y="0"/>
                  </a:moveTo>
                  <a:cubicBezTo>
                    <a:pt x="26" y="8"/>
                    <a:pt x="20" y="16"/>
                    <a:pt x="14" y="24"/>
                  </a:cubicBezTo>
                  <a:cubicBezTo>
                    <a:pt x="6" y="38"/>
                    <a:pt x="0" y="53"/>
                    <a:pt x="2" y="69"/>
                  </a:cubicBezTo>
                  <a:cubicBezTo>
                    <a:pt x="10" y="60"/>
                    <a:pt x="14" y="48"/>
                    <a:pt x="20" y="37"/>
                  </a:cubicBezTo>
                  <a:cubicBezTo>
                    <a:pt x="20" y="36"/>
                    <a:pt x="21" y="35"/>
                    <a:pt x="22" y="33"/>
                  </a:cubicBezTo>
                  <a:cubicBezTo>
                    <a:pt x="24" y="23"/>
                    <a:pt x="28" y="11"/>
                    <a:pt x="32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i$ḷiḑè">
              <a:extLst>
                <a:ext uri="{FF2B5EF4-FFF2-40B4-BE49-F238E27FC236}">
                  <a16:creationId xmlns:a16="http://schemas.microsoft.com/office/drawing/2014/main" id="{78602F77-50B6-468D-BE7A-C59D24163C40}"/>
                </a:ext>
              </a:extLst>
            </p:cNvPr>
            <p:cNvSpPr/>
            <p:nvPr/>
          </p:nvSpPr>
          <p:spPr bwMode="auto">
            <a:xfrm>
              <a:off x="8502651" y="4770438"/>
              <a:ext cx="69850" cy="101600"/>
            </a:xfrm>
            <a:custGeom>
              <a:avLst/>
              <a:gdLst>
                <a:gd name="T0" fmla="*/ 41 w 49"/>
                <a:gd name="T1" fmla="*/ 0 h 71"/>
                <a:gd name="T2" fmla="*/ 21 w 49"/>
                <a:gd name="T3" fmla="*/ 25 h 71"/>
                <a:gd name="T4" fmla="*/ 10 w 49"/>
                <a:gd name="T5" fmla="*/ 38 h 71"/>
                <a:gd name="T6" fmla="*/ 0 w 49"/>
                <a:gd name="T7" fmla="*/ 71 h 71"/>
                <a:gd name="T8" fmla="*/ 32 w 49"/>
                <a:gd name="T9" fmla="*/ 23 h 71"/>
                <a:gd name="T10" fmla="*/ 41 w 49"/>
                <a:gd name="T11" fmla="*/ 0 h 71"/>
                <a:gd name="T12" fmla="*/ 41 w 49"/>
                <a:gd name="T1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71">
                  <a:moveTo>
                    <a:pt x="41" y="0"/>
                  </a:moveTo>
                  <a:cubicBezTo>
                    <a:pt x="35" y="0"/>
                    <a:pt x="24" y="20"/>
                    <a:pt x="21" y="25"/>
                  </a:cubicBezTo>
                  <a:cubicBezTo>
                    <a:pt x="17" y="29"/>
                    <a:pt x="14" y="33"/>
                    <a:pt x="10" y="38"/>
                  </a:cubicBezTo>
                  <a:cubicBezTo>
                    <a:pt x="6" y="49"/>
                    <a:pt x="2" y="61"/>
                    <a:pt x="0" y="71"/>
                  </a:cubicBezTo>
                  <a:cubicBezTo>
                    <a:pt x="9" y="54"/>
                    <a:pt x="21" y="39"/>
                    <a:pt x="32" y="23"/>
                  </a:cubicBezTo>
                  <a:cubicBezTo>
                    <a:pt x="34" y="20"/>
                    <a:pt x="49" y="1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为什么要学习</a:t>
            </a:r>
            <a:r>
              <a:rPr lang="en-US" altLang="zh-CN" dirty="0"/>
              <a:t>Rus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月泉的博客  </a:t>
            </a:r>
            <a:r>
              <a:rPr lang="en-US" altLang="zh-CN" dirty="0"/>
              <a:t>www.lunaspring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7" name="e6128835-7167-4934-9dbf-6dd8a6734d0a" descr="2xIAAB+LCAAAAAAABADllsuO2jAUht/FbXdoFMcmKexCaVpUtR3BaLqoWHjAgKXERo4Z0UF599rkgg2ZabrjsiPnEv/n9+FTduC9+rOmoA8mKZFqyMhSknSkaAo6YDQHfb5Jkg4YMD5nfPlFis06A/3fu7rNzvxiavVIkg01vZwpRpLisX9SX5V9Z5ylm7Qs8+48HSJbKwS9Isjm84TaZSOuqHyuT4Amtv89UVIfEAuZEqUP3Hn5B1CmQB9177zcNM/pVjd1wEMhq9JTyjMGNM5pEmbMe5EpJvih455o36iW1DDsUdOhVMuiUrEZSaKELXlKuVE8EEoJ4/9XIdmL4MpN6/momq10/hul69LACXvRBy5IktHKhhVZ0x/6oGq6fQDqtjFNiGLPToUTgyCv56qLjB3HZR3nzdPazYM7elat2jE577xq0APdqv+z1HTYfjZd/mvD7OWYF9jSSwlNuqcNyuu9/yQSIf+991XZSf7nYsFmdExn+tiqaLx80jsaBB9D2A31EHKTrXTpuzhG3ciLP4NKNcybdrp6TdudPqpvY/++xfZfj5FRFc0OYxT/1iI+kGy5UpxmWRkulHpv3lC9axMhn05WrRLtXFgRfPvCzhxUXWyDyr85UPltQOW3A5XvgMq/XFD5Zw0qL+x5EPUcUMWDCEe4EVT+VYLKt0Hl3wCogtAGFbo5UKE2oELtQIUcUKHLBRU6Z1AFOOhBeMSpeNAN/EZOoavkFLI5hW6AU2FgcwrfHKdwG07hdpzCDqfw5XIKnzOn9LcUCiFEDqiGvag3bP6gwlcJKmyDCrcG1TT/C7u2kyXbEgAA">
            <a:extLst>
              <a:ext uri="{FF2B5EF4-FFF2-40B4-BE49-F238E27FC236}">
                <a16:creationId xmlns:a16="http://schemas.microsoft.com/office/drawing/2014/main" id="{69600CF4-943A-470C-9F29-A5AA29E49116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766930"/>
            <a:ext cx="6702425" cy="4390273"/>
            <a:chOff x="3508867" y="669857"/>
            <a:chExt cx="5192795" cy="4418711"/>
          </a:xfrm>
        </p:grpSpPr>
        <p:sp>
          <p:nvSpPr>
            <p:cNvPr id="9" name="RelativeShape1">
              <a:extLst>
                <a:ext uri="{FF2B5EF4-FFF2-40B4-BE49-F238E27FC236}">
                  <a16:creationId xmlns:a16="http://schemas.microsoft.com/office/drawing/2014/main" id="{03DC0649-E854-418C-94F1-DA050B32FC61}"/>
                </a:ext>
              </a:extLst>
            </p:cNvPr>
            <p:cNvSpPr/>
            <p:nvPr/>
          </p:nvSpPr>
          <p:spPr>
            <a:xfrm>
              <a:off x="6077538" y="669860"/>
              <a:ext cx="477678" cy="3533251"/>
            </a:xfrm>
            <a:prstGeom prst="upArrow">
              <a:avLst>
                <a:gd name="adj1" fmla="val 100000"/>
                <a:gd name="adj2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ExtraShape2">
              <a:extLst>
                <a:ext uri="{FF2B5EF4-FFF2-40B4-BE49-F238E27FC236}">
                  <a16:creationId xmlns:a16="http://schemas.microsoft.com/office/drawing/2014/main" id="{0FB1CC92-19E6-4982-83B9-A785038F3B5A}"/>
                </a:ext>
              </a:extLst>
            </p:cNvPr>
            <p:cNvSpPr/>
            <p:nvPr/>
          </p:nvSpPr>
          <p:spPr>
            <a:xfrm>
              <a:off x="6122507" y="4604084"/>
              <a:ext cx="710403" cy="382143"/>
            </a:xfrm>
            <a:prstGeom prst="flowChartProcess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/>
                <a:t>生产力</a:t>
              </a:r>
            </a:p>
          </p:txBody>
        </p:sp>
        <p:sp>
          <p:nvSpPr>
            <p:cNvPr id="13" name="RelativeShape2">
              <a:extLst>
                <a:ext uri="{FF2B5EF4-FFF2-40B4-BE49-F238E27FC236}">
                  <a16:creationId xmlns:a16="http://schemas.microsoft.com/office/drawing/2014/main" id="{A9BC20CD-25B7-44C8-B1D6-80CDBC9208FE}"/>
                </a:ext>
              </a:extLst>
            </p:cNvPr>
            <p:cNvSpPr/>
            <p:nvPr/>
          </p:nvSpPr>
          <p:spPr>
            <a:xfrm>
              <a:off x="6795560" y="669859"/>
              <a:ext cx="477678" cy="3533251"/>
            </a:xfrm>
            <a:prstGeom prst="upArrow">
              <a:avLst>
                <a:gd name="adj1" fmla="val 100000"/>
                <a:gd name="adj2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ValueShape2">
              <a:extLst>
                <a:ext uri="{FF2B5EF4-FFF2-40B4-BE49-F238E27FC236}">
                  <a16:creationId xmlns:a16="http://schemas.microsoft.com/office/drawing/2014/main" id="{90F31B2C-74DB-4EAF-94B0-A7FE17013C78}"/>
                </a:ext>
              </a:extLst>
            </p:cNvPr>
            <p:cNvSpPr/>
            <p:nvPr/>
          </p:nvSpPr>
          <p:spPr>
            <a:xfrm>
              <a:off x="6238325" y="2528269"/>
              <a:ext cx="477678" cy="1907956"/>
            </a:xfrm>
            <a:prstGeom prst="upArrow">
              <a:avLst>
                <a:gd name="adj1" fmla="val 100000"/>
                <a:gd name="adj2" fmla="val 50000"/>
              </a:avLst>
            </a:prstGeom>
            <a:solidFill>
              <a:srgbClr val="FBA4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6" name="ExtraShape3">
              <a:extLst>
                <a:ext uri="{FF2B5EF4-FFF2-40B4-BE49-F238E27FC236}">
                  <a16:creationId xmlns:a16="http://schemas.microsoft.com/office/drawing/2014/main" id="{1467A245-BC25-4743-B4B9-76BC979F3BCB}"/>
                </a:ext>
              </a:extLst>
            </p:cNvPr>
            <p:cNvSpPr/>
            <p:nvPr/>
          </p:nvSpPr>
          <p:spPr>
            <a:xfrm>
              <a:off x="6879562" y="4594336"/>
              <a:ext cx="710403" cy="382143"/>
            </a:xfrm>
            <a:prstGeom prst="flowChartProcess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/>
                <a:t>可靠性</a:t>
              </a:r>
            </a:p>
          </p:txBody>
        </p:sp>
        <p:sp>
          <p:nvSpPr>
            <p:cNvPr id="17" name="RelativeShape3">
              <a:extLst>
                <a:ext uri="{FF2B5EF4-FFF2-40B4-BE49-F238E27FC236}">
                  <a16:creationId xmlns:a16="http://schemas.microsoft.com/office/drawing/2014/main" id="{60C2EE66-572D-46CD-8B00-A0FA4EC20869}"/>
                </a:ext>
              </a:extLst>
            </p:cNvPr>
            <p:cNvSpPr/>
            <p:nvPr/>
          </p:nvSpPr>
          <p:spPr>
            <a:xfrm>
              <a:off x="7505962" y="669858"/>
              <a:ext cx="477678" cy="3533251"/>
            </a:xfrm>
            <a:prstGeom prst="upArrow">
              <a:avLst>
                <a:gd name="adj1" fmla="val 100000"/>
                <a:gd name="adj2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ValueShape3">
              <a:extLst>
                <a:ext uri="{FF2B5EF4-FFF2-40B4-BE49-F238E27FC236}">
                  <a16:creationId xmlns:a16="http://schemas.microsoft.com/office/drawing/2014/main" id="{7B4467BB-512F-41CB-A1C2-2564F4AE4676}"/>
                </a:ext>
              </a:extLst>
            </p:cNvPr>
            <p:cNvSpPr/>
            <p:nvPr/>
          </p:nvSpPr>
          <p:spPr>
            <a:xfrm>
              <a:off x="6999212" y="2068947"/>
              <a:ext cx="477678" cy="2367278"/>
            </a:xfrm>
            <a:prstGeom prst="upArrow">
              <a:avLst>
                <a:gd name="adj1" fmla="val 100000"/>
                <a:gd name="adj2" fmla="val 50000"/>
              </a:avLst>
            </a:prstGeom>
            <a:solidFill>
              <a:srgbClr val="FFB5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ExtraShape4">
              <a:extLst>
                <a:ext uri="{FF2B5EF4-FFF2-40B4-BE49-F238E27FC236}">
                  <a16:creationId xmlns:a16="http://schemas.microsoft.com/office/drawing/2014/main" id="{FCA78B45-221C-47F7-BAA2-1CE3EADEB481}"/>
                </a:ext>
              </a:extLst>
            </p:cNvPr>
            <p:cNvSpPr/>
            <p:nvPr/>
          </p:nvSpPr>
          <p:spPr>
            <a:xfrm>
              <a:off x="7643134" y="4594336"/>
              <a:ext cx="710403" cy="382143"/>
            </a:xfrm>
            <a:prstGeom prst="flowChartProcess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/>
                <a:t>高性能</a:t>
              </a:r>
            </a:p>
          </p:txBody>
        </p:sp>
        <p:sp>
          <p:nvSpPr>
            <p:cNvPr id="21" name="RelativeShape4">
              <a:extLst>
                <a:ext uri="{FF2B5EF4-FFF2-40B4-BE49-F238E27FC236}">
                  <a16:creationId xmlns:a16="http://schemas.microsoft.com/office/drawing/2014/main" id="{CBA97A38-15DC-4ACE-9F79-9A9D51E4773C}"/>
                </a:ext>
              </a:extLst>
            </p:cNvPr>
            <p:cNvSpPr/>
            <p:nvPr/>
          </p:nvSpPr>
          <p:spPr>
            <a:xfrm>
              <a:off x="8223984" y="669857"/>
              <a:ext cx="477678" cy="3533251"/>
            </a:xfrm>
            <a:prstGeom prst="upArrow">
              <a:avLst>
                <a:gd name="adj1" fmla="val 100000"/>
                <a:gd name="adj2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ValueShape4">
              <a:extLst>
                <a:ext uri="{FF2B5EF4-FFF2-40B4-BE49-F238E27FC236}">
                  <a16:creationId xmlns:a16="http://schemas.microsoft.com/office/drawing/2014/main" id="{EE7E8167-C22C-4989-BB64-0D03267CE584}"/>
                </a:ext>
              </a:extLst>
            </p:cNvPr>
            <p:cNvSpPr/>
            <p:nvPr/>
          </p:nvSpPr>
          <p:spPr>
            <a:xfrm>
              <a:off x="7717234" y="1768508"/>
              <a:ext cx="477678" cy="2685271"/>
            </a:xfrm>
            <a:prstGeom prst="upArrow">
              <a:avLst>
                <a:gd name="adj1" fmla="val 100000"/>
                <a:gd name="adj2" fmla="val 50000"/>
              </a:avLst>
            </a:prstGeom>
            <a:solidFill>
              <a:srgbClr val="D9A9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4" name="ExtraShape">
              <a:extLst>
                <a:ext uri="{FF2B5EF4-FFF2-40B4-BE49-F238E27FC236}">
                  <a16:creationId xmlns:a16="http://schemas.microsoft.com/office/drawing/2014/main" id="{49964886-2687-44BA-A103-D27EEEDB12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61910" y="4976480"/>
              <a:ext cx="2583712" cy="0"/>
            </a:xfrm>
            <a:prstGeom prst="line">
              <a:avLst/>
            </a:prstGeom>
            <a:ln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CustomText">
              <a:extLst>
                <a:ext uri="{FF2B5EF4-FFF2-40B4-BE49-F238E27FC236}">
                  <a16:creationId xmlns:a16="http://schemas.microsoft.com/office/drawing/2014/main" id="{7FE235BC-34C9-442F-9042-2C4F4E64AD4E}"/>
                </a:ext>
              </a:extLst>
            </p:cNvPr>
            <p:cNvSpPr/>
            <p:nvPr/>
          </p:nvSpPr>
          <p:spPr>
            <a:xfrm>
              <a:off x="3508867" y="3899498"/>
              <a:ext cx="1679877" cy="316233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00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500" b="1" dirty="0">
                  <a:solidFill>
                    <a:schemeClr val="tx2">
                      <a:lumMod val="75000"/>
                    </a:schemeClr>
                  </a:solidFill>
                </a:rPr>
                <a:t>官方说法</a:t>
              </a:r>
              <a:endParaRPr kumimoji="0" lang="en-US" altLang="zh-CN" sz="2500" b="1" i="0" strike="noStrike" kern="1200" cap="none" spc="0" normalizeH="0" baseline="0" noProof="0" dirty="0"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26" name="CustomText1">
              <a:extLst>
                <a:ext uri="{FF2B5EF4-FFF2-40B4-BE49-F238E27FC236}">
                  <a16:creationId xmlns:a16="http://schemas.microsoft.com/office/drawing/2014/main" id="{7DEC1686-9247-4DC0-9A26-BFC6913CBB78}"/>
                </a:ext>
              </a:extLst>
            </p:cNvPr>
            <p:cNvSpPr/>
            <p:nvPr/>
          </p:nvSpPr>
          <p:spPr>
            <a:xfrm>
              <a:off x="3515675" y="4329627"/>
              <a:ext cx="1679877" cy="248305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77500" lnSpcReduction="20000"/>
            </a:bodyPr>
            <a:lstStyle/>
            <a:p>
              <a:pPr lvl="0">
                <a:defRPr/>
              </a:pPr>
              <a:r>
                <a:rPr lang="zh-CN" altLang="en-US" sz="1600" dirty="0">
                  <a:solidFill>
                    <a:schemeClr val="tx2">
                      <a:lumMod val="75000"/>
                    </a:schemeClr>
                  </a:solidFill>
                </a:rPr>
                <a:t>一门赋予每个人，构建可靠且高效软件能力的语言。</a:t>
              </a:r>
            </a:p>
          </p:txBody>
        </p:sp>
        <p:sp>
          <p:nvSpPr>
            <p:cNvPr id="27" name="CustomText1">
              <a:extLst>
                <a:ext uri="{FF2B5EF4-FFF2-40B4-BE49-F238E27FC236}">
                  <a16:creationId xmlns:a16="http://schemas.microsoft.com/office/drawing/2014/main" id="{FDF3DAFF-301C-4820-A799-9E6BD9D63BEE}"/>
                </a:ext>
              </a:extLst>
            </p:cNvPr>
            <p:cNvSpPr/>
            <p:nvPr/>
          </p:nvSpPr>
          <p:spPr>
            <a:xfrm>
              <a:off x="3603361" y="4718177"/>
              <a:ext cx="2437363" cy="370391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zh-CN" altLang="en-US" sz="1000" dirty="0">
                  <a:solidFill>
                    <a:schemeClr val="tx2">
                      <a:lumMod val="75000"/>
                    </a:schemeClr>
                  </a:solidFill>
                </a:rPr>
                <a:t>出处：</a:t>
              </a:r>
              <a:r>
                <a:rPr lang="en-US" altLang="zh-CN" sz="1000" dirty="0">
                  <a:solidFill>
                    <a:schemeClr val="tx2">
                      <a:lumMod val="75000"/>
                    </a:schemeClr>
                  </a:solidFill>
                </a:rPr>
                <a:t>https://www.rust-lang.org/</a:t>
              </a:r>
            </a:p>
          </p:txBody>
        </p:sp>
      </p:grpSp>
      <p:sp>
        <p:nvSpPr>
          <p:cNvPr id="422" name="CustomText">
            <a:extLst>
              <a:ext uri="{FF2B5EF4-FFF2-40B4-BE49-F238E27FC236}">
                <a16:creationId xmlns:a16="http://schemas.microsoft.com/office/drawing/2014/main" id="{F03A0CFA-1389-40DE-9ECA-33B3F852CCBF}"/>
              </a:ext>
            </a:extLst>
          </p:cNvPr>
          <p:cNvSpPr/>
          <p:nvPr/>
        </p:nvSpPr>
        <p:spPr>
          <a:xfrm>
            <a:off x="6913495" y="1340523"/>
            <a:ext cx="2168245" cy="314198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 fontScale="70000" lnSpcReduction="20000"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500" b="1" dirty="0">
                <a:solidFill>
                  <a:schemeClr val="tx2">
                    <a:lumMod val="75000"/>
                  </a:schemeClr>
                </a:solidFill>
              </a:rPr>
              <a:t>个人见解</a:t>
            </a:r>
            <a:endParaRPr kumimoji="0" lang="en-US" altLang="zh-CN" sz="2500" b="1" i="0" strike="noStrike" kern="1200" cap="none" spc="0" normalizeH="0" baseline="0" noProof="0" dirty="0">
              <a:solidFill>
                <a:schemeClr val="tx2">
                  <a:lumMod val="75000"/>
                </a:schemeClr>
              </a:solidFill>
              <a:effectLst/>
              <a:uLnTx/>
              <a:uFillTx/>
            </a:endParaRPr>
          </a:p>
        </p:txBody>
      </p:sp>
      <p:grpSp>
        <p:nvGrpSpPr>
          <p:cNvPr id="423" name="a3afe4e5-1fad-44d1-90d3-e09f0c1143d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2A341A9-C24B-4242-A666-709A6EB06E2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7240628" y="1860794"/>
            <a:ext cx="3694185" cy="3684281"/>
            <a:chOff x="4248908" y="1586860"/>
            <a:chExt cx="3694185" cy="3684281"/>
          </a:xfrm>
        </p:grpSpPr>
        <p:sp>
          <p:nvSpPr>
            <p:cNvPr id="424" name="îṡḻîḓé">
              <a:extLst>
                <a:ext uri="{FF2B5EF4-FFF2-40B4-BE49-F238E27FC236}">
                  <a16:creationId xmlns:a16="http://schemas.microsoft.com/office/drawing/2014/main" id="{5032FA75-EEBB-46DC-BDD0-E4597471D596}"/>
                </a:ext>
              </a:extLst>
            </p:cNvPr>
            <p:cNvSpPr/>
            <p:nvPr/>
          </p:nvSpPr>
          <p:spPr bwMode="auto">
            <a:xfrm>
              <a:off x="5417577" y="2696105"/>
              <a:ext cx="683374" cy="2099642"/>
            </a:xfrm>
            <a:custGeom>
              <a:avLst/>
              <a:gdLst>
                <a:gd name="T0" fmla="*/ 0 w 66"/>
                <a:gd name="T1" fmla="*/ 102 h 203"/>
                <a:gd name="T2" fmla="*/ 66 w 66"/>
                <a:gd name="T3" fmla="*/ 203 h 203"/>
                <a:gd name="T4" fmla="*/ 66 w 66"/>
                <a:gd name="T5" fmla="*/ 0 h 203"/>
                <a:gd name="T6" fmla="*/ 0 w 66"/>
                <a:gd name="T7" fmla="*/ 10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203">
                  <a:moveTo>
                    <a:pt x="0" y="102"/>
                  </a:moveTo>
                  <a:cubicBezTo>
                    <a:pt x="0" y="158"/>
                    <a:pt x="66" y="203"/>
                    <a:pt x="66" y="203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46"/>
                    <a:pt x="0" y="102"/>
                  </a:cubicBezTo>
                  <a:close/>
                </a:path>
              </a:pathLst>
            </a:custGeom>
            <a:solidFill>
              <a:srgbClr val="00B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íşľîḍè">
              <a:extLst>
                <a:ext uri="{FF2B5EF4-FFF2-40B4-BE49-F238E27FC236}">
                  <a16:creationId xmlns:a16="http://schemas.microsoft.com/office/drawing/2014/main" id="{09286D9E-5EE7-4AC5-BABC-2D9948CFEBCA}"/>
                </a:ext>
              </a:extLst>
            </p:cNvPr>
            <p:cNvSpPr/>
            <p:nvPr/>
          </p:nvSpPr>
          <p:spPr bwMode="auto">
            <a:xfrm>
              <a:off x="6100951" y="2696105"/>
              <a:ext cx="683374" cy="2099642"/>
            </a:xfrm>
            <a:custGeom>
              <a:avLst/>
              <a:gdLst>
                <a:gd name="T0" fmla="*/ 0 w 66"/>
                <a:gd name="T1" fmla="*/ 0 h 203"/>
                <a:gd name="T2" fmla="*/ 0 w 66"/>
                <a:gd name="T3" fmla="*/ 203 h 203"/>
                <a:gd name="T4" fmla="*/ 66 w 66"/>
                <a:gd name="T5" fmla="*/ 102 h 203"/>
                <a:gd name="T6" fmla="*/ 0 w 66"/>
                <a:gd name="T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203">
                  <a:moveTo>
                    <a:pt x="0" y="0"/>
                  </a:moveTo>
                  <a:cubicBezTo>
                    <a:pt x="0" y="203"/>
                    <a:pt x="0" y="203"/>
                    <a:pt x="0" y="203"/>
                  </a:cubicBezTo>
                  <a:cubicBezTo>
                    <a:pt x="0" y="203"/>
                    <a:pt x="66" y="158"/>
                    <a:pt x="66" y="102"/>
                  </a:cubicBezTo>
                  <a:cubicBezTo>
                    <a:pt x="66" y="4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1997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ïṥļïďe">
              <a:extLst>
                <a:ext uri="{FF2B5EF4-FFF2-40B4-BE49-F238E27FC236}">
                  <a16:creationId xmlns:a16="http://schemas.microsoft.com/office/drawing/2014/main" id="{6E5DC49D-327C-425B-BC65-17F630249D74}"/>
                </a:ext>
              </a:extLst>
            </p:cNvPr>
            <p:cNvSpPr/>
            <p:nvPr/>
          </p:nvSpPr>
          <p:spPr bwMode="auto">
            <a:xfrm>
              <a:off x="5996961" y="1586860"/>
              <a:ext cx="227791" cy="846791"/>
            </a:xfrm>
            <a:custGeom>
              <a:avLst/>
              <a:gdLst>
                <a:gd name="T0" fmla="*/ 11 w 22"/>
                <a:gd name="T1" fmla="*/ 0 h 82"/>
                <a:gd name="T2" fmla="*/ 22 w 22"/>
                <a:gd name="T3" fmla="*/ 11 h 82"/>
                <a:gd name="T4" fmla="*/ 22 w 22"/>
                <a:gd name="T5" fmla="*/ 71 h 82"/>
                <a:gd name="T6" fmla="*/ 11 w 22"/>
                <a:gd name="T7" fmla="*/ 82 h 82"/>
                <a:gd name="T8" fmla="*/ 11 w 22"/>
                <a:gd name="T9" fmla="*/ 82 h 82"/>
                <a:gd name="T10" fmla="*/ 0 w 22"/>
                <a:gd name="T11" fmla="*/ 71 h 82"/>
                <a:gd name="T12" fmla="*/ 0 w 22"/>
                <a:gd name="T13" fmla="*/ 11 h 82"/>
                <a:gd name="T14" fmla="*/ 11 w 22"/>
                <a:gd name="T15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82">
                  <a:moveTo>
                    <a:pt x="11" y="0"/>
                  </a:moveTo>
                  <a:cubicBezTo>
                    <a:pt x="17" y="0"/>
                    <a:pt x="22" y="5"/>
                    <a:pt x="22" y="1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7"/>
                    <a:pt x="17" y="82"/>
                    <a:pt x="11" y="82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5" y="82"/>
                    <a:pt x="0" y="77"/>
                    <a:pt x="0" y="7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rgbClr val="8A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i$ļîďe">
              <a:extLst>
                <a:ext uri="{FF2B5EF4-FFF2-40B4-BE49-F238E27FC236}">
                  <a16:creationId xmlns:a16="http://schemas.microsoft.com/office/drawing/2014/main" id="{CF008B70-DA10-4BAF-A27D-320A68A6E357}"/>
                </a:ext>
              </a:extLst>
            </p:cNvPr>
            <p:cNvSpPr/>
            <p:nvPr/>
          </p:nvSpPr>
          <p:spPr bwMode="auto">
            <a:xfrm>
              <a:off x="6700143" y="1992923"/>
              <a:ext cx="653662" cy="732894"/>
            </a:xfrm>
            <a:custGeom>
              <a:avLst/>
              <a:gdLst>
                <a:gd name="T0" fmla="*/ 58 w 63"/>
                <a:gd name="T1" fmla="*/ 4 h 71"/>
                <a:gd name="T2" fmla="*/ 60 w 63"/>
                <a:gd name="T3" fmla="*/ 19 h 71"/>
                <a:gd name="T4" fmla="*/ 21 w 63"/>
                <a:gd name="T5" fmla="*/ 66 h 71"/>
                <a:gd name="T6" fmla="*/ 5 w 63"/>
                <a:gd name="T7" fmla="*/ 67 h 71"/>
                <a:gd name="T8" fmla="*/ 5 w 63"/>
                <a:gd name="T9" fmla="*/ 67 h 71"/>
                <a:gd name="T10" fmla="*/ 4 w 63"/>
                <a:gd name="T11" fmla="*/ 52 h 71"/>
                <a:gd name="T12" fmla="*/ 43 w 63"/>
                <a:gd name="T13" fmla="*/ 5 h 71"/>
                <a:gd name="T14" fmla="*/ 58 w 63"/>
                <a:gd name="T15" fmla="*/ 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71">
                  <a:moveTo>
                    <a:pt x="58" y="4"/>
                  </a:moveTo>
                  <a:cubicBezTo>
                    <a:pt x="63" y="8"/>
                    <a:pt x="63" y="15"/>
                    <a:pt x="60" y="19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17" y="70"/>
                    <a:pt x="10" y="71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1" y="63"/>
                    <a:pt x="0" y="56"/>
                    <a:pt x="4" y="52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7" y="1"/>
                    <a:pt x="54" y="0"/>
                    <a:pt x="58" y="4"/>
                  </a:cubicBezTo>
                  <a:close/>
                </a:path>
              </a:pathLst>
            </a:custGeom>
            <a:solidFill>
              <a:srgbClr val="8A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iṣḻíḍê">
              <a:extLst>
                <a:ext uri="{FF2B5EF4-FFF2-40B4-BE49-F238E27FC236}">
                  <a16:creationId xmlns:a16="http://schemas.microsoft.com/office/drawing/2014/main" id="{8BC745D5-1AB4-49FE-BFC1-D3B2933611C3}"/>
                </a:ext>
              </a:extLst>
            </p:cNvPr>
            <p:cNvSpPr/>
            <p:nvPr/>
          </p:nvSpPr>
          <p:spPr bwMode="auto">
            <a:xfrm>
              <a:off x="7086398" y="3037794"/>
              <a:ext cx="856695" cy="351593"/>
            </a:xfrm>
            <a:custGeom>
              <a:avLst/>
              <a:gdLst>
                <a:gd name="T0" fmla="*/ 82 w 83"/>
                <a:gd name="T1" fmla="*/ 10 h 34"/>
                <a:gd name="T2" fmla="*/ 73 w 83"/>
                <a:gd name="T3" fmla="*/ 23 h 34"/>
                <a:gd name="T4" fmla="*/ 14 w 83"/>
                <a:gd name="T5" fmla="*/ 33 h 34"/>
                <a:gd name="T6" fmla="*/ 1 w 83"/>
                <a:gd name="T7" fmla="*/ 24 h 34"/>
                <a:gd name="T8" fmla="*/ 1 w 83"/>
                <a:gd name="T9" fmla="*/ 24 h 34"/>
                <a:gd name="T10" fmla="*/ 10 w 83"/>
                <a:gd name="T11" fmla="*/ 12 h 34"/>
                <a:gd name="T12" fmla="*/ 69 w 83"/>
                <a:gd name="T13" fmla="*/ 1 h 34"/>
                <a:gd name="T14" fmla="*/ 82 w 83"/>
                <a:gd name="T15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34">
                  <a:moveTo>
                    <a:pt x="82" y="10"/>
                  </a:moveTo>
                  <a:cubicBezTo>
                    <a:pt x="83" y="16"/>
                    <a:pt x="79" y="22"/>
                    <a:pt x="73" y="2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8" y="34"/>
                    <a:pt x="2" y="30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18"/>
                    <a:pt x="4" y="13"/>
                    <a:pt x="10" y="12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75" y="0"/>
                    <a:pt x="81" y="4"/>
                    <a:pt x="82" y="10"/>
                  </a:cubicBezTo>
                  <a:close/>
                </a:path>
              </a:pathLst>
            </a:custGeom>
            <a:solidFill>
              <a:srgbClr val="8A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iŝ1ïďé">
              <a:extLst>
                <a:ext uri="{FF2B5EF4-FFF2-40B4-BE49-F238E27FC236}">
                  <a16:creationId xmlns:a16="http://schemas.microsoft.com/office/drawing/2014/main" id="{FC4A9FD1-4825-403F-ACA8-931E42D279C5}"/>
                </a:ext>
              </a:extLst>
            </p:cNvPr>
            <p:cNvSpPr/>
            <p:nvPr/>
          </p:nvSpPr>
          <p:spPr bwMode="auto">
            <a:xfrm>
              <a:off x="6937838" y="3894486"/>
              <a:ext cx="797271" cy="569480"/>
            </a:xfrm>
            <a:custGeom>
              <a:avLst/>
              <a:gdLst>
                <a:gd name="T0" fmla="*/ 74 w 77"/>
                <a:gd name="T1" fmla="*/ 48 h 55"/>
                <a:gd name="T2" fmla="*/ 59 w 77"/>
                <a:gd name="T3" fmla="*/ 52 h 55"/>
                <a:gd name="T4" fmla="*/ 7 w 77"/>
                <a:gd name="T5" fmla="*/ 22 h 55"/>
                <a:gd name="T6" fmla="*/ 3 w 77"/>
                <a:gd name="T7" fmla="*/ 7 h 55"/>
                <a:gd name="T8" fmla="*/ 3 w 77"/>
                <a:gd name="T9" fmla="*/ 7 h 55"/>
                <a:gd name="T10" fmla="*/ 18 w 77"/>
                <a:gd name="T11" fmla="*/ 3 h 55"/>
                <a:gd name="T12" fmla="*/ 70 w 77"/>
                <a:gd name="T13" fmla="*/ 33 h 55"/>
                <a:gd name="T14" fmla="*/ 74 w 77"/>
                <a:gd name="T15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55">
                  <a:moveTo>
                    <a:pt x="74" y="48"/>
                  </a:moveTo>
                  <a:cubicBezTo>
                    <a:pt x="71" y="53"/>
                    <a:pt x="64" y="55"/>
                    <a:pt x="59" y="5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2" y="19"/>
                    <a:pt x="0" y="12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6" y="2"/>
                    <a:pt x="12" y="0"/>
                    <a:pt x="18" y="3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5" y="36"/>
                    <a:pt x="77" y="43"/>
                    <a:pt x="74" y="48"/>
                  </a:cubicBezTo>
                  <a:close/>
                </a:path>
              </a:pathLst>
            </a:custGeom>
            <a:solidFill>
              <a:srgbClr val="8A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ïṧļïḑê">
              <a:extLst>
                <a:ext uri="{FF2B5EF4-FFF2-40B4-BE49-F238E27FC236}">
                  <a16:creationId xmlns:a16="http://schemas.microsoft.com/office/drawing/2014/main" id="{739D5E19-C92A-43D8-B076-78405940B737}"/>
                </a:ext>
              </a:extLst>
            </p:cNvPr>
            <p:cNvSpPr/>
            <p:nvPr/>
          </p:nvSpPr>
          <p:spPr bwMode="auto">
            <a:xfrm>
              <a:off x="4848100" y="1978068"/>
              <a:ext cx="663566" cy="727944"/>
            </a:xfrm>
            <a:custGeom>
              <a:avLst/>
              <a:gdLst>
                <a:gd name="T0" fmla="*/ 6 w 64"/>
                <a:gd name="T1" fmla="*/ 3 h 70"/>
                <a:gd name="T2" fmla="*/ 21 w 64"/>
                <a:gd name="T3" fmla="*/ 5 h 70"/>
                <a:gd name="T4" fmla="*/ 60 w 64"/>
                <a:gd name="T5" fmla="*/ 51 h 70"/>
                <a:gd name="T6" fmla="*/ 59 w 64"/>
                <a:gd name="T7" fmla="*/ 67 h 70"/>
                <a:gd name="T8" fmla="*/ 59 w 64"/>
                <a:gd name="T9" fmla="*/ 67 h 70"/>
                <a:gd name="T10" fmla="*/ 43 w 64"/>
                <a:gd name="T11" fmla="*/ 65 h 70"/>
                <a:gd name="T12" fmla="*/ 4 w 64"/>
                <a:gd name="T13" fmla="*/ 19 h 70"/>
                <a:gd name="T14" fmla="*/ 6 w 64"/>
                <a:gd name="T15" fmla="*/ 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70">
                  <a:moveTo>
                    <a:pt x="6" y="3"/>
                  </a:moveTo>
                  <a:cubicBezTo>
                    <a:pt x="10" y="0"/>
                    <a:pt x="17" y="0"/>
                    <a:pt x="21" y="5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4" y="56"/>
                    <a:pt x="63" y="63"/>
                    <a:pt x="59" y="67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4" y="70"/>
                    <a:pt x="47" y="70"/>
                    <a:pt x="43" y="65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14"/>
                    <a:pt x="1" y="7"/>
                    <a:pt x="6" y="3"/>
                  </a:cubicBezTo>
                  <a:close/>
                </a:path>
              </a:pathLst>
            </a:custGeom>
            <a:solidFill>
              <a:srgbClr val="8A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ïSļíḓè">
              <a:extLst>
                <a:ext uri="{FF2B5EF4-FFF2-40B4-BE49-F238E27FC236}">
                  <a16:creationId xmlns:a16="http://schemas.microsoft.com/office/drawing/2014/main" id="{B22848A9-B00B-444C-AAE8-6EB94C05BE7B}"/>
                </a:ext>
              </a:extLst>
            </p:cNvPr>
            <p:cNvSpPr/>
            <p:nvPr/>
          </p:nvSpPr>
          <p:spPr bwMode="auto">
            <a:xfrm>
              <a:off x="4248908" y="3013032"/>
              <a:ext cx="866599" cy="351593"/>
            </a:xfrm>
            <a:custGeom>
              <a:avLst/>
              <a:gdLst>
                <a:gd name="T0" fmla="*/ 1 w 84"/>
                <a:gd name="T1" fmla="*/ 10 h 34"/>
                <a:gd name="T2" fmla="*/ 14 w 84"/>
                <a:gd name="T3" fmla="*/ 1 h 34"/>
                <a:gd name="T4" fmla="*/ 74 w 84"/>
                <a:gd name="T5" fmla="*/ 11 h 34"/>
                <a:gd name="T6" fmla="*/ 82 w 84"/>
                <a:gd name="T7" fmla="*/ 24 h 34"/>
                <a:gd name="T8" fmla="*/ 82 w 84"/>
                <a:gd name="T9" fmla="*/ 24 h 34"/>
                <a:gd name="T10" fmla="*/ 70 w 84"/>
                <a:gd name="T11" fmla="*/ 33 h 34"/>
                <a:gd name="T12" fmla="*/ 10 w 84"/>
                <a:gd name="T13" fmla="*/ 23 h 34"/>
                <a:gd name="T14" fmla="*/ 1 w 84"/>
                <a:gd name="T15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34">
                  <a:moveTo>
                    <a:pt x="1" y="10"/>
                  </a:moveTo>
                  <a:cubicBezTo>
                    <a:pt x="2" y="4"/>
                    <a:pt x="8" y="0"/>
                    <a:pt x="14" y="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80" y="12"/>
                    <a:pt x="84" y="18"/>
                    <a:pt x="82" y="24"/>
                  </a:cubicBezTo>
                  <a:cubicBezTo>
                    <a:pt x="82" y="24"/>
                    <a:pt x="82" y="24"/>
                    <a:pt x="82" y="24"/>
                  </a:cubicBezTo>
                  <a:cubicBezTo>
                    <a:pt x="81" y="30"/>
                    <a:pt x="76" y="34"/>
                    <a:pt x="70" y="3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4" y="21"/>
                    <a:pt x="0" y="16"/>
                    <a:pt x="1" y="10"/>
                  </a:cubicBezTo>
                  <a:close/>
                </a:path>
              </a:pathLst>
            </a:custGeom>
            <a:solidFill>
              <a:srgbClr val="8A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î$ľîḓè">
              <a:extLst>
                <a:ext uri="{FF2B5EF4-FFF2-40B4-BE49-F238E27FC236}">
                  <a16:creationId xmlns:a16="http://schemas.microsoft.com/office/drawing/2014/main" id="{C5DFC868-96A0-4C5B-BD87-6E3569EEF4BC}"/>
                </a:ext>
              </a:extLst>
            </p:cNvPr>
            <p:cNvSpPr/>
            <p:nvPr/>
          </p:nvSpPr>
          <p:spPr bwMode="auto">
            <a:xfrm>
              <a:off x="4442037" y="3874678"/>
              <a:ext cx="797271" cy="569480"/>
            </a:xfrm>
            <a:custGeom>
              <a:avLst/>
              <a:gdLst>
                <a:gd name="T0" fmla="*/ 3 w 77"/>
                <a:gd name="T1" fmla="*/ 48 h 55"/>
                <a:gd name="T2" fmla="*/ 7 w 77"/>
                <a:gd name="T3" fmla="*/ 33 h 55"/>
                <a:gd name="T4" fmla="*/ 59 w 77"/>
                <a:gd name="T5" fmla="*/ 3 h 55"/>
                <a:gd name="T6" fmla="*/ 74 w 77"/>
                <a:gd name="T7" fmla="*/ 7 h 55"/>
                <a:gd name="T8" fmla="*/ 74 w 77"/>
                <a:gd name="T9" fmla="*/ 7 h 55"/>
                <a:gd name="T10" fmla="*/ 70 w 77"/>
                <a:gd name="T11" fmla="*/ 22 h 55"/>
                <a:gd name="T12" fmla="*/ 18 w 77"/>
                <a:gd name="T13" fmla="*/ 52 h 55"/>
                <a:gd name="T14" fmla="*/ 3 w 77"/>
                <a:gd name="T15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55">
                  <a:moveTo>
                    <a:pt x="3" y="48"/>
                  </a:moveTo>
                  <a:cubicBezTo>
                    <a:pt x="0" y="43"/>
                    <a:pt x="2" y="36"/>
                    <a:pt x="7" y="3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65" y="0"/>
                    <a:pt x="71" y="2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7" y="12"/>
                    <a:pt x="76" y="19"/>
                    <a:pt x="70" y="2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3" y="55"/>
                    <a:pt x="6" y="54"/>
                    <a:pt x="3" y="48"/>
                  </a:cubicBezTo>
                  <a:close/>
                </a:path>
              </a:pathLst>
            </a:custGeom>
            <a:solidFill>
              <a:srgbClr val="8A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ïşľîḓe">
              <a:extLst>
                <a:ext uri="{FF2B5EF4-FFF2-40B4-BE49-F238E27FC236}">
                  <a16:creationId xmlns:a16="http://schemas.microsoft.com/office/drawing/2014/main" id="{AA207F9F-8EF4-47EB-BA07-1569DE4E70CC}"/>
                </a:ext>
              </a:extLst>
            </p:cNvPr>
            <p:cNvSpPr/>
            <p:nvPr/>
          </p:nvSpPr>
          <p:spPr bwMode="auto">
            <a:xfrm>
              <a:off x="5996961" y="5196860"/>
              <a:ext cx="198079" cy="74281"/>
            </a:xfrm>
            <a:custGeom>
              <a:avLst/>
              <a:gdLst>
                <a:gd name="T0" fmla="*/ 19 w 19"/>
                <a:gd name="T1" fmla="*/ 3 h 7"/>
                <a:gd name="T2" fmla="*/ 16 w 19"/>
                <a:gd name="T3" fmla="*/ 7 h 7"/>
                <a:gd name="T4" fmla="*/ 4 w 19"/>
                <a:gd name="T5" fmla="*/ 7 h 7"/>
                <a:gd name="T6" fmla="*/ 0 w 19"/>
                <a:gd name="T7" fmla="*/ 3 h 7"/>
                <a:gd name="T8" fmla="*/ 0 w 19"/>
                <a:gd name="T9" fmla="*/ 3 h 7"/>
                <a:gd name="T10" fmla="*/ 4 w 19"/>
                <a:gd name="T11" fmla="*/ 0 h 7"/>
                <a:gd name="T12" fmla="*/ 16 w 19"/>
                <a:gd name="T13" fmla="*/ 0 h 7"/>
                <a:gd name="T14" fmla="*/ 19 w 19"/>
                <a:gd name="T1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7">
                  <a:moveTo>
                    <a:pt x="19" y="3"/>
                  </a:moveTo>
                  <a:cubicBezTo>
                    <a:pt x="19" y="5"/>
                    <a:pt x="18" y="7"/>
                    <a:pt x="16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9" y="2"/>
                    <a:pt x="19" y="3"/>
                  </a:cubicBezTo>
                  <a:close/>
                </a:path>
              </a:pathLst>
            </a:custGeom>
            <a:solidFill>
              <a:srgbClr val="00B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ïšļîḍé">
              <a:extLst>
                <a:ext uri="{FF2B5EF4-FFF2-40B4-BE49-F238E27FC236}">
                  <a16:creationId xmlns:a16="http://schemas.microsoft.com/office/drawing/2014/main" id="{DD2ED139-788D-4D4D-AB9F-435CF7D37EAD}"/>
                </a:ext>
              </a:extLst>
            </p:cNvPr>
            <p:cNvSpPr/>
            <p:nvPr/>
          </p:nvSpPr>
          <p:spPr bwMode="auto">
            <a:xfrm>
              <a:off x="5675080" y="3428999"/>
              <a:ext cx="178272" cy="17827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íSļïďe">
              <a:extLst>
                <a:ext uri="{FF2B5EF4-FFF2-40B4-BE49-F238E27FC236}">
                  <a16:creationId xmlns:a16="http://schemas.microsoft.com/office/drawing/2014/main" id="{E85EF2A8-F00F-4644-ABB8-9CD2D05096B0}"/>
                </a:ext>
              </a:extLst>
            </p:cNvPr>
            <p:cNvSpPr/>
            <p:nvPr/>
          </p:nvSpPr>
          <p:spPr bwMode="auto">
            <a:xfrm>
              <a:off x="5759265" y="4538244"/>
              <a:ext cx="341689" cy="173321"/>
            </a:xfrm>
            <a:custGeom>
              <a:avLst/>
              <a:gdLst>
                <a:gd name="T0" fmla="*/ 33 w 33"/>
                <a:gd name="T1" fmla="*/ 0 h 17"/>
                <a:gd name="T2" fmla="*/ 9 w 33"/>
                <a:gd name="T3" fmla="*/ 0 h 17"/>
                <a:gd name="T4" fmla="*/ 0 w 33"/>
                <a:gd name="T5" fmla="*/ 8 h 17"/>
                <a:gd name="T6" fmla="*/ 9 w 33"/>
                <a:gd name="T7" fmla="*/ 17 h 17"/>
                <a:gd name="T8" fmla="*/ 33 w 33"/>
                <a:gd name="T9" fmla="*/ 17 h 17"/>
                <a:gd name="T10" fmla="*/ 33 w 33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3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3"/>
                    <a:pt x="4" y="17"/>
                    <a:pt x="9" y="17"/>
                  </a:cubicBezTo>
                  <a:cubicBezTo>
                    <a:pt x="33" y="17"/>
                    <a:pt x="33" y="17"/>
                    <a:pt x="33" y="17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rgbClr val="2A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îṡḷîḓê">
              <a:extLst>
                <a:ext uri="{FF2B5EF4-FFF2-40B4-BE49-F238E27FC236}">
                  <a16:creationId xmlns:a16="http://schemas.microsoft.com/office/drawing/2014/main" id="{F5623F66-75DB-4261-949E-4CBEBD55E59A}"/>
                </a:ext>
              </a:extLst>
            </p:cNvPr>
            <p:cNvSpPr/>
            <p:nvPr/>
          </p:nvSpPr>
          <p:spPr bwMode="auto">
            <a:xfrm>
              <a:off x="5759265" y="4711565"/>
              <a:ext cx="341689" cy="178272"/>
            </a:xfrm>
            <a:custGeom>
              <a:avLst/>
              <a:gdLst>
                <a:gd name="T0" fmla="*/ 33 w 33"/>
                <a:gd name="T1" fmla="*/ 0 h 17"/>
                <a:gd name="T2" fmla="*/ 9 w 33"/>
                <a:gd name="T3" fmla="*/ 0 h 17"/>
                <a:gd name="T4" fmla="*/ 0 w 33"/>
                <a:gd name="T5" fmla="*/ 8 h 17"/>
                <a:gd name="T6" fmla="*/ 9 w 33"/>
                <a:gd name="T7" fmla="*/ 17 h 17"/>
                <a:gd name="T8" fmla="*/ 9 w 33"/>
                <a:gd name="T9" fmla="*/ 17 h 17"/>
                <a:gd name="T10" fmla="*/ 33 w 33"/>
                <a:gd name="T11" fmla="*/ 17 h 17"/>
                <a:gd name="T12" fmla="*/ 33 w 33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7">
                  <a:moveTo>
                    <a:pt x="3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3" y="17"/>
                    <a:pt x="33" y="17"/>
                    <a:pt x="33" y="17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rgbClr val="00B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îṥḻîďe">
              <a:extLst>
                <a:ext uri="{FF2B5EF4-FFF2-40B4-BE49-F238E27FC236}">
                  <a16:creationId xmlns:a16="http://schemas.microsoft.com/office/drawing/2014/main" id="{A6B37736-D0BA-46CC-AE5F-917ED0EF6ADA}"/>
                </a:ext>
              </a:extLst>
            </p:cNvPr>
            <p:cNvSpPr/>
            <p:nvPr/>
          </p:nvSpPr>
          <p:spPr bwMode="auto">
            <a:xfrm>
              <a:off x="5843448" y="4538244"/>
              <a:ext cx="589288" cy="658616"/>
            </a:xfrm>
            <a:custGeom>
              <a:avLst/>
              <a:gdLst>
                <a:gd name="T0" fmla="*/ 57 w 57"/>
                <a:gd name="T1" fmla="*/ 43 h 64"/>
                <a:gd name="T2" fmla="*/ 49 w 57"/>
                <a:gd name="T3" fmla="*/ 34 h 64"/>
                <a:gd name="T4" fmla="*/ 49 w 57"/>
                <a:gd name="T5" fmla="*/ 34 h 64"/>
                <a:gd name="T6" fmla="*/ 57 w 57"/>
                <a:gd name="T7" fmla="*/ 25 h 64"/>
                <a:gd name="T8" fmla="*/ 49 w 57"/>
                <a:gd name="T9" fmla="*/ 17 h 64"/>
                <a:gd name="T10" fmla="*/ 57 w 57"/>
                <a:gd name="T11" fmla="*/ 8 h 64"/>
                <a:gd name="T12" fmla="*/ 49 w 57"/>
                <a:gd name="T13" fmla="*/ 0 h 64"/>
                <a:gd name="T14" fmla="*/ 25 w 57"/>
                <a:gd name="T15" fmla="*/ 0 h 64"/>
                <a:gd name="T16" fmla="*/ 25 w 57"/>
                <a:gd name="T17" fmla="*/ 17 h 64"/>
                <a:gd name="T18" fmla="*/ 25 w 57"/>
                <a:gd name="T19" fmla="*/ 34 h 64"/>
                <a:gd name="T20" fmla="*/ 25 w 57"/>
                <a:gd name="T21" fmla="*/ 51 h 64"/>
                <a:gd name="T22" fmla="*/ 0 w 57"/>
                <a:gd name="T23" fmla="*/ 51 h 64"/>
                <a:gd name="T24" fmla="*/ 25 w 57"/>
                <a:gd name="T25" fmla="*/ 64 h 64"/>
                <a:gd name="T26" fmla="*/ 49 w 57"/>
                <a:gd name="T27" fmla="*/ 51 h 64"/>
                <a:gd name="T28" fmla="*/ 57 w 57"/>
                <a:gd name="T29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64">
                  <a:moveTo>
                    <a:pt x="57" y="43"/>
                  </a:moveTo>
                  <a:cubicBezTo>
                    <a:pt x="57" y="38"/>
                    <a:pt x="53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53" y="34"/>
                    <a:pt x="57" y="30"/>
                    <a:pt x="57" y="25"/>
                  </a:cubicBezTo>
                  <a:cubicBezTo>
                    <a:pt x="57" y="21"/>
                    <a:pt x="53" y="17"/>
                    <a:pt x="49" y="17"/>
                  </a:cubicBezTo>
                  <a:cubicBezTo>
                    <a:pt x="53" y="17"/>
                    <a:pt x="57" y="13"/>
                    <a:pt x="57" y="8"/>
                  </a:cubicBezTo>
                  <a:cubicBezTo>
                    <a:pt x="57" y="3"/>
                    <a:pt x="53" y="0"/>
                    <a:pt x="49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6" y="59"/>
                    <a:pt x="15" y="64"/>
                    <a:pt x="25" y="64"/>
                  </a:cubicBezTo>
                  <a:cubicBezTo>
                    <a:pt x="34" y="64"/>
                    <a:pt x="43" y="59"/>
                    <a:pt x="49" y="51"/>
                  </a:cubicBezTo>
                  <a:cubicBezTo>
                    <a:pt x="54" y="51"/>
                    <a:pt x="57" y="47"/>
                    <a:pt x="57" y="43"/>
                  </a:cubicBezTo>
                  <a:close/>
                </a:path>
              </a:pathLst>
            </a:custGeom>
            <a:solidFill>
              <a:srgbClr val="345A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îŝḻîdê">
              <a:extLst>
                <a:ext uri="{FF2B5EF4-FFF2-40B4-BE49-F238E27FC236}">
                  <a16:creationId xmlns:a16="http://schemas.microsoft.com/office/drawing/2014/main" id="{518768F6-908F-499D-8CF7-307139203D1E}"/>
                </a:ext>
              </a:extLst>
            </p:cNvPr>
            <p:cNvSpPr/>
            <p:nvPr/>
          </p:nvSpPr>
          <p:spPr bwMode="auto">
            <a:xfrm>
              <a:off x="5759265" y="4889836"/>
              <a:ext cx="341689" cy="173321"/>
            </a:xfrm>
            <a:custGeom>
              <a:avLst/>
              <a:gdLst>
                <a:gd name="T0" fmla="*/ 9 w 33"/>
                <a:gd name="T1" fmla="*/ 0 h 17"/>
                <a:gd name="T2" fmla="*/ 0 w 33"/>
                <a:gd name="T3" fmla="*/ 9 h 17"/>
                <a:gd name="T4" fmla="*/ 9 w 33"/>
                <a:gd name="T5" fmla="*/ 17 h 17"/>
                <a:gd name="T6" fmla="*/ 33 w 33"/>
                <a:gd name="T7" fmla="*/ 17 h 17"/>
                <a:gd name="T8" fmla="*/ 33 w 33"/>
                <a:gd name="T9" fmla="*/ 0 h 17"/>
                <a:gd name="T10" fmla="*/ 9 w 33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3"/>
                    <a:pt x="4" y="17"/>
                    <a:pt x="9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1997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i$1ídé">
              <a:extLst>
                <a:ext uri="{FF2B5EF4-FFF2-40B4-BE49-F238E27FC236}">
                  <a16:creationId xmlns:a16="http://schemas.microsoft.com/office/drawing/2014/main" id="{BE55C160-A615-4C8E-81B4-4235D913DD79}"/>
                </a:ext>
              </a:extLst>
            </p:cNvPr>
            <p:cNvSpPr/>
            <p:nvPr/>
          </p:nvSpPr>
          <p:spPr bwMode="auto">
            <a:xfrm>
              <a:off x="6016769" y="3458711"/>
              <a:ext cx="168368" cy="1079533"/>
            </a:xfrm>
            <a:custGeom>
              <a:avLst/>
              <a:gdLst>
                <a:gd name="T0" fmla="*/ 17 w 34"/>
                <a:gd name="T1" fmla="*/ 0 h 218"/>
                <a:gd name="T2" fmla="*/ 15 w 34"/>
                <a:gd name="T3" fmla="*/ 0 h 218"/>
                <a:gd name="T4" fmla="*/ 0 w 34"/>
                <a:gd name="T5" fmla="*/ 218 h 218"/>
                <a:gd name="T6" fmla="*/ 34 w 34"/>
                <a:gd name="T7" fmla="*/ 218 h 218"/>
                <a:gd name="T8" fmla="*/ 17 w 34"/>
                <a:gd name="T9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18">
                  <a:moveTo>
                    <a:pt x="17" y="0"/>
                  </a:moveTo>
                  <a:lnTo>
                    <a:pt x="15" y="0"/>
                  </a:lnTo>
                  <a:lnTo>
                    <a:pt x="0" y="218"/>
                  </a:lnTo>
                  <a:lnTo>
                    <a:pt x="34" y="218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3341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440" name="iṡľïḑè">
            <a:extLst>
              <a:ext uri="{FF2B5EF4-FFF2-40B4-BE49-F238E27FC236}">
                <a16:creationId xmlns:a16="http://schemas.microsoft.com/office/drawing/2014/main" id="{9797734C-7867-4C35-BED3-1320A1A8F30F}"/>
              </a:ext>
            </a:extLst>
          </p:cNvPr>
          <p:cNvSpPr txBox="1"/>
          <p:nvPr/>
        </p:nvSpPr>
        <p:spPr bwMode="auto">
          <a:xfrm>
            <a:off x="6990967" y="1799256"/>
            <a:ext cx="4440335" cy="400361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sym typeface="+mn-lt"/>
              </a:rPr>
              <a:t>一门对内存管理与众不同的语言</a:t>
            </a:r>
            <a:endParaRPr lang="en-US" altLang="zh-CN" b="0" dirty="0">
              <a:solidFill>
                <a:schemeClr val="bg2">
                  <a:lumMod val="10000"/>
                </a:schemeClr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sym typeface="+mn-lt"/>
              </a:rPr>
              <a:t>高度抽象化的系统级编程语言</a:t>
            </a:r>
            <a:endParaRPr lang="en-US" altLang="zh-CN" b="0" dirty="0">
              <a:solidFill>
                <a:schemeClr val="bg2">
                  <a:lumMod val="10000"/>
                </a:schemeClr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sym typeface="+mn-lt"/>
              </a:rPr>
              <a:t>内存安全</a:t>
            </a:r>
            <a:endParaRPr lang="en-US" altLang="zh-CN" b="0" dirty="0">
              <a:solidFill>
                <a:schemeClr val="bg2">
                  <a:lumMod val="10000"/>
                </a:schemeClr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sym typeface="+mn-lt"/>
              </a:rPr>
              <a:t>并发安全</a:t>
            </a:r>
            <a:endParaRPr lang="en-US" altLang="zh-CN" b="0" dirty="0">
              <a:solidFill>
                <a:schemeClr val="bg2">
                  <a:lumMod val="10000"/>
                </a:schemeClr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sym typeface="+mn-lt"/>
              </a:rPr>
              <a:t>汲取了多种编程语言的精华</a:t>
            </a:r>
            <a:endParaRPr lang="en-US" altLang="zh-CN" b="0" dirty="0">
              <a:solidFill>
                <a:schemeClr val="bg2">
                  <a:lumMod val="10000"/>
                </a:schemeClr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0" dirty="0">
              <a:latin typeface="+mn-lt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4153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A8BD59-DCC7-404B-B837-10DBFC081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安装环境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C6259E4-1B9B-4BB7-8508-5CB415974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月泉的博客  </a:t>
            </a:r>
            <a:r>
              <a:rPr lang="en-US" altLang="zh-CN" dirty="0"/>
              <a:t>www.lunaspring.com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78CE4E-CF5B-4899-8E31-6C37FAA5D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8DCDD712-3B8B-43B0-927A-84CAC4B38B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9263" y="2100650"/>
            <a:ext cx="8927810" cy="3627918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9C70BB3E-5892-488C-90E6-E086389C95E0}"/>
              </a:ext>
            </a:extLst>
          </p:cNvPr>
          <p:cNvSpPr txBox="1"/>
          <p:nvPr/>
        </p:nvSpPr>
        <p:spPr>
          <a:xfrm>
            <a:off x="1631300" y="1480008"/>
            <a:ext cx="5801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官网下载：</a:t>
            </a:r>
            <a:r>
              <a:rPr lang="en-US" altLang="zh-CN" dirty="0">
                <a:hlinkClick r:id="rId3"/>
              </a:rPr>
              <a:t>https://www.rust-lang.org/zh-CN/tools/instal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91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3" name="6b07fd30-577b-4673-b5a7-5ed295e0ed4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01AC0AC-35D1-40AF-B529-FA7FF6CB14F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44982" y="1047108"/>
            <a:ext cx="4317174" cy="2396644"/>
            <a:chOff x="3225800" y="1206500"/>
            <a:chExt cx="6042025" cy="4703763"/>
          </a:xfrm>
        </p:grpSpPr>
        <p:sp>
          <p:nvSpPr>
            <p:cNvPr id="284" name="ïšľîḋê">
              <a:extLst>
                <a:ext uri="{FF2B5EF4-FFF2-40B4-BE49-F238E27FC236}">
                  <a16:creationId xmlns:a16="http://schemas.microsoft.com/office/drawing/2014/main" id="{9EB47669-A1F1-41F1-84BC-52D28774368F}"/>
                </a:ext>
              </a:extLst>
            </p:cNvPr>
            <p:cNvSpPr/>
            <p:nvPr/>
          </p:nvSpPr>
          <p:spPr bwMode="auto">
            <a:xfrm>
              <a:off x="3632200" y="1206500"/>
              <a:ext cx="5229225" cy="3527425"/>
            </a:xfrm>
            <a:custGeom>
              <a:avLst/>
              <a:gdLst>
                <a:gd name="T0" fmla="*/ 1454 w 1505"/>
                <a:gd name="T1" fmla="*/ 0 h 1016"/>
                <a:gd name="T2" fmla="*/ 51 w 1505"/>
                <a:gd name="T3" fmla="*/ 0 h 1016"/>
                <a:gd name="T4" fmla="*/ 0 w 1505"/>
                <a:gd name="T5" fmla="*/ 51 h 1016"/>
                <a:gd name="T6" fmla="*/ 0 w 1505"/>
                <a:gd name="T7" fmla="*/ 1016 h 1016"/>
                <a:gd name="T8" fmla="*/ 1505 w 1505"/>
                <a:gd name="T9" fmla="*/ 1016 h 1016"/>
                <a:gd name="T10" fmla="*/ 1505 w 1505"/>
                <a:gd name="T11" fmla="*/ 51 h 1016"/>
                <a:gd name="T12" fmla="*/ 1454 w 1505"/>
                <a:gd name="T13" fmla="*/ 0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5" h="1016">
                  <a:moveTo>
                    <a:pt x="1454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2"/>
                    <a:pt x="0" y="51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1505" y="1016"/>
                    <a:pt x="1505" y="1016"/>
                    <a:pt x="1505" y="1016"/>
                  </a:cubicBezTo>
                  <a:cubicBezTo>
                    <a:pt x="1505" y="51"/>
                    <a:pt x="1505" y="51"/>
                    <a:pt x="1505" y="51"/>
                  </a:cubicBezTo>
                  <a:cubicBezTo>
                    <a:pt x="1505" y="22"/>
                    <a:pt x="1482" y="0"/>
                    <a:pt x="1454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iṣḻíḑê">
              <a:extLst>
                <a:ext uri="{FF2B5EF4-FFF2-40B4-BE49-F238E27FC236}">
                  <a16:creationId xmlns:a16="http://schemas.microsoft.com/office/drawing/2014/main" id="{60865CDC-675E-4E13-8BD1-3C59AE315FB2}"/>
                </a:ext>
              </a:extLst>
            </p:cNvPr>
            <p:cNvSpPr/>
            <p:nvPr/>
          </p:nvSpPr>
          <p:spPr bwMode="auto">
            <a:xfrm>
              <a:off x="3225800" y="4675188"/>
              <a:ext cx="6042025" cy="204788"/>
            </a:xfrm>
            <a:custGeom>
              <a:avLst/>
              <a:gdLst>
                <a:gd name="T0" fmla="*/ 1722 w 1739"/>
                <a:gd name="T1" fmla="*/ 0 h 59"/>
                <a:gd name="T2" fmla="*/ 17 w 1739"/>
                <a:gd name="T3" fmla="*/ 0 h 59"/>
                <a:gd name="T4" fmla="*/ 0 w 1739"/>
                <a:gd name="T5" fmla="*/ 18 h 59"/>
                <a:gd name="T6" fmla="*/ 0 w 1739"/>
                <a:gd name="T7" fmla="*/ 41 h 59"/>
                <a:gd name="T8" fmla="*/ 17 w 1739"/>
                <a:gd name="T9" fmla="*/ 59 h 59"/>
                <a:gd name="T10" fmla="*/ 1722 w 1739"/>
                <a:gd name="T11" fmla="*/ 59 h 59"/>
                <a:gd name="T12" fmla="*/ 1739 w 1739"/>
                <a:gd name="T13" fmla="*/ 41 h 59"/>
                <a:gd name="T14" fmla="*/ 1739 w 1739"/>
                <a:gd name="T15" fmla="*/ 18 h 59"/>
                <a:gd name="T16" fmla="*/ 1722 w 1739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9" h="59">
                  <a:moveTo>
                    <a:pt x="1722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1"/>
                    <a:pt x="8" y="59"/>
                    <a:pt x="17" y="59"/>
                  </a:cubicBezTo>
                  <a:cubicBezTo>
                    <a:pt x="1722" y="59"/>
                    <a:pt x="1722" y="59"/>
                    <a:pt x="1722" y="59"/>
                  </a:cubicBezTo>
                  <a:cubicBezTo>
                    <a:pt x="1731" y="59"/>
                    <a:pt x="1739" y="51"/>
                    <a:pt x="1739" y="41"/>
                  </a:cubicBezTo>
                  <a:cubicBezTo>
                    <a:pt x="1739" y="18"/>
                    <a:pt x="1739" y="18"/>
                    <a:pt x="1739" y="18"/>
                  </a:cubicBezTo>
                  <a:cubicBezTo>
                    <a:pt x="1739" y="8"/>
                    <a:pt x="1731" y="0"/>
                    <a:pt x="1722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iSḷïdé">
              <a:extLst>
                <a:ext uri="{FF2B5EF4-FFF2-40B4-BE49-F238E27FC236}">
                  <a16:creationId xmlns:a16="http://schemas.microsoft.com/office/drawing/2014/main" id="{A46FB1BB-8F95-4B44-8F51-99B447CB51D6}"/>
                </a:ext>
              </a:extLst>
            </p:cNvPr>
            <p:cNvSpPr/>
            <p:nvPr/>
          </p:nvSpPr>
          <p:spPr bwMode="auto">
            <a:xfrm>
              <a:off x="3708400" y="1279525"/>
              <a:ext cx="5076825" cy="3405188"/>
            </a:xfrm>
            <a:custGeom>
              <a:avLst/>
              <a:gdLst>
                <a:gd name="T0" fmla="*/ 1430 w 1461"/>
                <a:gd name="T1" fmla="*/ 0 h 981"/>
                <a:gd name="T2" fmla="*/ 31 w 1461"/>
                <a:gd name="T3" fmla="*/ 0 h 981"/>
                <a:gd name="T4" fmla="*/ 0 w 1461"/>
                <a:gd name="T5" fmla="*/ 31 h 981"/>
                <a:gd name="T6" fmla="*/ 0 w 1461"/>
                <a:gd name="T7" fmla="*/ 981 h 981"/>
                <a:gd name="T8" fmla="*/ 1461 w 1461"/>
                <a:gd name="T9" fmla="*/ 981 h 981"/>
                <a:gd name="T10" fmla="*/ 1461 w 1461"/>
                <a:gd name="T11" fmla="*/ 31 h 981"/>
                <a:gd name="T12" fmla="*/ 1430 w 1461"/>
                <a:gd name="T13" fmla="*/ 0 h 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1" h="981">
                  <a:moveTo>
                    <a:pt x="1430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14" y="0"/>
                    <a:pt x="0" y="14"/>
                    <a:pt x="0" y="31"/>
                  </a:cubicBezTo>
                  <a:cubicBezTo>
                    <a:pt x="0" y="981"/>
                    <a:pt x="0" y="981"/>
                    <a:pt x="0" y="981"/>
                  </a:cubicBezTo>
                  <a:cubicBezTo>
                    <a:pt x="1461" y="981"/>
                    <a:pt x="1461" y="981"/>
                    <a:pt x="1461" y="981"/>
                  </a:cubicBezTo>
                  <a:cubicBezTo>
                    <a:pt x="1461" y="31"/>
                    <a:pt x="1461" y="31"/>
                    <a:pt x="1461" y="31"/>
                  </a:cubicBezTo>
                  <a:cubicBezTo>
                    <a:pt x="1461" y="14"/>
                    <a:pt x="1447" y="0"/>
                    <a:pt x="1430" y="0"/>
                  </a:cubicBezTo>
                </a:path>
              </a:pathLst>
            </a:custGeom>
            <a:solidFill>
              <a:srgbClr val="5F6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îşlïdê">
              <a:extLst>
                <a:ext uri="{FF2B5EF4-FFF2-40B4-BE49-F238E27FC236}">
                  <a16:creationId xmlns:a16="http://schemas.microsoft.com/office/drawing/2014/main" id="{3857F858-F290-4561-B399-33F594A0B05D}"/>
                </a:ext>
              </a:extLst>
            </p:cNvPr>
            <p:cNvSpPr/>
            <p:nvPr/>
          </p:nvSpPr>
          <p:spPr bwMode="auto">
            <a:xfrm>
              <a:off x="3889375" y="1522413"/>
              <a:ext cx="4714875" cy="3044825"/>
            </a:xfrm>
            <a:prstGeom prst="rect">
              <a:avLst/>
            </a:pr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ïŝlíḍé">
              <a:extLst>
                <a:ext uri="{FF2B5EF4-FFF2-40B4-BE49-F238E27FC236}">
                  <a16:creationId xmlns:a16="http://schemas.microsoft.com/office/drawing/2014/main" id="{4B53ACB9-F396-47CD-B51A-4FC520365B5A}"/>
                </a:ext>
              </a:extLst>
            </p:cNvPr>
            <p:cNvSpPr/>
            <p:nvPr/>
          </p:nvSpPr>
          <p:spPr bwMode="auto">
            <a:xfrm>
              <a:off x="3889375" y="1522413"/>
              <a:ext cx="4714875" cy="304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ŝ1iḋe">
              <a:extLst>
                <a:ext uri="{FF2B5EF4-FFF2-40B4-BE49-F238E27FC236}">
                  <a16:creationId xmlns:a16="http://schemas.microsoft.com/office/drawing/2014/main" id="{2BB2FC82-BAC2-4BAF-A8AA-D3C79590E4B0}"/>
                </a:ext>
              </a:extLst>
            </p:cNvPr>
            <p:cNvSpPr/>
            <p:nvPr/>
          </p:nvSpPr>
          <p:spPr bwMode="auto">
            <a:xfrm>
              <a:off x="6219825" y="1390650"/>
              <a:ext cx="52388" cy="52388"/>
            </a:xfrm>
            <a:prstGeom prst="ellipse">
              <a:avLst/>
            </a:pr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íšľiḋe">
              <a:extLst>
                <a:ext uri="{FF2B5EF4-FFF2-40B4-BE49-F238E27FC236}">
                  <a16:creationId xmlns:a16="http://schemas.microsoft.com/office/drawing/2014/main" id="{F78243D9-F90E-4390-91AB-A61A5F5B4506}"/>
                </a:ext>
              </a:extLst>
            </p:cNvPr>
            <p:cNvSpPr/>
            <p:nvPr/>
          </p:nvSpPr>
          <p:spPr bwMode="auto">
            <a:xfrm>
              <a:off x="5713413" y="4765675"/>
              <a:ext cx="1066800" cy="47625"/>
            </a:xfrm>
            <a:custGeom>
              <a:avLst/>
              <a:gdLst>
                <a:gd name="T0" fmla="*/ 300 w 307"/>
                <a:gd name="T1" fmla="*/ 0 h 14"/>
                <a:gd name="T2" fmla="*/ 7 w 307"/>
                <a:gd name="T3" fmla="*/ 0 h 14"/>
                <a:gd name="T4" fmla="*/ 0 w 307"/>
                <a:gd name="T5" fmla="*/ 7 h 14"/>
                <a:gd name="T6" fmla="*/ 7 w 307"/>
                <a:gd name="T7" fmla="*/ 14 h 14"/>
                <a:gd name="T8" fmla="*/ 300 w 307"/>
                <a:gd name="T9" fmla="*/ 14 h 14"/>
                <a:gd name="T10" fmla="*/ 307 w 307"/>
                <a:gd name="T11" fmla="*/ 7 h 14"/>
                <a:gd name="T12" fmla="*/ 300 w 307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14">
                  <a:moveTo>
                    <a:pt x="30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4"/>
                    <a:pt x="7" y="14"/>
                  </a:cubicBezTo>
                  <a:cubicBezTo>
                    <a:pt x="300" y="14"/>
                    <a:pt x="300" y="14"/>
                    <a:pt x="300" y="14"/>
                  </a:cubicBezTo>
                  <a:cubicBezTo>
                    <a:pt x="304" y="14"/>
                    <a:pt x="307" y="10"/>
                    <a:pt x="307" y="7"/>
                  </a:cubicBezTo>
                  <a:cubicBezTo>
                    <a:pt x="307" y="3"/>
                    <a:pt x="304" y="0"/>
                    <a:pt x="300" y="0"/>
                  </a:cubicBezTo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ï$ḻiḑé">
              <a:extLst>
                <a:ext uri="{FF2B5EF4-FFF2-40B4-BE49-F238E27FC236}">
                  <a16:creationId xmlns:a16="http://schemas.microsoft.com/office/drawing/2014/main" id="{390AE02C-9971-4401-980B-8D7CD25E32BA}"/>
                </a:ext>
              </a:extLst>
            </p:cNvPr>
            <p:cNvSpPr/>
            <p:nvPr/>
          </p:nvSpPr>
          <p:spPr bwMode="auto">
            <a:xfrm>
              <a:off x="4483100" y="1692275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í$lîḍé">
              <a:extLst>
                <a:ext uri="{FF2B5EF4-FFF2-40B4-BE49-F238E27FC236}">
                  <a16:creationId xmlns:a16="http://schemas.microsoft.com/office/drawing/2014/main" id="{35A02B85-A3A7-4884-856F-D6FFE64D63BD}"/>
                </a:ext>
              </a:extLst>
            </p:cNvPr>
            <p:cNvSpPr/>
            <p:nvPr/>
          </p:nvSpPr>
          <p:spPr bwMode="auto">
            <a:xfrm>
              <a:off x="4483100" y="1692275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î$ḷîḓé">
              <a:extLst>
                <a:ext uri="{FF2B5EF4-FFF2-40B4-BE49-F238E27FC236}">
                  <a16:creationId xmlns:a16="http://schemas.microsoft.com/office/drawing/2014/main" id="{33843241-A0A5-4CC6-AF1B-F2D7A2CAB2EA}"/>
                </a:ext>
              </a:extLst>
            </p:cNvPr>
            <p:cNvSpPr/>
            <p:nvPr/>
          </p:nvSpPr>
          <p:spPr bwMode="auto">
            <a:xfrm>
              <a:off x="4056063" y="1692275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îṣlídê">
              <a:extLst>
                <a:ext uri="{FF2B5EF4-FFF2-40B4-BE49-F238E27FC236}">
                  <a16:creationId xmlns:a16="http://schemas.microsoft.com/office/drawing/2014/main" id="{A61EDBDE-A11D-409E-9F3F-76AFB711D164}"/>
                </a:ext>
              </a:extLst>
            </p:cNvPr>
            <p:cNvSpPr/>
            <p:nvPr/>
          </p:nvSpPr>
          <p:spPr bwMode="auto">
            <a:xfrm>
              <a:off x="4056063" y="1692275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îşḷîḍe">
              <a:extLst>
                <a:ext uri="{FF2B5EF4-FFF2-40B4-BE49-F238E27FC236}">
                  <a16:creationId xmlns:a16="http://schemas.microsoft.com/office/drawing/2014/main" id="{A220A7EE-0B40-40FE-B45E-0D4B5DF125BF}"/>
                </a:ext>
              </a:extLst>
            </p:cNvPr>
            <p:cNvSpPr/>
            <p:nvPr/>
          </p:nvSpPr>
          <p:spPr bwMode="auto">
            <a:xfrm>
              <a:off x="4056063" y="1846263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iṡḷiďê">
              <a:extLst>
                <a:ext uri="{FF2B5EF4-FFF2-40B4-BE49-F238E27FC236}">
                  <a16:creationId xmlns:a16="http://schemas.microsoft.com/office/drawing/2014/main" id="{B4AC9DA6-DA4B-4BC5-91AB-62D33F8EB379}"/>
                </a:ext>
              </a:extLst>
            </p:cNvPr>
            <p:cNvSpPr/>
            <p:nvPr/>
          </p:nvSpPr>
          <p:spPr bwMode="auto">
            <a:xfrm>
              <a:off x="4056063" y="1846263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ïṧ1îdè">
              <a:extLst>
                <a:ext uri="{FF2B5EF4-FFF2-40B4-BE49-F238E27FC236}">
                  <a16:creationId xmlns:a16="http://schemas.microsoft.com/office/drawing/2014/main" id="{31D0911C-A540-4264-88CD-BA3D8A6B8DBD}"/>
                </a:ext>
              </a:extLst>
            </p:cNvPr>
            <p:cNvSpPr/>
            <p:nvPr/>
          </p:nvSpPr>
          <p:spPr bwMode="auto">
            <a:xfrm>
              <a:off x="4056063" y="2025650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íŝlíḑe">
              <a:extLst>
                <a:ext uri="{FF2B5EF4-FFF2-40B4-BE49-F238E27FC236}">
                  <a16:creationId xmlns:a16="http://schemas.microsoft.com/office/drawing/2014/main" id="{96AD0E5A-1C88-4FE1-85CB-E46CF30CD64F}"/>
                </a:ext>
              </a:extLst>
            </p:cNvPr>
            <p:cNvSpPr/>
            <p:nvPr/>
          </p:nvSpPr>
          <p:spPr bwMode="auto">
            <a:xfrm>
              <a:off x="4056063" y="2025650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íšlïḑé">
              <a:extLst>
                <a:ext uri="{FF2B5EF4-FFF2-40B4-BE49-F238E27FC236}">
                  <a16:creationId xmlns:a16="http://schemas.microsoft.com/office/drawing/2014/main" id="{9C11CCB2-3261-41C9-8BFE-1C875933D8C5}"/>
                </a:ext>
              </a:extLst>
            </p:cNvPr>
            <p:cNvSpPr/>
            <p:nvPr/>
          </p:nvSpPr>
          <p:spPr bwMode="auto">
            <a:xfrm>
              <a:off x="4056063" y="2206625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iṩ1iḍé">
              <a:extLst>
                <a:ext uri="{FF2B5EF4-FFF2-40B4-BE49-F238E27FC236}">
                  <a16:creationId xmlns:a16="http://schemas.microsoft.com/office/drawing/2014/main" id="{48E926CB-BEB3-45EE-8359-727B4B4950F6}"/>
                </a:ext>
              </a:extLst>
            </p:cNvPr>
            <p:cNvSpPr/>
            <p:nvPr/>
          </p:nvSpPr>
          <p:spPr bwMode="auto">
            <a:xfrm>
              <a:off x="4056063" y="2206625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ïṧḷiḍe">
              <a:extLst>
                <a:ext uri="{FF2B5EF4-FFF2-40B4-BE49-F238E27FC236}">
                  <a16:creationId xmlns:a16="http://schemas.microsoft.com/office/drawing/2014/main" id="{D3A119FD-BA01-4809-9CFA-BE8D335E8079}"/>
                </a:ext>
              </a:extLst>
            </p:cNvPr>
            <p:cNvSpPr/>
            <p:nvPr/>
          </p:nvSpPr>
          <p:spPr bwMode="auto">
            <a:xfrm>
              <a:off x="4056063" y="2387600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iṥlïḓê">
              <a:extLst>
                <a:ext uri="{FF2B5EF4-FFF2-40B4-BE49-F238E27FC236}">
                  <a16:creationId xmlns:a16="http://schemas.microsoft.com/office/drawing/2014/main" id="{A13557A1-9C72-4E7C-B581-3BDB58C70736}"/>
                </a:ext>
              </a:extLst>
            </p:cNvPr>
            <p:cNvSpPr/>
            <p:nvPr/>
          </p:nvSpPr>
          <p:spPr bwMode="auto">
            <a:xfrm>
              <a:off x="4056063" y="2387600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îšļïdè">
              <a:extLst>
                <a:ext uri="{FF2B5EF4-FFF2-40B4-BE49-F238E27FC236}">
                  <a16:creationId xmlns:a16="http://schemas.microsoft.com/office/drawing/2014/main" id="{15EB659A-20F9-4B1B-8731-6D0F832683D7}"/>
                </a:ext>
              </a:extLst>
            </p:cNvPr>
            <p:cNvSpPr/>
            <p:nvPr/>
          </p:nvSpPr>
          <p:spPr bwMode="auto">
            <a:xfrm>
              <a:off x="4056063" y="2566988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îśľîdé">
              <a:extLst>
                <a:ext uri="{FF2B5EF4-FFF2-40B4-BE49-F238E27FC236}">
                  <a16:creationId xmlns:a16="http://schemas.microsoft.com/office/drawing/2014/main" id="{A191DCDE-5B23-44C9-A647-6058F5F40CD7}"/>
                </a:ext>
              </a:extLst>
            </p:cNvPr>
            <p:cNvSpPr/>
            <p:nvPr/>
          </p:nvSpPr>
          <p:spPr bwMode="auto">
            <a:xfrm>
              <a:off x="4056063" y="2566988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iṡḷiďè">
              <a:extLst>
                <a:ext uri="{FF2B5EF4-FFF2-40B4-BE49-F238E27FC236}">
                  <a16:creationId xmlns:a16="http://schemas.microsoft.com/office/drawing/2014/main" id="{F2F88F2E-3A48-4449-BE44-017A6B877409}"/>
                </a:ext>
              </a:extLst>
            </p:cNvPr>
            <p:cNvSpPr/>
            <p:nvPr/>
          </p:nvSpPr>
          <p:spPr bwMode="auto">
            <a:xfrm>
              <a:off x="5053013" y="1692275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ïšlíďè">
              <a:extLst>
                <a:ext uri="{FF2B5EF4-FFF2-40B4-BE49-F238E27FC236}">
                  <a16:creationId xmlns:a16="http://schemas.microsoft.com/office/drawing/2014/main" id="{B456704A-CB28-4E8E-934A-6632794A8D9C}"/>
                </a:ext>
              </a:extLst>
            </p:cNvPr>
            <p:cNvSpPr/>
            <p:nvPr/>
          </p:nvSpPr>
          <p:spPr bwMode="auto">
            <a:xfrm>
              <a:off x="5053013" y="1692275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î$ľiḍê">
              <a:extLst>
                <a:ext uri="{FF2B5EF4-FFF2-40B4-BE49-F238E27FC236}">
                  <a16:creationId xmlns:a16="http://schemas.microsoft.com/office/drawing/2014/main" id="{4D5AD88B-32B8-49B9-B009-0103E96F8AF1}"/>
                </a:ext>
              </a:extLst>
            </p:cNvPr>
            <p:cNvSpPr/>
            <p:nvPr/>
          </p:nvSpPr>
          <p:spPr bwMode="auto">
            <a:xfrm>
              <a:off x="4649788" y="1846263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ïṣ1íḋê">
              <a:extLst>
                <a:ext uri="{FF2B5EF4-FFF2-40B4-BE49-F238E27FC236}">
                  <a16:creationId xmlns:a16="http://schemas.microsoft.com/office/drawing/2014/main" id="{E386364B-83F0-4FAF-A6A1-03F8F53DA5F6}"/>
                </a:ext>
              </a:extLst>
            </p:cNvPr>
            <p:cNvSpPr/>
            <p:nvPr/>
          </p:nvSpPr>
          <p:spPr bwMode="auto">
            <a:xfrm>
              <a:off x="4649788" y="1846263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isľïḑe">
              <a:extLst>
                <a:ext uri="{FF2B5EF4-FFF2-40B4-BE49-F238E27FC236}">
                  <a16:creationId xmlns:a16="http://schemas.microsoft.com/office/drawing/2014/main" id="{4CCF97C4-E659-4A1E-9C04-97C31386270F}"/>
                </a:ext>
              </a:extLst>
            </p:cNvPr>
            <p:cNvSpPr/>
            <p:nvPr/>
          </p:nvSpPr>
          <p:spPr bwMode="auto">
            <a:xfrm>
              <a:off x="5219700" y="1846263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ísḷidê">
              <a:extLst>
                <a:ext uri="{FF2B5EF4-FFF2-40B4-BE49-F238E27FC236}">
                  <a16:creationId xmlns:a16="http://schemas.microsoft.com/office/drawing/2014/main" id="{6F950997-6434-4182-9D47-8DB73F33928E}"/>
                </a:ext>
              </a:extLst>
            </p:cNvPr>
            <p:cNvSpPr/>
            <p:nvPr/>
          </p:nvSpPr>
          <p:spPr bwMode="auto">
            <a:xfrm>
              <a:off x="5219700" y="1846263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íşļïdê">
              <a:extLst>
                <a:ext uri="{FF2B5EF4-FFF2-40B4-BE49-F238E27FC236}">
                  <a16:creationId xmlns:a16="http://schemas.microsoft.com/office/drawing/2014/main" id="{07872928-8FBF-441F-92C1-FD902A4B304A}"/>
                </a:ext>
              </a:extLst>
            </p:cNvPr>
            <p:cNvSpPr/>
            <p:nvPr/>
          </p:nvSpPr>
          <p:spPr bwMode="auto">
            <a:xfrm>
              <a:off x="4927600" y="2025650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îśḻíḍê">
              <a:extLst>
                <a:ext uri="{FF2B5EF4-FFF2-40B4-BE49-F238E27FC236}">
                  <a16:creationId xmlns:a16="http://schemas.microsoft.com/office/drawing/2014/main" id="{8197BBE5-B9AC-4B64-92C3-469AE8D3D35E}"/>
                </a:ext>
              </a:extLst>
            </p:cNvPr>
            <p:cNvSpPr/>
            <p:nvPr/>
          </p:nvSpPr>
          <p:spPr bwMode="auto">
            <a:xfrm>
              <a:off x="4927600" y="2025650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ïśḻíďè">
              <a:extLst>
                <a:ext uri="{FF2B5EF4-FFF2-40B4-BE49-F238E27FC236}">
                  <a16:creationId xmlns:a16="http://schemas.microsoft.com/office/drawing/2014/main" id="{9FAF9918-38EB-43C1-817A-52F60877C19C}"/>
                </a:ext>
              </a:extLst>
            </p:cNvPr>
            <p:cNvSpPr/>
            <p:nvPr/>
          </p:nvSpPr>
          <p:spPr bwMode="auto">
            <a:xfrm>
              <a:off x="5497513" y="2025650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îṧ1ïdê">
              <a:extLst>
                <a:ext uri="{FF2B5EF4-FFF2-40B4-BE49-F238E27FC236}">
                  <a16:creationId xmlns:a16="http://schemas.microsoft.com/office/drawing/2014/main" id="{1A7B2B5C-5DD0-4127-8866-65DA451937FA}"/>
                </a:ext>
              </a:extLst>
            </p:cNvPr>
            <p:cNvSpPr/>
            <p:nvPr/>
          </p:nvSpPr>
          <p:spPr bwMode="auto">
            <a:xfrm>
              <a:off x="5497513" y="2025650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işliďê">
              <a:extLst>
                <a:ext uri="{FF2B5EF4-FFF2-40B4-BE49-F238E27FC236}">
                  <a16:creationId xmlns:a16="http://schemas.microsoft.com/office/drawing/2014/main" id="{EE492E59-2A5B-44B4-BFBD-D59970C569AB}"/>
                </a:ext>
              </a:extLst>
            </p:cNvPr>
            <p:cNvSpPr/>
            <p:nvPr/>
          </p:nvSpPr>
          <p:spPr bwMode="auto">
            <a:xfrm>
              <a:off x="5205413" y="2206625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îṩlíďè">
              <a:extLst>
                <a:ext uri="{FF2B5EF4-FFF2-40B4-BE49-F238E27FC236}">
                  <a16:creationId xmlns:a16="http://schemas.microsoft.com/office/drawing/2014/main" id="{AEB78AEE-411A-4EAA-B35A-9809271A291B}"/>
                </a:ext>
              </a:extLst>
            </p:cNvPr>
            <p:cNvSpPr/>
            <p:nvPr/>
          </p:nvSpPr>
          <p:spPr bwMode="auto">
            <a:xfrm>
              <a:off x="5205413" y="2206625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íşļíḑê">
              <a:extLst>
                <a:ext uri="{FF2B5EF4-FFF2-40B4-BE49-F238E27FC236}">
                  <a16:creationId xmlns:a16="http://schemas.microsoft.com/office/drawing/2014/main" id="{D53DC61F-31C6-418B-A5C1-3F4388D7E7A7}"/>
                </a:ext>
              </a:extLst>
            </p:cNvPr>
            <p:cNvSpPr/>
            <p:nvPr/>
          </p:nvSpPr>
          <p:spPr bwMode="auto">
            <a:xfrm>
              <a:off x="5775325" y="2206625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ïṧḷíďe">
              <a:extLst>
                <a:ext uri="{FF2B5EF4-FFF2-40B4-BE49-F238E27FC236}">
                  <a16:creationId xmlns:a16="http://schemas.microsoft.com/office/drawing/2014/main" id="{87EC3F90-6775-41CE-8400-14502F6977DB}"/>
                </a:ext>
              </a:extLst>
            </p:cNvPr>
            <p:cNvSpPr/>
            <p:nvPr/>
          </p:nvSpPr>
          <p:spPr bwMode="auto">
            <a:xfrm>
              <a:off x="5775325" y="2206625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išliḑè">
              <a:extLst>
                <a:ext uri="{FF2B5EF4-FFF2-40B4-BE49-F238E27FC236}">
                  <a16:creationId xmlns:a16="http://schemas.microsoft.com/office/drawing/2014/main" id="{CB527557-3C12-4A63-B594-284093DE9C9B}"/>
                </a:ext>
              </a:extLst>
            </p:cNvPr>
            <p:cNvSpPr/>
            <p:nvPr/>
          </p:nvSpPr>
          <p:spPr bwMode="auto">
            <a:xfrm>
              <a:off x="4927600" y="2387600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ïṡḻîḓe">
              <a:extLst>
                <a:ext uri="{FF2B5EF4-FFF2-40B4-BE49-F238E27FC236}">
                  <a16:creationId xmlns:a16="http://schemas.microsoft.com/office/drawing/2014/main" id="{1B178EBE-C0CE-4A7D-B84F-79674D3B19BD}"/>
                </a:ext>
              </a:extLst>
            </p:cNvPr>
            <p:cNvSpPr/>
            <p:nvPr/>
          </p:nvSpPr>
          <p:spPr bwMode="auto">
            <a:xfrm>
              <a:off x="4927600" y="2387600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îṩliḓê">
              <a:extLst>
                <a:ext uri="{FF2B5EF4-FFF2-40B4-BE49-F238E27FC236}">
                  <a16:creationId xmlns:a16="http://schemas.microsoft.com/office/drawing/2014/main" id="{C1D54805-1A88-4C34-9C65-6942B40A6878}"/>
                </a:ext>
              </a:extLst>
            </p:cNvPr>
            <p:cNvSpPr/>
            <p:nvPr/>
          </p:nvSpPr>
          <p:spPr bwMode="auto">
            <a:xfrm>
              <a:off x="5497513" y="2387600"/>
              <a:ext cx="2417763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îṥľîďê">
              <a:extLst>
                <a:ext uri="{FF2B5EF4-FFF2-40B4-BE49-F238E27FC236}">
                  <a16:creationId xmlns:a16="http://schemas.microsoft.com/office/drawing/2014/main" id="{0D90A1CF-05E3-42FF-9ED5-7CFC591B3D1C}"/>
                </a:ext>
              </a:extLst>
            </p:cNvPr>
            <p:cNvSpPr/>
            <p:nvPr/>
          </p:nvSpPr>
          <p:spPr bwMode="auto">
            <a:xfrm>
              <a:off x="5497513" y="2387600"/>
              <a:ext cx="24177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ï$1idè">
              <a:extLst>
                <a:ext uri="{FF2B5EF4-FFF2-40B4-BE49-F238E27FC236}">
                  <a16:creationId xmlns:a16="http://schemas.microsoft.com/office/drawing/2014/main" id="{C77CE53A-589C-48BD-BAF7-32E171651EC5}"/>
                </a:ext>
              </a:extLst>
            </p:cNvPr>
            <p:cNvSpPr/>
            <p:nvPr/>
          </p:nvSpPr>
          <p:spPr bwMode="auto">
            <a:xfrm>
              <a:off x="4649788" y="2566988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iṣ1iďe">
              <a:extLst>
                <a:ext uri="{FF2B5EF4-FFF2-40B4-BE49-F238E27FC236}">
                  <a16:creationId xmlns:a16="http://schemas.microsoft.com/office/drawing/2014/main" id="{7ADC383C-6496-40DB-BABC-E7C70D56BD08}"/>
                </a:ext>
              </a:extLst>
            </p:cNvPr>
            <p:cNvSpPr/>
            <p:nvPr/>
          </p:nvSpPr>
          <p:spPr bwMode="auto">
            <a:xfrm>
              <a:off x="4649788" y="2566988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îṩḻïḑé">
              <a:extLst>
                <a:ext uri="{FF2B5EF4-FFF2-40B4-BE49-F238E27FC236}">
                  <a16:creationId xmlns:a16="http://schemas.microsoft.com/office/drawing/2014/main" id="{EB7221A9-8327-4C82-B3D7-E909F47E646B}"/>
                </a:ext>
              </a:extLst>
            </p:cNvPr>
            <p:cNvSpPr/>
            <p:nvPr/>
          </p:nvSpPr>
          <p:spPr bwMode="auto">
            <a:xfrm>
              <a:off x="5219700" y="2566988"/>
              <a:ext cx="1028700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íŝlîḓe">
              <a:extLst>
                <a:ext uri="{FF2B5EF4-FFF2-40B4-BE49-F238E27FC236}">
                  <a16:creationId xmlns:a16="http://schemas.microsoft.com/office/drawing/2014/main" id="{0D58CC6F-9848-4B2B-9B6C-65D58A99D553}"/>
                </a:ext>
              </a:extLst>
            </p:cNvPr>
            <p:cNvSpPr/>
            <p:nvPr/>
          </p:nvSpPr>
          <p:spPr bwMode="auto">
            <a:xfrm>
              <a:off x="5219700" y="2566988"/>
              <a:ext cx="1028700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ŝ1ïḓè">
              <a:extLst>
                <a:ext uri="{FF2B5EF4-FFF2-40B4-BE49-F238E27FC236}">
                  <a16:creationId xmlns:a16="http://schemas.microsoft.com/office/drawing/2014/main" id="{4053CA30-4AAC-4DEA-A379-3A57907B4800}"/>
                </a:ext>
              </a:extLst>
            </p:cNvPr>
            <p:cNvSpPr/>
            <p:nvPr/>
          </p:nvSpPr>
          <p:spPr bwMode="auto">
            <a:xfrm>
              <a:off x="4483100" y="2803525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ïṣḻiḋè">
              <a:extLst>
                <a:ext uri="{FF2B5EF4-FFF2-40B4-BE49-F238E27FC236}">
                  <a16:creationId xmlns:a16="http://schemas.microsoft.com/office/drawing/2014/main" id="{66BC650F-21A2-4772-A36F-45916A53C8F0}"/>
                </a:ext>
              </a:extLst>
            </p:cNvPr>
            <p:cNvSpPr/>
            <p:nvPr/>
          </p:nvSpPr>
          <p:spPr bwMode="auto">
            <a:xfrm>
              <a:off x="4483100" y="2803525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iŝlîḑe">
              <a:extLst>
                <a:ext uri="{FF2B5EF4-FFF2-40B4-BE49-F238E27FC236}">
                  <a16:creationId xmlns:a16="http://schemas.microsoft.com/office/drawing/2014/main" id="{6B3722FE-503D-442B-8619-10A67595D291}"/>
                </a:ext>
              </a:extLst>
            </p:cNvPr>
            <p:cNvSpPr/>
            <p:nvPr/>
          </p:nvSpPr>
          <p:spPr bwMode="auto">
            <a:xfrm>
              <a:off x="4056063" y="2803525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ïṩļiḍè">
              <a:extLst>
                <a:ext uri="{FF2B5EF4-FFF2-40B4-BE49-F238E27FC236}">
                  <a16:creationId xmlns:a16="http://schemas.microsoft.com/office/drawing/2014/main" id="{920D8F65-A943-4114-8E62-AAAF6FABA25E}"/>
                </a:ext>
              </a:extLst>
            </p:cNvPr>
            <p:cNvSpPr/>
            <p:nvPr/>
          </p:nvSpPr>
          <p:spPr bwMode="auto">
            <a:xfrm>
              <a:off x="4056063" y="2803525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ïṧ1ïḋè">
              <a:extLst>
                <a:ext uri="{FF2B5EF4-FFF2-40B4-BE49-F238E27FC236}">
                  <a16:creationId xmlns:a16="http://schemas.microsoft.com/office/drawing/2014/main" id="{E65350D1-02D3-4E69-8755-A056190F313B}"/>
                </a:ext>
              </a:extLst>
            </p:cNvPr>
            <p:cNvSpPr/>
            <p:nvPr/>
          </p:nvSpPr>
          <p:spPr bwMode="auto">
            <a:xfrm>
              <a:off x="4056063" y="2955925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îṩľïḍè">
              <a:extLst>
                <a:ext uri="{FF2B5EF4-FFF2-40B4-BE49-F238E27FC236}">
                  <a16:creationId xmlns:a16="http://schemas.microsoft.com/office/drawing/2014/main" id="{B059AC92-258A-4CD8-A438-6AACFF529025}"/>
                </a:ext>
              </a:extLst>
            </p:cNvPr>
            <p:cNvSpPr/>
            <p:nvPr/>
          </p:nvSpPr>
          <p:spPr bwMode="auto">
            <a:xfrm>
              <a:off x="4056063" y="2955925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i$ḻïḋè">
              <a:extLst>
                <a:ext uri="{FF2B5EF4-FFF2-40B4-BE49-F238E27FC236}">
                  <a16:creationId xmlns:a16="http://schemas.microsoft.com/office/drawing/2014/main" id="{51038BB2-F22C-466B-8295-A31A30B7D996}"/>
                </a:ext>
              </a:extLst>
            </p:cNvPr>
            <p:cNvSpPr/>
            <p:nvPr/>
          </p:nvSpPr>
          <p:spPr bwMode="auto">
            <a:xfrm>
              <a:off x="4056063" y="3136900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iṡ1îḓê">
              <a:extLst>
                <a:ext uri="{FF2B5EF4-FFF2-40B4-BE49-F238E27FC236}">
                  <a16:creationId xmlns:a16="http://schemas.microsoft.com/office/drawing/2014/main" id="{D0D2DF6D-60C8-4494-9890-60B5FE51EC10}"/>
                </a:ext>
              </a:extLst>
            </p:cNvPr>
            <p:cNvSpPr/>
            <p:nvPr/>
          </p:nvSpPr>
          <p:spPr bwMode="auto">
            <a:xfrm>
              <a:off x="4056063" y="3136900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íṣ1iḑè">
              <a:extLst>
                <a:ext uri="{FF2B5EF4-FFF2-40B4-BE49-F238E27FC236}">
                  <a16:creationId xmlns:a16="http://schemas.microsoft.com/office/drawing/2014/main" id="{65E889DE-D4E3-4D91-8AC4-C4856B42BB1E}"/>
                </a:ext>
              </a:extLst>
            </p:cNvPr>
            <p:cNvSpPr/>
            <p:nvPr/>
          </p:nvSpPr>
          <p:spPr bwMode="auto">
            <a:xfrm>
              <a:off x="4056063" y="3317875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îṥlïďê">
              <a:extLst>
                <a:ext uri="{FF2B5EF4-FFF2-40B4-BE49-F238E27FC236}">
                  <a16:creationId xmlns:a16="http://schemas.microsoft.com/office/drawing/2014/main" id="{A7A30704-3D6E-4A68-9DA7-5B8746DFB2C5}"/>
                </a:ext>
              </a:extLst>
            </p:cNvPr>
            <p:cNvSpPr/>
            <p:nvPr/>
          </p:nvSpPr>
          <p:spPr bwMode="auto">
            <a:xfrm>
              <a:off x="4056063" y="3317875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íSľîḑê">
              <a:extLst>
                <a:ext uri="{FF2B5EF4-FFF2-40B4-BE49-F238E27FC236}">
                  <a16:creationId xmlns:a16="http://schemas.microsoft.com/office/drawing/2014/main" id="{2A6D3D0B-6B66-4687-A81F-E5E2C168CAF8}"/>
                </a:ext>
              </a:extLst>
            </p:cNvPr>
            <p:cNvSpPr/>
            <p:nvPr/>
          </p:nvSpPr>
          <p:spPr bwMode="auto">
            <a:xfrm>
              <a:off x="4056063" y="3497263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ïslïḑè">
              <a:extLst>
                <a:ext uri="{FF2B5EF4-FFF2-40B4-BE49-F238E27FC236}">
                  <a16:creationId xmlns:a16="http://schemas.microsoft.com/office/drawing/2014/main" id="{26DAC201-7239-4D5B-B851-3957BDEBC57F}"/>
                </a:ext>
              </a:extLst>
            </p:cNvPr>
            <p:cNvSpPr/>
            <p:nvPr/>
          </p:nvSpPr>
          <p:spPr bwMode="auto">
            <a:xfrm>
              <a:off x="4056063" y="3497263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islide">
              <a:extLst>
                <a:ext uri="{FF2B5EF4-FFF2-40B4-BE49-F238E27FC236}">
                  <a16:creationId xmlns:a16="http://schemas.microsoft.com/office/drawing/2014/main" id="{96E1CF93-7358-4667-BBA7-5E5C4074BD79}"/>
                </a:ext>
              </a:extLst>
            </p:cNvPr>
            <p:cNvSpPr/>
            <p:nvPr/>
          </p:nvSpPr>
          <p:spPr bwMode="auto">
            <a:xfrm>
              <a:off x="4056063" y="3678238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iṡ1iḍé">
              <a:extLst>
                <a:ext uri="{FF2B5EF4-FFF2-40B4-BE49-F238E27FC236}">
                  <a16:creationId xmlns:a16="http://schemas.microsoft.com/office/drawing/2014/main" id="{54933A09-ED06-4E8C-8386-DFCD703795F2}"/>
                </a:ext>
              </a:extLst>
            </p:cNvPr>
            <p:cNvSpPr/>
            <p:nvPr/>
          </p:nvSpPr>
          <p:spPr bwMode="auto">
            <a:xfrm>
              <a:off x="4056063" y="3678238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iṣḻiḍê">
              <a:extLst>
                <a:ext uri="{FF2B5EF4-FFF2-40B4-BE49-F238E27FC236}">
                  <a16:creationId xmlns:a16="http://schemas.microsoft.com/office/drawing/2014/main" id="{CD8F4AA0-5938-42E5-B671-93D2D3EBDA89}"/>
                </a:ext>
              </a:extLst>
            </p:cNvPr>
            <p:cNvSpPr/>
            <p:nvPr/>
          </p:nvSpPr>
          <p:spPr bwMode="auto">
            <a:xfrm>
              <a:off x="5053013" y="2803525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iṡliḍè">
              <a:extLst>
                <a:ext uri="{FF2B5EF4-FFF2-40B4-BE49-F238E27FC236}">
                  <a16:creationId xmlns:a16="http://schemas.microsoft.com/office/drawing/2014/main" id="{1ECFF78E-A185-4A7B-823C-4FD54988729B}"/>
                </a:ext>
              </a:extLst>
            </p:cNvPr>
            <p:cNvSpPr/>
            <p:nvPr/>
          </p:nvSpPr>
          <p:spPr bwMode="auto">
            <a:xfrm>
              <a:off x="5053013" y="2803525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iṥḻíḓé">
              <a:extLst>
                <a:ext uri="{FF2B5EF4-FFF2-40B4-BE49-F238E27FC236}">
                  <a16:creationId xmlns:a16="http://schemas.microsoft.com/office/drawing/2014/main" id="{9823A20B-EBEF-45D1-A85C-F2FD8F80E6AC}"/>
                </a:ext>
              </a:extLst>
            </p:cNvPr>
            <p:cNvSpPr/>
            <p:nvPr/>
          </p:nvSpPr>
          <p:spPr bwMode="auto">
            <a:xfrm>
              <a:off x="4649788" y="2955925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îṥ1îďè">
              <a:extLst>
                <a:ext uri="{FF2B5EF4-FFF2-40B4-BE49-F238E27FC236}">
                  <a16:creationId xmlns:a16="http://schemas.microsoft.com/office/drawing/2014/main" id="{73A552E7-F3F7-4C2F-A764-7EA5CCC94A73}"/>
                </a:ext>
              </a:extLst>
            </p:cNvPr>
            <p:cNvSpPr/>
            <p:nvPr/>
          </p:nvSpPr>
          <p:spPr bwMode="auto">
            <a:xfrm>
              <a:off x="4649788" y="2955925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iṩľiḓé">
              <a:extLst>
                <a:ext uri="{FF2B5EF4-FFF2-40B4-BE49-F238E27FC236}">
                  <a16:creationId xmlns:a16="http://schemas.microsoft.com/office/drawing/2014/main" id="{D0D23A71-014A-40A0-BA10-A2C6643A0A3E}"/>
                </a:ext>
              </a:extLst>
            </p:cNvPr>
            <p:cNvSpPr/>
            <p:nvPr/>
          </p:nvSpPr>
          <p:spPr bwMode="auto">
            <a:xfrm>
              <a:off x="5219700" y="2955925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ïsļîḍê">
              <a:extLst>
                <a:ext uri="{FF2B5EF4-FFF2-40B4-BE49-F238E27FC236}">
                  <a16:creationId xmlns:a16="http://schemas.microsoft.com/office/drawing/2014/main" id="{9B6E51DB-3561-44F9-A2ED-97E8ECB2C2CD}"/>
                </a:ext>
              </a:extLst>
            </p:cNvPr>
            <p:cNvSpPr/>
            <p:nvPr/>
          </p:nvSpPr>
          <p:spPr bwMode="auto">
            <a:xfrm>
              <a:off x="5219700" y="2955925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ïŝḷíḑe">
              <a:extLst>
                <a:ext uri="{FF2B5EF4-FFF2-40B4-BE49-F238E27FC236}">
                  <a16:creationId xmlns:a16="http://schemas.microsoft.com/office/drawing/2014/main" id="{D348B7C4-6966-42DF-B859-CC64C0E94289}"/>
                </a:ext>
              </a:extLst>
            </p:cNvPr>
            <p:cNvSpPr/>
            <p:nvPr/>
          </p:nvSpPr>
          <p:spPr bwMode="auto">
            <a:xfrm>
              <a:off x="4927600" y="3136900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i$ḷïdé">
              <a:extLst>
                <a:ext uri="{FF2B5EF4-FFF2-40B4-BE49-F238E27FC236}">
                  <a16:creationId xmlns:a16="http://schemas.microsoft.com/office/drawing/2014/main" id="{5F335647-C94A-455B-9EC6-C6775D0D88CB}"/>
                </a:ext>
              </a:extLst>
            </p:cNvPr>
            <p:cNvSpPr/>
            <p:nvPr/>
          </p:nvSpPr>
          <p:spPr bwMode="auto">
            <a:xfrm>
              <a:off x="4927600" y="3136900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iŝḷíḓê">
              <a:extLst>
                <a:ext uri="{FF2B5EF4-FFF2-40B4-BE49-F238E27FC236}">
                  <a16:creationId xmlns:a16="http://schemas.microsoft.com/office/drawing/2014/main" id="{FCFE421B-DCF9-4FE4-A6A5-128C69BBDD5D}"/>
                </a:ext>
              </a:extLst>
            </p:cNvPr>
            <p:cNvSpPr/>
            <p:nvPr/>
          </p:nvSpPr>
          <p:spPr bwMode="auto">
            <a:xfrm>
              <a:off x="5497513" y="3136900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îŝḷídê">
              <a:extLst>
                <a:ext uri="{FF2B5EF4-FFF2-40B4-BE49-F238E27FC236}">
                  <a16:creationId xmlns:a16="http://schemas.microsoft.com/office/drawing/2014/main" id="{0B535A70-C35A-4985-8CD7-066873FA83A3}"/>
                </a:ext>
              </a:extLst>
            </p:cNvPr>
            <p:cNvSpPr/>
            <p:nvPr/>
          </p:nvSpPr>
          <p:spPr bwMode="auto">
            <a:xfrm>
              <a:off x="5497513" y="3136900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íşļîḋè">
              <a:extLst>
                <a:ext uri="{FF2B5EF4-FFF2-40B4-BE49-F238E27FC236}">
                  <a16:creationId xmlns:a16="http://schemas.microsoft.com/office/drawing/2014/main" id="{C592F7DE-88BD-4F8F-853A-D91B6277100C}"/>
                </a:ext>
              </a:extLst>
            </p:cNvPr>
            <p:cNvSpPr/>
            <p:nvPr/>
          </p:nvSpPr>
          <p:spPr bwMode="auto">
            <a:xfrm>
              <a:off x="4483100" y="3914775"/>
              <a:ext cx="163513" cy="82550"/>
            </a:xfrm>
            <a:custGeom>
              <a:avLst/>
              <a:gdLst>
                <a:gd name="T0" fmla="*/ 103 w 103"/>
                <a:gd name="T1" fmla="*/ 0 h 52"/>
                <a:gd name="T2" fmla="*/ 0 w 103"/>
                <a:gd name="T3" fmla="*/ 0 h 52"/>
                <a:gd name="T4" fmla="*/ 0 w 103"/>
                <a:gd name="T5" fmla="*/ 52 h 52"/>
                <a:gd name="T6" fmla="*/ 75 w 103"/>
                <a:gd name="T7" fmla="*/ 52 h 52"/>
                <a:gd name="T8" fmla="*/ 103 w 103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52">
                  <a:moveTo>
                    <a:pt x="103" y="0"/>
                  </a:moveTo>
                  <a:lnTo>
                    <a:pt x="0" y="0"/>
                  </a:lnTo>
                  <a:lnTo>
                    <a:pt x="0" y="52"/>
                  </a:lnTo>
                  <a:lnTo>
                    <a:pt x="75" y="52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îś1ïḍê">
              <a:extLst>
                <a:ext uri="{FF2B5EF4-FFF2-40B4-BE49-F238E27FC236}">
                  <a16:creationId xmlns:a16="http://schemas.microsoft.com/office/drawing/2014/main" id="{786B6775-54D7-4283-8F63-B8DCBBF2C52A}"/>
                </a:ext>
              </a:extLst>
            </p:cNvPr>
            <p:cNvSpPr/>
            <p:nvPr/>
          </p:nvSpPr>
          <p:spPr bwMode="auto">
            <a:xfrm>
              <a:off x="4483100" y="3914775"/>
              <a:ext cx="163513" cy="82550"/>
            </a:xfrm>
            <a:custGeom>
              <a:avLst/>
              <a:gdLst>
                <a:gd name="T0" fmla="*/ 103 w 103"/>
                <a:gd name="T1" fmla="*/ 0 h 52"/>
                <a:gd name="T2" fmla="*/ 0 w 103"/>
                <a:gd name="T3" fmla="*/ 0 h 52"/>
                <a:gd name="T4" fmla="*/ 0 w 103"/>
                <a:gd name="T5" fmla="*/ 52 h 52"/>
                <a:gd name="T6" fmla="*/ 75 w 103"/>
                <a:gd name="T7" fmla="*/ 52 h 52"/>
                <a:gd name="T8" fmla="*/ 103 w 103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52">
                  <a:moveTo>
                    <a:pt x="103" y="0"/>
                  </a:moveTo>
                  <a:lnTo>
                    <a:pt x="0" y="0"/>
                  </a:lnTo>
                  <a:lnTo>
                    <a:pt x="0" y="52"/>
                  </a:lnTo>
                  <a:lnTo>
                    <a:pt x="75" y="52"/>
                  </a:lnTo>
                  <a:lnTo>
                    <a:pt x="10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ïsḻïḋé">
              <a:extLst>
                <a:ext uri="{FF2B5EF4-FFF2-40B4-BE49-F238E27FC236}">
                  <a16:creationId xmlns:a16="http://schemas.microsoft.com/office/drawing/2014/main" id="{3BC1195B-92A4-4419-BAAE-E17CB3427ACA}"/>
                </a:ext>
              </a:extLst>
            </p:cNvPr>
            <p:cNvSpPr/>
            <p:nvPr/>
          </p:nvSpPr>
          <p:spPr bwMode="auto">
            <a:xfrm>
              <a:off x="4056063" y="3914775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î$ľïďê">
              <a:extLst>
                <a:ext uri="{FF2B5EF4-FFF2-40B4-BE49-F238E27FC236}">
                  <a16:creationId xmlns:a16="http://schemas.microsoft.com/office/drawing/2014/main" id="{AA151974-BC61-4A7B-9963-55F43A1B100D}"/>
                </a:ext>
              </a:extLst>
            </p:cNvPr>
            <p:cNvSpPr/>
            <p:nvPr/>
          </p:nvSpPr>
          <p:spPr bwMode="auto">
            <a:xfrm>
              <a:off x="4056063" y="3914775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ïṡľîḋé">
              <a:extLst>
                <a:ext uri="{FF2B5EF4-FFF2-40B4-BE49-F238E27FC236}">
                  <a16:creationId xmlns:a16="http://schemas.microsoft.com/office/drawing/2014/main" id="{61353666-E5C6-43EF-AB4C-EC5196F3997D}"/>
                </a:ext>
              </a:extLst>
            </p:cNvPr>
            <p:cNvSpPr/>
            <p:nvPr/>
          </p:nvSpPr>
          <p:spPr bwMode="auto">
            <a:xfrm>
              <a:off x="4056063" y="4067175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iṩḷïdé">
              <a:extLst>
                <a:ext uri="{FF2B5EF4-FFF2-40B4-BE49-F238E27FC236}">
                  <a16:creationId xmlns:a16="http://schemas.microsoft.com/office/drawing/2014/main" id="{6D5D7005-14AB-445B-BBA2-065553E66301}"/>
                </a:ext>
              </a:extLst>
            </p:cNvPr>
            <p:cNvSpPr/>
            <p:nvPr/>
          </p:nvSpPr>
          <p:spPr bwMode="auto">
            <a:xfrm>
              <a:off x="4056063" y="4067175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îṥḻíḋê">
              <a:extLst>
                <a:ext uri="{FF2B5EF4-FFF2-40B4-BE49-F238E27FC236}">
                  <a16:creationId xmlns:a16="http://schemas.microsoft.com/office/drawing/2014/main" id="{7BB68277-AEEC-4D32-A3A2-C317AAD70268}"/>
                </a:ext>
              </a:extLst>
            </p:cNvPr>
            <p:cNvSpPr/>
            <p:nvPr/>
          </p:nvSpPr>
          <p:spPr bwMode="auto">
            <a:xfrm>
              <a:off x="4056063" y="4248150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íśľîḑé">
              <a:extLst>
                <a:ext uri="{FF2B5EF4-FFF2-40B4-BE49-F238E27FC236}">
                  <a16:creationId xmlns:a16="http://schemas.microsoft.com/office/drawing/2014/main" id="{4516CDB9-6558-461D-8510-49D08AF72584}"/>
                </a:ext>
              </a:extLst>
            </p:cNvPr>
            <p:cNvSpPr/>
            <p:nvPr/>
          </p:nvSpPr>
          <p:spPr bwMode="auto">
            <a:xfrm>
              <a:off x="4056063" y="4248150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iŝľïḓê">
              <a:extLst>
                <a:ext uri="{FF2B5EF4-FFF2-40B4-BE49-F238E27FC236}">
                  <a16:creationId xmlns:a16="http://schemas.microsoft.com/office/drawing/2014/main" id="{B6956EE5-B784-40E6-BA0A-DBA85A675060}"/>
                </a:ext>
              </a:extLst>
            </p:cNvPr>
            <p:cNvSpPr/>
            <p:nvPr/>
          </p:nvSpPr>
          <p:spPr bwMode="auto">
            <a:xfrm>
              <a:off x="5202238" y="3914775"/>
              <a:ext cx="1435100" cy="82550"/>
            </a:xfrm>
            <a:custGeom>
              <a:avLst/>
              <a:gdLst>
                <a:gd name="T0" fmla="*/ 904 w 904"/>
                <a:gd name="T1" fmla="*/ 0 h 52"/>
                <a:gd name="T2" fmla="*/ 0 w 904"/>
                <a:gd name="T3" fmla="*/ 0 h 52"/>
                <a:gd name="T4" fmla="*/ 5 w 904"/>
                <a:gd name="T5" fmla="*/ 52 h 52"/>
                <a:gd name="T6" fmla="*/ 904 w 904"/>
                <a:gd name="T7" fmla="*/ 52 h 52"/>
                <a:gd name="T8" fmla="*/ 904 w 904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52">
                  <a:moveTo>
                    <a:pt x="904" y="0"/>
                  </a:moveTo>
                  <a:lnTo>
                    <a:pt x="0" y="0"/>
                  </a:lnTo>
                  <a:lnTo>
                    <a:pt x="5" y="52"/>
                  </a:lnTo>
                  <a:lnTo>
                    <a:pt x="904" y="52"/>
                  </a:lnTo>
                  <a:lnTo>
                    <a:pt x="904" y="0"/>
                  </a:lnTo>
                  <a:close/>
                </a:path>
              </a:pathLst>
            </a:cu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íṩ1îďê">
              <a:extLst>
                <a:ext uri="{FF2B5EF4-FFF2-40B4-BE49-F238E27FC236}">
                  <a16:creationId xmlns:a16="http://schemas.microsoft.com/office/drawing/2014/main" id="{EEA75CCE-EC2C-40E4-81F9-14CA1677734B}"/>
                </a:ext>
              </a:extLst>
            </p:cNvPr>
            <p:cNvSpPr/>
            <p:nvPr/>
          </p:nvSpPr>
          <p:spPr bwMode="auto">
            <a:xfrm>
              <a:off x="5202238" y="3914775"/>
              <a:ext cx="1435100" cy="82550"/>
            </a:xfrm>
            <a:custGeom>
              <a:avLst/>
              <a:gdLst>
                <a:gd name="T0" fmla="*/ 904 w 904"/>
                <a:gd name="T1" fmla="*/ 0 h 52"/>
                <a:gd name="T2" fmla="*/ 0 w 904"/>
                <a:gd name="T3" fmla="*/ 0 h 52"/>
                <a:gd name="T4" fmla="*/ 5 w 904"/>
                <a:gd name="T5" fmla="*/ 52 h 52"/>
                <a:gd name="T6" fmla="*/ 904 w 904"/>
                <a:gd name="T7" fmla="*/ 52 h 52"/>
                <a:gd name="T8" fmla="*/ 904 w 904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52">
                  <a:moveTo>
                    <a:pt x="904" y="0"/>
                  </a:moveTo>
                  <a:lnTo>
                    <a:pt x="0" y="0"/>
                  </a:lnTo>
                  <a:lnTo>
                    <a:pt x="5" y="52"/>
                  </a:lnTo>
                  <a:lnTo>
                    <a:pt x="904" y="52"/>
                  </a:lnTo>
                  <a:lnTo>
                    <a:pt x="90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is1íḓê">
              <a:extLst>
                <a:ext uri="{FF2B5EF4-FFF2-40B4-BE49-F238E27FC236}">
                  <a16:creationId xmlns:a16="http://schemas.microsoft.com/office/drawing/2014/main" id="{B92380F6-3E0B-43B2-B3FD-C45C75C22D11}"/>
                </a:ext>
              </a:extLst>
            </p:cNvPr>
            <p:cNvSpPr/>
            <p:nvPr/>
          </p:nvSpPr>
          <p:spPr bwMode="auto">
            <a:xfrm>
              <a:off x="4681538" y="4067175"/>
              <a:ext cx="61913" cy="82550"/>
            </a:xfrm>
            <a:custGeom>
              <a:avLst/>
              <a:gdLst>
                <a:gd name="T0" fmla="*/ 39 w 39"/>
                <a:gd name="T1" fmla="*/ 0 h 52"/>
                <a:gd name="T2" fmla="*/ 24 w 39"/>
                <a:gd name="T3" fmla="*/ 0 h 52"/>
                <a:gd name="T4" fmla="*/ 0 w 39"/>
                <a:gd name="T5" fmla="*/ 52 h 52"/>
                <a:gd name="T6" fmla="*/ 37 w 39"/>
                <a:gd name="T7" fmla="*/ 52 h 52"/>
                <a:gd name="T8" fmla="*/ 39 w 39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52">
                  <a:moveTo>
                    <a:pt x="39" y="0"/>
                  </a:moveTo>
                  <a:lnTo>
                    <a:pt x="24" y="0"/>
                  </a:lnTo>
                  <a:lnTo>
                    <a:pt x="0" y="52"/>
                  </a:lnTo>
                  <a:lnTo>
                    <a:pt x="37" y="52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íş1iḋê">
              <a:extLst>
                <a:ext uri="{FF2B5EF4-FFF2-40B4-BE49-F238E27FC236}">
                  <a16:creationId xmlns:a16="http://schemas.microsoft.com/office/drawing/2014/main" id="{554667C7-8E68-4633-864F-4D67345894B4}"/>
                </a:ext>
              </a:extLst>
            </p:cNvPr>
            <p:cNvSpPr/>
            <p:nvPr/>
          </p:nvSpPr>
          <p:spPr bwMode="auto">
            <a:xfrm>
              <a:off x="4681538" y="4067175"/>
              <a:ext cx="61913" cy="82550"/>
            </a:xfrm>
            <a:custGeom>
              <a:avLst/>
              <a:gdLst>
                <a:gd name="T0" fmla="*/ 39 w 39"/>
                <a:gd name="T1" fmla="*/ 0 h 52"/>
                <a:gd name="T2" fmla="*/ 24 w 39"/>
                <a:gd name="T3" fmla="*/ 0 h 52"/>
                <a:gd name="T4" fmla="*/ 0 w 39"/>
                <a:gd name="T5" fmla="*/ 52 h 52"/>
                <a:gd name="T6" fmla="*/ 37 w 39"/>
                <a:gd name="T7" fmla="*/ 52 h 52"/>
                <a:gd name="T8" fmla="*/ 39 w 39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52">
                  <a:moveTo>
                    <a:pt x="39" y="0"/>
                  </a:moveTo>
                  <a:lnTo>
                    <a:pt x="24" y="0"/>
                  </a:lnTo>
                  <a:lnTo>
                    <a:pt x="0" y="52"/>
                  </a:lnTo>
                  <a:lnTo>
                    <a:pt x="37" y="52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ïṩ1îḑé">
              <a:extLst>
                <a:ext uri="{FF2B5EF4-FFF2-40B4-BE49-F238E27FC236}">
                  <a16:creationId xmlns:a16="http://schemas.microsoft.com/office/drawing/2014/main" id="{7EEF0E44-C6B7-4CA7-BC99-B263ED448EC2}"/>
                </a:ext>
              </a:extLst>
            </p:cNvPr>
            <p:cNvSpPr/>
            <p:nvPr/>
          </p:nvSpPr>
          <p:spPr bwMode="auto">
            <a:xfrm>
              <a:off x="5219700" y="4067175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îsḻïḑè">
              <a:extLst>
                <a:ext uri="{FF2B5EF4-FFF2-40B4-BE49-F238E27FC236}">
                  <a16:creationId xmlns:a16="http://schemas.microsoft.com/office/drawing/2014/main" id="{3C5D8DBC-7A70-47D3-B884-F81B6B90B26D}"/>
                </a:ext>
              </a:extLst>
            </p:cNvPr>
            <p:cNvSpPr/>
            <p:nvPr/>
          </p:nvSpPr>
          <p:spPr bwMode="auto">
            <a:xfrm>
              <a:off x="5219700" y="4067175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í$ḷïḍé">
              <a:extLst>
                <a:ext uri="{FF2B5EF4-FFF2-40B4-BE49-F238E27FC236}">
                  <a16:creationId xmlns:a16="http://schemas.microsoft.com/office/drawing/2014/main" id="{9C601CEE-9E80-4D0F-83CB-5C3569DA5806}"/>
                </a:ext>
              </a:extLst>
            </p:cNvPr>
            <p:cNvSpPr/>
            <p:nvPr/>
          </p:nvSpPr>
          <p:spPr bwMode="auto">
            <a:xfrm>
              <a:off x="5219700" y="4248150"/>
              <a:ext cx="180975" cy="82550"/>
            </a:xfrm>
            <a:custGeom>
              <a:avLst/>
              <a:gdLst>
                <a:gd name="T0" fmla="*/ 114 w 114"/>
                <a:gd name="T1" fmla="*/ 0 h 52"/>
                <a:gd name="T2" fmla="*/ 0 w 114"/>
                <a:gd name="T3" fmla="*/ 0 h 52"/>
                <a:gd name="T4" fmla="*/ 4 w 114"/>
                <a:gd name="T5" fmla="*/ 52 h 52"/>
                <a:gd name="T6" fmla="*/ 114 w 114"/>
                <a:gd name="T7" fmla="*/ 52 h 52"/>
                <a:gd name="T8" fmla="*/ 114 w 114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52">
                  <a:moveTo>
                    <a:pt x="114" y="0"/>
                  </a:moveTo>
                  <a:lnTo>
                    <a:pt x="0" y="0"/>
                  </a:lnTo>
                  <a:lnTo>
                    <a:pt x="4" y="52"/>
                  </a:lnTo>
                  <a:lnTo>
                    <a:pt x="114" y="52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îşļiḋe">
              <a:extLst>
                <a:ext uri="{FF2B5EF4-FFF2-40B4-BE49-F238E27FC236}">
                  <a16:creationId xmlns:a16="http://schemas.microsoft.com/office/drawing/2014/main" id="{5F5C51A1-011F-43CB-BB92-509A6ED934D2}"/>
                </a:ext>
              </a:extLst>
            </p:cNvPr>
            <p:cNvSpPr/>
            <p:nvPr/>
          </p:nvSpPr>
          <p:spPr bwMode="auto">
            <a:xfrm>
              <a:off x="5219700" y="4248150"/>
              <a:ext cx="180975" cy="82550"/>
            </a:xfrm>
            <a:custGeom>
              <a:avLst/>
              <a:gdLst>
                <a:gd name="T0" fmla="*/ 114 w 114"/>
                <a:gd name="T1" fmla="*/ 0 h 52"/>
                <a:gd name="T2" fmla="*/ 0 w 114"/>
                <a:gd name="T3" fmla="*/ 0 h 52"/>
                <a:gd name="T4" fmla="*/ 4 w 114"/>
                <a:gd name="T5" fmla="*/ 52 h 52"/>
                <a:gd name="T6" fmla="*/ 114 w 114"/>
                <a:gd name="T7" fmla="*/ 52 h 52"/>
                <a:gd name="T8" fmla="*/ 114 w 114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52">
                  <a:moveTo>
                    <a:pt x="114" y="0"/>
                  </a:moveTo>
                  <a:lnTo>
                    <a:pt x="0" y="0"/>
                  </a:lnTo>
                  <a:lnTo>
                    <a:pt x="4" y="52"/>
                  </a:lnTo>
                  <a:lnTo>
                    <a:pt x="114" y="52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îSľíḍé">
              <a:extLst>
                <a:ext uri="{FF2B5EF4-FFF2-40B4-BE49-F238E27FC236}">
                  <a16:creationId xmlns:a16="http://schemas.microsoft.com/office/drawing/2014/main" id="{502985E0-F41A-4984-B521-5B01CE812354}"/>
                </a:ext>
              </a:extLst>
            </p:cNvPr>
            <p:cNvSpPr/>
            <p:nvPr/>
          </p:nvSpPr>
          <p:spPr bwMode="auto">
            <a:xfrm>
              <a:off x="5497513" y="4248150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îṧľîḋè">
              <a:extLst>
                <a:ext uri="{FF2B5EF4-FFF2-40B4-BE49-F238E27FC236}">
                  <a16:creationId xmlns:a16="http://schemas.microsoft.com/office/drawing/2014/main" id="{9E990533-265C-4458-8C48-1ED57CE3BDFE}"/>
                </a:ext>
              </a:extLst>
            </p:cNvPr>
            <p:cNvSpPr/>
            <p:nvPr/>
          </p:nvSpPr>
          <p:spPr bwMode="auto">
            <a:xfrm>
              <a:off x="5497513" y="4248150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ïšḻíďê">
              <a:extLst>
                <a:ext uri="{FF2B5EF4-FFF2-40B4-BE49-F238E27FC236}">
                  <a16:creationId xmlns:a16="http://schemas.microsoft.com/office/drawing/2014/main" id="{FE8A08C8-C58E-479C-AE89-761A9491D64C}"/>
                </a:ext>
              </a:extLst>
            </p:cNvPr>
            <p:cNvSpPr/>
            <p:nvPr/>
          </p:nvSpPr>
          <p:spPr bwMode="auto">
            <a:xfrm>
              <a:off x="5205413" y="3317875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ïśľîdé">
              <a:extLst>
                <a:ext uri="{FF2B5EF4-FFF2-40B4-BE49-F238E27FC236}">
                  <a16:creationId xmlns:a16="http://schemas.microsoft.com/office/drawing/2014/main" id="{AB17EDB5-EA04-410F-9416-83400AA1FF74}"/>
                </a:ext>
              </a:extLst>
            </p:cNvPr>
            <p:cNvSpPr/>
            <p:nvPr/>
          </p:nvSpPr>
          <p:spPr bwMode="auto">
            <a:xfrm>
              <a:off x="5205413" y="3317875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iṡļîḑè">
              <a:extLst>
                <a:ext uri="{FF2B5EF4-FFF2-40B4-BE49-F238E27FC236}">
                  <a16:creationId xmlns:a16="http://schemas.microsoft.com/office/drawing/2014/main" id="{B6ECC9CA-7B50-43B7-8DC3-267D1FDF0769}"/>
                </a:ext>
              </a:extLst>
            </p:cNvPr>
            <p:cNvSpPr/>
            <p:nvPr/>
          </p:nvSpPr>
          <p:spPr bwMode="auto">
            <a:xfrm>
              <a:off x="5775325" y="3317875"/>
              <a:ext cx="2417763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iṥ1ïďè">
              <a:extLst>
                <a:ext uri="{FF2B5EF4-FFF2-40B4-BE49-F238E27FC236}">
                  <a16:creationId xmlns:a16="http://schemas.microsoft.com/office/drawing/2014/main" id="{DAFBB93D-41E9-49A4-8C3D-493743739102}"/>
                </a:ext>
              </a:extLst>
            </p:cNvPr>
            <p:cNvSpPr/>
            <p:nvPr/>
          </p:nvSpPr>
          <p:spPr bwMode="auto">
            <a:xfrm>
              <a:off x="5775325" y="3317875"/>
              <a:ext cx="24177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i$ḷíḋê">
              <a:extLst>
                <a:ext uri="{FF2B5EF4-FFF2-40B4-BE49-F238E27FC236}">
                  <a16:creationId xmlns:a16="http://schemas.microsoft.com/office/drawing/2014/main" id="{0E92B441-F698-4F7F-B859-FB2B94182A4D}"/>
                </a:ext>
              </a:extLst>
            </p:cNvPr>
            <p:cNvSpPr/>
            <p:nvPr/>
          </p:nvSpPr>
          <p:spPr bwMode="auto">
            <a:xfrm>
              <a:off x="4927600" y="3497263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iṧ1ídé">
              <a:extLst>
                <a:ext uri="{FF2B5EF4-FFF2-40B4-BE49-F238E27FC236}">
                  <a16:creationId xmlns:a16="http://schemas.microsoft.com/office/drawing/2014/main" id="{423EE292-682D-4BD3-B822-E02D6290AEF1}"/>
                </a:ext>
              </a:extLst>
            </p:cNvPr>
            <p:cNvSpPr/>
            <p:nvPr/>
          </p:nvSpPr>
          <p:spPr bwMode="auto">
            <a:xfrm>
              <a:off x="4927600" y="3497263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îś1ïḋe">
              <a:extLst>
                <a:ext uri="{FF2B5EF4-FFF2-40B4-BE49-F238E27FC236}">
                  <a16:creationId xmlns:a16="http://schemas.microsoft.com/office/drawing/2014/main" id="{E8E0AA71-F3CC-4D7F-8BA6-01A5CACBBEC5}"/>
                </a:ext>
              </a:extLst>
            </p:cNvPr>
            <p:cNvSpPr/>
            <p:nvPr/>
          </p:nvSpPr>
          <p:spPr bwMode="auto">
            <a:xfrm>
              <a:off x="5497513" y="3497263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îS1ïḋê">
              <a:extLst>
                <a:ext uri="{FF2B5EF4-FFF2-40B4-BE49-F238E27FC236}">
                  <a16:creationId xmlns:a16="http://schemas.microsoft.com/office/drawing/2014/main" id="{BC2FE509-82D5-48B9-98F4-9DEA5D6124DA}"/>
                </a:ext>
              </a:extLst>
            </p:cNvPr>
            <p:cNvSpPr/>
            <p:nvPr/>
          </p:nvSpPr>
          <p:spPr bwMode="auto">
            <a:xfrm>
              <a:off x="5497513" y="3497263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işliḍé">
              <a:extLst>
                <a:ext uri="{FF2B5EF4-FFF2-40B4-BE49-F238E27FC236}">
                  <a16:creationId xmlns:a16="http://schemas.microsoft.com/office/drawing/2014/main" id="{33DEFF6F-9D2F-471E-8436-2E2B1ED62F81}"/>
                </a:ext>
              </a:extLst>
            </p:cNvPr>
            <p:cNvSpPr/>
            <p:nvPr/>
          </p:nvSpPr>
          <p:spPr bwMode="auto">
            <a:xfrm>
              <a:off x="4649788" y="3678238"/>
              <a:ext cx="473075" cy="84138"/>
            </a:xfrm>
            <a:custGeom>
              <a:avLst/>
              <a:gdLst>
                <a:gd name="T0" fmla="*/ 136 w 136"/>
                <a:gd name="T1" fmla="*/ 0 h 24"/>
                <a:gd name="T2" fmla="*/ 0 w 136"/>
                <a:gd name="T3" fmla="*/ 0 h 24"/>
                <a:gd name="T4" fmla="*/ 0 w 136"/>
                <a:gd name="T5" fmla="*/ 24 h 24"/>
                <a:gd name="T6" fmla="*/ 22 w 136"/>
                <a:gd name="T7" fmla="*/ 24 h 24"/>
                <a:gd name="T8" fmla="*/ 46 w 136"/>
                <a:gd name="T9" fmla="*/ 13 h 24"/>
                <a:gd name="T10" fmla="*/ 83 w 136"/>
                <a:gd name="T11" fmla="*/ 5 h 24"/>
                <a:gd name="T12" fmla="*/ 136 w 136"/>
                <a:gd name="T13" fmla="*/ 7 h 24"/>
                <a:gd name="T14" fmla="*/ 136 w 136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6" h="24">
                  <a:moveTo>
                    <a:pt x="1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8" y="17"/>
                    <a:pt x="37" y="17"/>
                    <a:pt x="46" y="13"/>
                  </a:cubicBezTo>
                  <a:cubicBezTo>
                    <a:pt x="59" y="9"/>
                    <a:pt x="74" y="5"/>
                    <a:pt x="83" y="5"/>
                  </a:cubicBezTo>
                  <a:cubicBezTo>
                    <a:pt x="93" y="5"/>
                    <a:pt x="118" y="6"/>
                    <a:pt x="136" y="7"/>
                  </a:cubicBezTo>
                  <a:cubicBezTo>
                    <a:pt x="136" y="0"/>
                    <a:pt x="136" y="0"/>
                    <a:pt x="136" y="0"/>
                  </a:cubicBezTo>
                </a:path>
              </a:pathLst>
            </a:cu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iš1îdé">
              <a:extLst>
                <a:ext uri="{FF2B5EF4-FFF2-40B4-BE49-F238E27FC236}">
                  <a16:creationId xmlns:a16="http://schemas.microsoft.com/office/drawing/2014/main" id="{D461D072-D5A5-4830-B511-0532F475DE48}"/>
                </a:ext>
              </a:extLst>
            </p:cNvPr>
            <p:cNvSpPr/>
            <p:nvPr/>
          </p:nvSpPr>
          <p:spPr bwMode="auto">
            <a:xfrm>
              <a:off x="5219700" y="3678238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iṣ1îḑè">
              <a:extLst>
                <a:ext uri="{FF2B5EF4-FFF2-40B4-BE49-F238E27FC236}">
                  <a16:creationId xmlns:a16="http://schemas.microsoft.com/office/drawing/2014/main" id="{87B359F3-38C5-4248-949C-9A01C1267490}"/>
                </a:ext>
              </a:extLst>
            </p:cNvPr>
            <p:cNvSpPr/>
            <p:nvPr/>
          </p:nvSpPr>
          <p:spPr bwMode="auto">
            <a:xfrm>
              <a:off x="5219700" y="3678238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îšlidè">
              <a:extLst>
                <a:ext uri="{FF2B5EF4-FFF2-40B4-BE49-F238E27FC236}">
                  <a16:creationId xmlns:a16="http://schemas.microsoft.com/office/drawing/2014/main" id="{F7A4EC2B-D1A5-47CB-A170-F9AEA134B542}"/>
                </a:ext>
              </a:extLst>
            </p:cNvPr>
            <p:cNvSpPr/>
            <p:nvPr/>
          </p:nvSpPr>
          <p:spPr bwMode="auto">
            <a:xfrm>
              <a:off x="4532313" y="4684713"/>
              <a:ext cx="184150" cy="195263"/>
            </a:xfrm>
            <a:prstGeom prst="rect">
              <a:avLst/>
            </a:pr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íṡliḋê">
              <a:extLst>
                <a:ext uri="{FF2B5EF4-FFF2-40B4-BE49-F238E27FC236}">
                  <a16:creationId xmlns:a16="http://schemas.microsoft.com/office/drawing/2014/main" id="{7E9F34F7-4FF6-407E-BD37-193AD97C98AF}"/>
                </a:ext>
              </a:extLst>
            </p:cNvPr>
            <p:cNvSpPr/>
            <p:nvPr/>
          </p:nvSpPr>
          <p:spPr bwMode="auto">
            <a:xfrm>
              <a:off x="4532313" y="4684713"/>
              <a:ext cx="18415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íś1ïḋè">
              <a:extLst>
                <a:ext uri="{FF2B5EF4-FFF2-40B4-BE49-F238E27FC236}">
                  <a16:creationId xmlns:a16="http://schemas.microsoft.com/office/drawing/2014/main" id="{87552DFA-93AE-40B5-9B61-79085F939B7E}"/>
                </a:ext>
              </a:extLst>
            </p:cNvPr>
            <p:cNvSpPr/>
            <p:nvPr/>
          </p:nvSpPr>
          <p:spPr bwMode="auto">
            <a:xfrm>
              <a:off x="4532313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îṧľíḋe">
              <a:extLst>
                <a:ext uri="{FF2B5EF4-FFF2-40B4-BE49-F238E27FC236}">
                  <a16:creationId xmlns:a16="http://schemas.microsoft.com/office/drawing/2014/main" id="{0FF9BB78-21A1-42E6-B1F8-74996190391D}"/>
                </a:ext>
              </a:extLst>
            </p:cNvPr>
            <p:cNvSpPr/>
            <p:nvPr/>
          </p:nvSpPr>
          <p:spPr bwMode="auto">
            <a:xfrm>
              <a:off x="4532313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íS1íḓé">
              <a:extLst>
                <a:ext uri="{FF2B5EF4-FFF2-40B4-BE49-F238E27FC236}">
                  <a16:creationId xmlns:a16="http://schemas.microsoft.com/office/drawing/2014/main" id="{9C1124D8-DD1C-400C-B153-4A7F08C37173}"/>
                </a:ext>
              </a:extLst>
            </p:cNvPr>
            <p:cNvSpPr/>
            <p:nvPr/>
          </p:nvSpPr>
          <p:spPr bwMode="auto">
            <a:xfrm>
              <a:off x="4889500" y="4684713"/>
              <a:ext cx="184150" cy="195263"/>
            </a:xfrm>
            <a:prstGeom prst="rect">
              <a:avLst/>
            </a:pr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işľïḍè">
              <a:extLst>
                <a:ext uri="{FF2B5EF4-FFF2-40B4-BE49-F238E27FC236}">
                  <a16:creationId xmlns:a16="http://schemas.microsoft.com/office/drawing/2014/main" id="{357EF5F3-4AA5-4764-929A-69B13E3647F9}"/>
                </a:ext>
              </a:extLst>
            </p:cNvPr>
            <p:cNvSpPr/>
            <p:nvPr/>
          </p:nvSpPr>
          <p:spPr bwMode="auto">
            <a:xfrm>
              <a:off x="4889500" y="4684713"/>
              <a:ext cx="18415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îşḻïďê">
              <a:extLst>
                <a:ext uri="{FF2B5EF4-FFF2-40B4-BE49-F238E27FC236}">
                  <a16:creationId xmlns:a16="http://schemas.microsoft.com/office/drawing/2014/main" id="{E74A22FD-0200-4587-80A5-32265ADDE896}"/>
                </a:ext>
              </a:extLst>
            </p:cNvPr>
            <p:cNvSpPr/>
            <p:nvPr/>
          </p:nvSpPr>
          <p:spPr bwMode="auto">
            <a:xfrm>
              <a:off x="4889500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íSļidê">
              <a:extLst>
                <a:ext uri="{FF2B5EF4-FFF2-40B4-BE49-F238E27FC236}">
                  <a16:creationId xmlns:a16="http://schemas.microsoft.com/office/drawing/2014/main" id="{1FFEA8B4-E6B0-4750-B43B-2B9EF0A450B9}"/>
                </a:ext>
              </a:extLst>
            </p:cNvPr>
            <p:cNvSpPr/>
            <p:nvPr/>
          </p:nvSpPr>
          <p:spPr bwMode="auto">
            <a:xfrm>
              <a:off x="4889500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îśľîdê">
              <a:extLst>
                <a:ext uri="{FF2B5EF4-FFF2-40B4-BE49-F238E27FC236}">
                  <a16:creationId xmlns:a16="http://schemas.microsoft.com/office/drawing/2014/main" id="{1BF46215-06FC-4D2C-A7C4-15326F0F6B0A}"/>
                </a:ext>
              </a:extLst>
            </p:cNvPr>
            <p:cNvSpPr/>
            <p:nvPr/>
          </p:nvSpPr>
          <p:spPr bwMode="auto">
            <a:xfrm>
              <a:off x="7645400" y="4684713"/>
              <a:ext cx="184150" cy="195263"/>
            </a:xfrm>
            <a:prstGeom prst="rect">
              <a:avLst/>
            </a:pr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ïsļiḑê">
              <a:extLst>
                <a:ext uri="{FF2B5EF4-FFF2-40B4-BE49-F238E27FC236}">
                  <a16:creationId xmlns:a16="http://schemas.microsoft.com/office/drawing/2014/main" id="{363F8C60-7A46-48AC-9D72-39A52CACABA2}"/>
                </a:ext>
              </a:extLst>
            </p:cNvPr>
            <p:cNvSpPr/>
            <p:nvPr/>
          </p:nvSpPr>
          <p:spPr bwMode="auto">
            <a:xfrm>
              <a:off x="7645400" y="4684713"/>
              <a:ext cx="18415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iSļîdè">
              <a:extLst>
                <a:ext uri="{FF2B5EF4-FFF2-40B4-BE49-F238E27FC236}">
                  <a16:creationId xmlns:a16="http://schemas.microsoft.com/office/drawing/2014/main" id="{1F97CDC0-48DD-41EC-9EA4-4734BE8CA07F}"/>
                </a:ext>
              </a:extLst>
            </p:cNvPr>
            <p:cNvSpPr/>
            <p:nvPr/>
          </p:nvSpPr>
          <p:spPr bwMode="auto">
            <a:xfrm>
              <a:off x="7645400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îŝḻîdè">
              <a:extLst>
                <a:ext uri="{FF2B5EF4-FFF2-40B4-BE49-F238E27FC236}">
                  <a16:creationId xmlns:a16="http://schemas.microsoft.com/office/drawing/2014/main" id="{FA089CE4-F982-4614-91D1-CA1C9C03B361}"/>
                </a:ext>
              </a:extLst>
            </p:cNvPr>
            <p:cNvSpPr/>
            <p:nvPr/>
          </p:nvSpPr>
          <p:spPr bwMode="auto">
            <a:xfrm>
              <a:off x="7645400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íṣḻíde">
              <a:extLst>
                <a:ext uri="{FF2B5EF4-FFF2-40B4-BE49-F238E27FC236}">
                  <a16:creationId xmlns:a16="http://schemas.microsoft.com/office/drawing/2014/main" id="{68D90438-499A-4952-9398-395A7618F5F1}"/>
                </a:ext>
              </a:extLst>
            </p:cNvPr>
            <p:cNvSpPr/>
            <p:nvPr/>
          </p:nvSpPr>
          <p:spPr bwMode="auto">
            <a:xfrm>
              <a:off x="7964488" y="4684713"/>
              <a:ext cx="184150" cy="195263"/>
            </a:xfrm>
            <a:prstGeom prst="rect">
              <a:avLst/>
            </a:pr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îṡḻíḑè">
              <a:extLst>
                <a:ext uri="{FF2B5EF4-FFF2-40B4-BE49-F238E27FC236}">
                  <a16:creationId xmlns:a16="http://schemas.microsoft.com/office/drawing/2014/main" id="{23F487CF-6F0D-4B73-BE90-6C0F32ADD4FC}"/>
                </a:ext>
              </a:extLst>
            </p:cNvPr>
            <p:cNvSpPr/>
            <p:nvPr/>
          </p:nvSpPr>
          <p:spPr bwMode="auto">
            <a:xfrm>
              <a:off x="7964488" y="4684713"/>
              <a:ext cx="18415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iśḻîďè">
              <a:extLst>
                <a:ext uri="{FF2B5EF4-FFF2-40B4-BE49-F238E27FC236}">
                  <a16:creationId xmlns:a16="http://schemas.microsoft.com/office/drawing/2014/main" id="{B703645A-7289-49D7-9DBA-ECE43CFABC6B}"/>
                </a:ext>
              </a:extLst>
            </p:cNvPr>
            <p:cNvSpPr/>
            <p:nvPr/>
          </p:nvSpPr>
          <p:spPr bwMode="auto">
            <a:xfrm>
              <a:off x="7964488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îṥľïḓê">
              <a:extLst>
                <a:ext uri="{FF2B5EF4-FFF2-40B4-BE49-F238E27FC236}">
                  <a16:creationId xmlns:a16="http://schemas.microsoft.com/office/drawing/2014/main" id="{905287CF-A870-4096-A274-AEE88DF6F2FC}"/>
                </a:ext>
              </a:extLst>
            </p:cNvPr>
            <p:cNvSpPr/>
            <p:nvPr/>
          </p:nvSpPr>
          <p:spPr bwMode="auto">
            <a:xfrm>
              <a:off x="7964488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íŝḻíḑè">
              <a:extLst>
                <a:ext uri="{FF2B5EF4-FFF2-40B4-BE49-F238E27FC236}">
                  <a16:creationId xmlns:a16="http://schemas.microsoft.com/office/drawing/2014/main" id="{77AEE26C-F037-48FB-9BCB-81650316FE9B}"/>
                </a:ext>
              </a:extLst>
            </p:cNvPr>
            <p:cNvSpPr/>
            <p:nvPr/>
          </p:nvSpPr>
          <p:spPr bwMode="auto">
            <a:xfrm>
              <a:off x="4768850" y="5465763"/>
              <a:ext cx="100013" cy="444500"/>
            </a:xfrm>
            <a:custGeom>
              <a:avLst/>
              <a:gdLst>
                <a:gd name="T0" fmla="*/ 11 w 29"/>
                <a:gd name="T1" fmla="*/ 6 h 128"/>
                <a:gd name="T2" fmla="*/ 11 w 29"/>
                <a:gd name="T3" fmla="*/ 35 h 128"/>
                <a:gd name="T4" fmla="*/ 5 w 29"/>
                <a:gd name="T5" fmla="*/ 73 h 128"/>
                <a:gd name="T6" fmla="*/ 2 w 29"/>
                <a:gd name="T7" fmla="*/ 118 h 128"/>
                <a:gd name="T8" fmla="*/ 22 w 29"/>
                <a:gd name="T9" fmla="*/ 109 h 128"/>
                <a:gd name="T10" fmla="*/ 27 w 29"/>
                <a:gd name="T11" fmla="*/ 39 h 128"/>
                <a:gd name="T12" fmla="*/ 29 w 29"/>
                <a:gd name="T13" fmla="*/ 0 h 128"/>
                <a:gd name="T14" fmla="*/ 11 w 29"/>
                <a:gd name="T15" fmla="*/ 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128">
                  <a:moveTo>
                    <a:pt x="11" y="6"/>
                  </a:move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8" y="53"/>
                    <a:pt x="5" y="73"/>
                  </a:cubicBezTo>
                  <a:cubicBezTo>
                    <a:pt x="2" y="93"/>
                    <a:pt x="0" y="114"/>
                    <a:pt x="2" y="118"/>
                  </a:cubicBezTo>
                  <a:cubicBezTo>
                    <a:pt x="8" y="128"/>
                    <a:pt x="20" y="118"/>
                    <a:pt x="22" y="109"/>
                  </a:cubicBezTo>
                  <a:cubicBezTo>
                    <a:pt x="24" y="99"/>
                    <a:pt x="27" y="39"/>
                    <a:pt x="27" y="39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11" y="6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ïSliḍè">
              <a:extLst>
                <a:ext uri="{FF2B5EF4-FFF2-40B4-BE49-F238E27FC236}">
                  <a16:creationId xmlns:a16="http://schemas.microsoft.com/office/drawing/2014/main" id="{359127B3-B328-4CC0-A0D2-EBEED6453373}"/>
                </a:ext>
              </a:extLst>
            </p:cNvPr>
            <p:cNvSpPr/>
            <p:nvPr/>
          </p:nvSpPr>
          <p:spPr bwMode="auto">
            <a:xfrm>
              <a:off x="4625975" y="5473700"/>
              <a:ext cx="125413" cy="409575"/>
            </a:xfrm>
            <a:custGeom>
              <a:avLst/>
              <a:gdLst>
                <a:gd name="T0" fmla="*/ 22 w 36"/>
                <a:gd name="T1" fmla="*/ 0 h 118"/>
                <a:gd name="T2" fmla="*/ 27 w 36"/>
                <a:gd name="T3" fmla="*/ 26 h 118"/>
                <a:gd name="T4" fmla="*/ 31 w 36"/>
                <a:gd name="T5" fmla="*/ 108 h 118"/>
                <a:gd name="T6" fmla="*/ 11 w 36"/>
                <a:gd name="T7" fmla="*/ 99 h 118"/>
                <a:gd name="T8" fmla="*/ 8 w 36"/>
                <a:gd name="T9" fmla="*/ 33 h 118"/>
                <a:gd name="T10" fmla="*/ 0 w 36"/>
                <a:gd name="T11" fmla="*/ 2 h 118"/>
                <a:gd name="T12" fmla="*/ 22 w 36"/>
                <a:gd name="T1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18">
                  <a:moveTo>
                    <a:pt x="22" y="0"/>
                  </a:move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36" y="97"/>
                    <a:pt x="31" y="108"/>
                  </a:cubicBezTo>
                  <a:cubicBezTo>
                    <a:pt x="26" y="118"/>
                    <a:pt x="10" y="114"/>
                    <a:pt x="11" y="99"/>
                  </a:cubicBezTo>
                  <a:cubicBezTo>
                    <a:pt x="12" y="84"/>
                    <a:pt x="8" y="33"/>
                    <a:pt x="8" y="33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ïś1îḑe">
              <a:extLst>
                <a:ext uri="{FF2B5EF4-FFF2-40B4-BE49-F238E27FC236}">
                  <a16:creationId xmlns:a16="http://schemas.microsoft.com/office/drawing/2014/main" id="{6FD01A7D-8569-43C1-8BF8-26D161E28B69}"/>
                </a:ext>
              </a:extLst>
            </p:cNvPr>
            <p:cNvSpPr/>
            <p:nvPr/>
          </p:nvSpPr>
          <p:spPr bwMode="auto">
            <a:xfrm>
              <a:off x="4389438" y="4371975"/>
              <a:ext cx="841375" cy="1135063"/>
            </a:xfrm>
            <a:custGeom>
              <a:avLst/>
              <a:gdLst>
                <a:gd name="T0" fmla="*/ 103 w 242"/>
                <a:gd name="T1" fmla="*/ 1 h 327"/>
                <a:gd name="T2" fmla="*/ 105 w 242"/>
                <a:gd name="T3" fmla="*/ 33 h 327"/>
                <a:gd name="T4" fmla="*/ 22 w 242"/>
                <a:gd name="T5" fmla="*/ 73 h 327"/>
                <a:gd name="T6" fmla="*/ 5 w 242"/>
                <a:gd name="T7" fmla="*/ 115 h 327"/>
                <a:gd name="T8" fmla="*/ 62 w 242"/>
                <a:gd name="T9" fmla="*/ 326 h 327"/>
                <a:gd name="T10" fmla="*/ 90 w 242"/>
                <a:gd name="T11" fmla="*/ 317 h 327"/>
                <a:gd name="T12" fmla="*/ 65 w 242"/>
                <a:gd name="T13" fmla="*/ 122 h 327"/>
                <a:gd name="T14" fmla="*/ 84 w 242"/>
                <a:gd name="T15" fmla="*/ 97 h 327"/>
                <a:gd name="T16" fmla="*/ 113 w 242"/>
                <a:gd name="T17" fmla="*/ 93 h 327"/>
                <a:gd name="T18" fmla="*/ 144 w 242"/>
                <a:gd name="T19" fmla="*/ 61 h 327"/>
                <a:gd name="T20" fmla="*/ 108 w 242"/>
                <a:gd name="T21" fmla="*/ 93 h 327"/>
                <a:gd name="T22" fmla="*/ 97 w 242"/>
                <a:gd name="T23" fmla="*/ 125 h 327"/>
                <a:gd name="T24" fmla="*/ 120 w 242"/>
                <a:gd name="T25" fmla="*/ 321 h 327"/>
                <a:gd name="T26" fmla="*/ 146 w 242"/>
                <a:gd name="T27" fmla="*/ 327 h 327"/>
                <a:gd name="T28" fmla="*/ 157 w 242"/>
                <a:gd name="T29" fmla="*/ 134 h 327"/>
                <a:gd name="T30" fmla="*/ 178 w 242"/>
                <a:gd name="T31" fmla="*/ 108 h 327"/>
                <a:gd name="T32" fmla="*/ 229 w 242"/>
                <a:gd name="T33" fmla="*/ 91 h 327"/>
                <a:gd name="T34" fmla="*/ 242 w 242"/>
                <a:gd name="T35" fmla="*/ 68 h 327"/>
                <a:gd name="T36" fmla="*/ 240 w 242"/>
                <a:gd name="T37" fmla="*/ 0 h 327"/>
                <a:gd name="T38" fmla="*/ 103 w 242"/>
                <a:gd name="T39" fmla="*/ 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2" h="327">
                  <a:moveTo>
                    <a:pt x="103" y="1"/>
                  </a:moveTo>
                  <a:cubicBezTo>
                    <a:pt x="105" y="33"/>
                    <a:pt x="105" y="33"/>
                    <a:pt x="105" y="33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8" y="81"/>
                    <a:pt x="0" y="98"/>
                    <a:pt x="5" y="115"/>
                  </a:cubicBezTo>
                  <a:cubicBezTo>
                    <a:pt x="62" y="326"/>
                    <a:pt x="62" y="326"/>
                    <a:pt x="62" y="326"/>
                  </a:cubicBezTo>
                  <a:cubicBezTo>
                    <a:pt x="90" y="317"/>
                    <a:pt x="90" y="317"/>
                    <a:pt x="90" y="317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64" y="111"/>
                    <a:pt x="72" y="99"/>
                    <a:pt x="84" y="97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4" y="61"/>
                    <a:pt x="144" y="61"/>
                    <a:pt x="144" y="61"/>
                  </a:cubicBezTo>
                  <a:cubicBezTo>
                    <a:pt x="108" y="93"/>
                    <a:pt x="108" y="93"/>
                    <a:pt x="108" y="93"/>
                  </a:cubicBezTo>
                  <a:cubicBezTo>
                    <a:pt x="100" y="101"/>
                    <a:pt x="95" y="113"/>
                    <a:pt x="97" y="125"/>
                  </a:cubicBezTo>
                  <a:cubicBezTo>
                    <a:pt x="120" y="321"/>
                    <a:pt x="120" y="321"/>
                    <a:pt x="120" y="321"/>
                  </a:cubicBezTo>
                  <a:cubicBezTo>
                    <a:pt x="146" y="327"/>
                    <a:pt x="146" y="327"/>
                    <a:pt x="146" y="327"/>
                  </a:cubicBezTo>
                  <a:cubicBezTo>
                    <a:pt x="157" y="134"/>
                    <a:pt x="157" y="134"/>
                    <a:pt x="157" y="134"/>
                  </a:cubicBezTo>
                  <a:cubicBezTo>
                    <a:pt x="158" y="122"/>
                    <a:pt x="166" y="111"/>
                    <a:pt x="178" y="108"/>
                  </a:cubicBezTo>
                  <a:cubicBezTo>
                    <a:pt x="229" y="91"/>
                    <a:pt x="229" y="91"/>
                    <a:pt x="229" y="91"/>
                  </a:cubicBezTo>
                  <a:cubicBezTo>
                    <a:pt x="237" y="87"/>
                    <a:pt x="242" y="78"/>
                    <a:pt x="242" y="68"/>
                  </a:cubicBezTo>
                  <a:cubicBezTo>
                    <a:pt x="240" y="0"/>
                    <a:pt x="240" y="0"/>
                    <a:pt x="240" y="0"/>
                  </a:cubicBezTo>
                  <a:lnTo>
                    <a:pt x="103" y="1"/>
                  </a:ln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ïṧľiḍê">
              <a:extLst>
                <a:ext uri="{FF2B5EF4-FFF2-40B4-BE49-F238E27FC236}">
                  <a16:creationId xmlns:a16="http://schemas.microsoft.com/office/drawing/2014/main" id="{FDAB1E60-44BC-4CBA-B640-FE06407D5548}"/>
                </a:ext>
              </a:extLst>
            </p:cNvPr>
            <p:cNvSpPr/>
            <p:nvPr/>
          </p:nvSpPr>
          <p:spPr bwMode="auto">
            <a:xfrm>
              <a:off x="4400550" y="3695700"/>
              <a:ext cx="839788" cy="930275"/>
            </a:xfrm>
            <a:custGeom>
              <a:avLst/>
              <a:gdLst>
                <a:gd name="T0" fmla="*/ 242 w 242"/>
                <a:gd name="T1" fmla="*/ 268 h 268"/>
                <a:gd name="T2" fmla="*/ 228 w 242"/>
                <a:gd name="T3" fmla="*/ 3 h 268"/>
                <a:gd name="T4" fmla="*/ 155 w 242"/>
                <a:gd name="T5" fmla="*/ 0 h 268"/>
                <a:gd name="T6" fmla="*/ 118 w 242"/>
                <a:gd name="T7" fmla="*/ 8 h 268"/>
                <a:gd name="T8" fmla="*/ 92 w 242"/>
                <a:gd name="T9" fmla="*/ 23 h 268"/>
                <a:gd name="T10" fmla="*/ 0 w 242"/>
                <a:gd name="T11" fmla="*/ 199 h 268"/>
                <a:gd name="T12" fmla="*/ 56 w 242"/>
                <a:gd name="T13" fmla="*/ 205 h 268"/>
                <a:gd name="T14" fmla="*/ 75 w 242"/>
                <a:gd name="T15" fmla="*/ 183 h 268"/>
                <a:gd name="T16" fmla="*/ 65 w 242"/>
                <a:gd name="T17" fmla="*/ 168 h 268"/>
                <a:gd name="T18" fmla="*/ 100 w 242"/>
                <a:gd name="T19" fmla="*/ 87 h 268"/>
                <a:gd name="T20" fmla="*/ 93 w 242"/>
                <a:gd name="T21" fmla="*/ 235 h 268"/>
                <a:gd name="T22" fmla="*/ 242 w 242"/>
                <a:gd name="T23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68">
                  <a:moveTo>
                    <a:pt x="242" y="268"/>
                  </a:moveTo>
                  <a:cubicBezTo>
                    <a:pt x="228" y="3"/>
                    <a:pt x="228" y="3"/>
                    <a:pt x="228" y="3"/>
                  </a:cubicBezTo>
                  <a:cubicBezTo>
                    <a:pt x="228" y="3"/>
                    <a:pt x="172" y="0"/>
                    <a:pt x="155" y="0"/>
                  </a:cubicBezTo>
                  <a:cubicBezTo>
                    <a:pt x="146" y="0"/>
                    <a:pt x="131" y="4"/>
                    <a:pt x="118" y="8"/>
                  </a:cubicBezTo>
                  <a:cubicBezTo>
                    <a:pt x="107" y="12"/>
                    <a:pt x="97" y="12"/>
                    <a:pt x="92" y="23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56" y="205"/>
                    <a:pt x="56" y="205"/>
                    <a:pt x="56" y="205"/>
                  </a:cubicBezTo>
                  <a:cubicBezTo>
                    <a:pt x="75" y="183"/>
                    <a:pt x="75" y="183"/>
                    <a:pt x="75" y="183"/>
                  </a:cubicBezTo>
                  <a:cubicBezTo>
                    <a:pt x="65" y="168"/>
                    <a:pt x="65" y="168"/>
                    <a:pt x="65" y="168"/>
                  </a:cubicBezTo>
                  <a:cubicBezTo>
                    <a:pt x="100" y="87"/>
                    <a:pt x="100" y="87"/>
                    <a:pt x="100" y="87"/>
                  </a:cubicBezTo>
                  <a:cubicBezTo>
                    <a:pt x="93" y="235"/>
                    <a:pt x="93" y="235"/>
                    <a:pt x="93" y="235"/>
                  </a:cubicBezTo>
                  <a:cubicBezTo>
                    <a:pt x="242" y="268"/>
                    <a:pt x="242" y="268"/>
                    <a:pt x="242" y="268"/>
                  </a:cubicBezTo>
                </a:path>
              </a:pathLst>
            </a:custGeom>
            <a:solidFill>
              <a:srgbClr val="EAD1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íşḷîďé">
              <a:extLst>
                <a:ext uri="{FF2B5EF4-FFF2-40B4-BE49-F238E27FC236}">
                  <a16:creationId xmlns:a16="http://schemas.microsoft.com/office/drawing/2014/main" id="{BA2F4A5D-0260-4EC7-BD87-AAE5DF003CB3}"/>
                </a:ext>
              </a:extLst>
            </p:cNvPr>
            <p:cNvSpPr/>
            <p:nvPr/>
          </p:nvSpPr>
          <p:spPr bwMode="auto">
            <a:xfrm>
              <a:off x="4649788" y="4330700"/>
              <a:ext cx="11113" cy="14288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0 w 3"/>
                <a:gd name="T5" fmla="*/ 4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9394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ïśḻïdè">
              <a:extLst>
                <a:ext uri="{FF2B5EF4-FFF2-40B4-BE49-F238E27FC236}">
                  <a16:creationId xmlns:a16="http://schemas.microsoft.com/office/drawing/2014/main" id="{1A3DED84-CAA9-426E-931E-A8563F5068A1}"/>
                </a:ext>
              </a:extLst>
            </p:cNvPr>
            <p:cNvSpPr/>
            <p:nvPr/>
          </p:nvSpPr>
          <p:spPr bwMode="auto">
            <a:xfrm>
              <a:off x="4879975" y="3695700"/>
              <a:ext cx="234950" cy="163513"/>
            </a:xfrm>
            <a:custGeom>
              <a:avLst/>
              <a:gdLst>
                <a:gd name="T0" fmla="*/ 34 w 68"/>
                <a:gd name="T1" fmla="*/ 47 h 47"/>
                <a:gd name="T2" fmla="*/ 68 w 68"/>
                <a:gd name="T3" fmla="*/ 13 h 47"/>
                <a:gd name="T4" fmla="*/ 66 w 68"/>
                <a:gd name="T5" fmla="*/ 2 h 47"/>
                <a:gd name="T6" fmla="*/ 17 w 68"/>
                <a:gd name="T7" fmla="*/ 0 h 47"/>
                <a:gd name="T8" fmla="*/ 2 w 68"/>
                <a:gd name="T9" fmla="*/ 2 h 47"/>
                <a:gd name="T10" fmla="*/ 0 w 68"/>
                <a:gd name="T11" fmla="*/ 13 h 47"/>
                <a:gd name="T12" fmla="*/ 34 w 68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47">
                  <a:moveTo>
                    <a:pt x="34" y="47"/>
                  </a:moveTo>
                  <a:cubicBezTo>
                    <a:pt x="53" y="47"/>
                    <a:pt x="68" y="31"/>
                    <a:pt x="68" y="13"/>
                  </a:cubicBezTo>
                  <a:cubicBezTo>
                    <a:pt x="68" y="9"/>
                    <a:pt x="67" y="5"/>
                    <a:pt x="66" y="2"/>
                  </a:cubicBezTo>
                  <a:cubicBezTo>
                    <a:pt x="49" y="1"/>
                    <a:pt x="27" y="0"/>
                    <a:pt x="17" y="0"/>
                  </a:cubicBezTo>
                  <a:cubicBezTo>
                    <a:pt x="13" y="0"/>
                    <a:pt x="8" y="1"/>
                    <a:pt x="2" y="2"/>
                  </a:cubicBezTo>
                  <a:cubicBezTo>
                    <a:pt x="1" y="6"/>
                    <a:pt x="0" y="9"/>
                    <a:pt x="0" y="13"/>
                  </a:cubicBezTo>
                  <a:cubicBezTo>
                    <a:pt x="0" y="31"/>
                    <a:pt x="15" y="47"/>
                    <a:pt x="34" y="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iśḷîḑè">
              <a:extLst>
                <a:ext uri="{FF2B5EF4-FFF2-40B4-BE49-F238E27FC236}">
                  <a16:creationId xmlns:a16="http://schemas.microsoft.com/office/drawing/2014/main" id="{33D0A45A-5AFA-4816-B90C-501B18D5BB4B}"/>
                </a:ext>
              </a:extLst>
            </p:cNvPr>
            <p:cNvSpPr/>
            <p:nvPr/>
          </p:nvSpPr>
          <p:spPr bwMode="auto">
            <a:xfrm>
              <a:off x="4921250" y="3546475"/>
              <a:ext cx="134938" cy="242888"/>
            </a:xfrm>
            <a:custGeom>
              <a:avLst/>
              <a:gdLst>
                <a:gd name="T0" fmla="*/ 0 w 39"/>
                <a:gd name="T1" fmla="*/ 16 h 70"/>
                <a:gd name="T2" fmla="*/ 12 w 39"/>
                <a:gd name="T3" fmla="*/ 62 h 70"/>
                <a:gd name="T4" fmla="*/ 26 w 39"/>
                <a:gd name="T5" fmla="*/ 69 h 70"/>
                <a:gd name="T6" fmla="*/ 39 w 39"/>
                <a:gd name="T7" fmla="*/ 55 h 70"/>
                <a:gd name="T8" fmla="*/ 23 w 39"/>
                <a:gd name="T9" fmla="*/ 0 h 70"/>
                <a:gd name="T10" fmla="*/ 0 w 39"/>
                <a:gd name="T11" fmla="*/ 1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70">
                  <a:moveTo>
                    <a:pt x="0" y="16"/>
                  </a:moveTo>
                  <a:cubicBezTo>
                    <a:pt x="1" y="19"/>
                    <a:pt x="12" y="62"/>
                    <a:pt x="12" y="62"/>
                  </a:cubicBezTo>
                  <a:cubicBezTo>
                    <a:pt x="12" y="62"/>
                    <a:pt x="16" y="70"/>
                    <a:pt x="26" y="69"/>
                  </a:cubicBezTo>
                  <a:cubicBezTo>
                    <a:pt x="35" y="68"/>
                    <a:pt x="39" y="55"/>
                    <a:pt x="39" y="55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iSḻíḑé">
              <a:extLst>
                <a:ext uri="{FF2B5EF4-FFF2-40B4-BE49-F238E27FC236}">
                  <a16:creationId xmlns:a16="http://schemas.microsoft.com/office/drawing/2014/main" id="{A6FC5DC0-E2FF-4F30-946A-B73AD0B4E6E9}"/>
                </a:ext>
              </a:extLst>
            </p:cNvPr>
            <p:cNvSpPr/>
            <p:nvPr/>
          </p:nvSpPr>
          <p:spPr bwMode="auto">
            <a:xfrm>
              <a:off x="4746625" y="3321050"/>
              <a:ext cx="376238" cy="406400"/>
            </a:xfrm>
            <a:custGeom>
              <a:avLst/>
              <a:gdLst>
                <a:gd name="T0" fmla="*/ 108 w 108"/>
                <a:gd name="T1" fmla="*/ 54 h 117"/>
                <a:gd name="T2" fmla="*/ 47 w 108"/>
                <a:gd name="T3" fmla="*/ 117 h 117"/>
                <a:gd name="T4" fmla="*/ 0 w 108"/>
                <a:gd name="T5" fmla="*/ 54 h 117"/>
                <a:gd name="T6" fmla="*/ 54 w 108"/>
                <a:gd name="T7" fmla="*/ 0 h 117"/>
                <a:gd name="T8" fmla="*/ 108 w 108"/>
                <a:gd name="T9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17">
                  <a:moveTo>
                    <a:pt x="108" y="54"/>
                  </a:moveTo>
                  <a:cubicBezTo>
                    <a:pt x="108" y="84"/>
                    <a:pt x="76" y="117"/>
                    <a:pt x="47" y="117"/>
                  </a:cubicBezTo>
                  <a:cubicBezTo>
                    <a:pt x="17" y="117"/>
                    <a:pt x="0" y="8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i$1idê">
              <a:extLst>
                <a:ext uri="{FF2B5EF4-FFF2-40B4-BE49-F238E27FC236}">
                  <a16:creationId xmlns:a16="http://schemas.microsoft.com/office/drawing/2014/main" id="{3E8855C6-7081-4A61-A63E-9938628BBE10}"/>
                </a:ext>
              </a:extLst>
            </p:cNvPr>
            <p:cNvSpPr/>
            <p:nvPr/>
          </p:nvSpPr>
          <p:spPr bwMode="auto">
            <a:xfrm>
              <a:off x="4719638" y="3314700"/>
              <a:ext cx="423863" cy="419100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í$liďé">
              <a:extLst>
                <a:ext uri="{FF2B5EF4-FFF2-40B4-BE49-F238E27FC236}">
                  <a16:creationId xmlns:a16="http://schemas.microsoft.com/office/drawing/2014/main" id="{6184E6AD-C8BD-40EA-9E5D-669F22422FA9}"/>
                </a:ext>
              </a:extLst>
            </p:cNvPr>
            <p:cNvSpPr/>
            <p:nvPr/>
          </p:nvSpPr>
          <p:spPr bwMode="auto">
            <a:xfrm>
              <a:off x="4716463" y="3584575"/>
              <a:ext cx="100013" cy="96838"/>
            </a:xfrm>
            <a:custGeom>
              <a:avLst/>
              <a:gdLst>
                <a:gd name="T0" fmla="*/ 19 w 29"/>
                <a:gd name="T1" fmla="*/ 28 h 28"/>
                <a:gd name="T2" fmla="*/ 1 w 29"/>
                <a:gd name="T3" fmla="*/ 14 h 28"/>
                <a:gd name="T4" fmla="*/ 2 w 29"/>
                <a:gd name="T5" fmla="*/ 4 h 28"/>
                <a:gd name="T6" fmla="*/ 10 w 29"/>
                <a:gd name="T7" fmla="*/ 0 h 28"/>
                <a:gd name="T8" fmla="*/ 28 w 29"/>
                <a:gd name="T9" fmla="*/ 13 h 28"/>
                <a:gd name="T10" fmla="*/ 27 w 29"/>
                <a:gd name="T11" fmla="*/ 24 h 28"/>
                <a:gd name="T12" fmla="*/ 19 w 29"/>
                <a:gd name="T13" fmla="*/ 28 h 28"/>
                <a:gd name="T14" fmla="*/ 10 w 29"/>
                <a:gd name="T15" fmla="*/ 2 h 28"/>
                <a:gd name="T16" fmla="*/ 4 w 29"/>
                <a:gd name="T17" fmla="*/ 5 h 28"/>
                <a:gd name="T18" fmla="*/ 3 w 29"/>
                <a:gd name="T19" fmla="*/ 13 h 28"/>
                <a:gd name="T20" fmla="*/ 19 w 29"/>
                <a:gd name="T21" fmla="*/ 26 h 28"/>
                <a:gd name="T22" fmla="*/ 25 w 29"/>
                <a:gd name="T23" fmla="*/ 23 h 28"/>
                <a:gd name="T24" fmla="*/ 26 w 29"/>
                <a:gd name="T25" fmla="*/ 14 h 28"/>
                <a:gd name="T26" fmla="*/ 10 w 29"/>
                <a:gd name="T27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28">
                  <a:moveTo>
                    <a:pt x="19" y="28"/>
                  </a:moveTo>
                  <a:cubicBezTo>
                    <a:pt x="12" y="28"/>
                    <a:pt x="4" y="22"/>
                    <a:pt x="1" y="14"/>
                  </a:cubicBezTo>
                  <a:cubicBezTo>
                    <a:pt x="0" y="10"/>
                    <a:pt x="0" y="6"/>
                    <a:pt x="2" y="4"/>
                  </a:cubicBezTo>
                  <a:cubicBezTo>
                    <a:pt x="4" y="1"/>
                    <a:pt x="6" y="0"/>
                    <a:pt x="10" y="0"/>
                  </a:cubicBezTo>
                  <a:cubicBezTo>
                    <a:pt x="17" y="0"/>
                    <a:pt x="25" y="6"/>
                    <a:pt x="28" y="13"/>
                  </a:cubicBezTo>
                  <a:cubicBezTo>
                    <a:pt x="29" y="17"/>
                    <a:pt x="29" y="21"/>
                    <a:pt x="27" y="24"/>
                  </a:cubicBezTo>
                  <a:cubicBezTo>
                    <a:pt x="25" y="26"/>
                    <a:pt x="22" y="28"/>
                    <a:pt x="19" y="28"/>
                  </a:cubicBezTo>
                  <a:close/>
                  <a:moveTo>
                    <a:pt x="10" y="2"/>
                  </a:moveTo>
                  <a:cubicBezTo>
                    <a:pt x="7" y="2"/>
                    <a:pt x="5" y="3"/>
                    <a:pt x="4" y="5"/>
                  </a:cubicBezTo>
                  <a:cubicBezTo>
                    <a:pt x="2" y="7"/>
                    <a:pt x="2" y="10"/>
                    <a:pt x="3" y="13"/>
                  </a:cubicBezTo>
                  <a:cubicBezTo>
                    <a:pt x="5" y="20"/>
                    <a:pt x="13" y="26"/>
                    <a:pt x="19" y="26"/>
                  </a:cubicBezTo>
                  <a:cubicBezTo>
                    <a:pt x="22" y="26"/>
                    <a:pt x="24" y="25"/>
                    <a:pt x="25" y="23"/>
                  </a:cubicBezTo>
                  <a:cubicBezTo>
                    <a:pt x="26" y="21"/>
                    <a:pt x="27" y="18"/>
                    <a:pt x="26" y="14"/>
                  </a:cubicBezTo>
                  <a:cubicBezTo>
                    <a:pt x="23" y="8"/>
                    <a:pt x="16" y="2"/>
                    <a:pt x="10" y="2"/>
                  </a:cubicBezTo>
                  <a:close/>
                </a:path>
              </a:pathLst>
            </a:custGeom>
            <a:solidFill>
              <a:srgbClr val="EF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îs1îḋe">
              <a:extLst>
                <a:ext uri="{FF2B5EF4-FFF2-40B4-BE49-F238E27FC236}">
                  <a16:creationId xmlns:a16="http://schemas.microsoft.com/office/drawing/2014/main" id="{CFAD3F6D-B7A2-452E-B37B-A4431D1E5BC8}"/>
                </a:ext>
              </a:extLst>
            </p:cNvPr>
            <p:cNvSpPr/>
            <p:nvPr/>
          </p:nvSpPr>
          <p:spPr bwMode="auto">
            <a:xfrm>
              <a:off x="4841875" y="3584575"/>
              <a:ext cx="100013" cy="96838"/>
            </a:xfrm>
            <a:custGeom>
              <a:avLst/>
              <a:gdLst>
                <a:gd name="T0" fmla="*/ 19 w 29"/>
                <a:gd name="T1" fmla="*/ 28 h 28"/>
                <a:gd name="T2" fmla="*/ 1 w 29"/>
                <a:gd name="T3" fmla="*/ 14 h 28"/>
                <a:gd name="T4" fmla="*/ 2 w 29"/>
                <a:gd name="T5" fmla="*/ 4 h 28"/>
                <a:gd name="T6" fmla="*/ 10 w 29"/>
                <a:gd name="T7" fmla="*/ 0 h 28"/>
                <a:gd name="T8" fmla="*/ 27 w 29"/>
                <a:gd name="T9" fmla="*/ 13 h 28"/>
                <a:gd name="T10" fmla="*/ 27 w 29"/>
                <a:gd name="T11" fmla="*/ 24 h 28"/>
                <a:gd name="T12" fmla="*/ 19 w 29"/>
                <a:gd name="T13" fmla="*/ 28 h 28"/>
                <a:gd name="T14" fmla="*/ 10 w 29"/>
                <a:gd name="T15" fmla="*/ 2 h 28"/>
                <a:gd name="T16" fmla="*/ 3 w 29"/>
                <a:gd name="T17" fmla="*/ 5 h 28"/>
                <a:gd name="T18" fmla="*/ 3 w 29"/>
                <a:gd name="T19" fmla="*/ 13 h 28"/>
                <a:gd name="T20" fmla="*/ 19 w 29"/>
                <a:gd name="T21" fmla="*/ 26 h 28"/>
                <a:gd name="T22" fmla="*/ 25 w 29"/>
                <a:gd name="T23" fmla="*/ 23 h 28"/>
                <a:gd name="T24" fmla="*/ 25 w 29"/>
                <a:gd name="T25" fmla="*/ 14 h 28"/>
                <a:gd name="T26" fmla="*/ 10 w 29"/>
                <a:gd name="T27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28">
                  <a:moveTo>
                    <a:pt x="19" y="28"/>
                  </a:moveTo>
                  <a:cubicBezTo>
                    <a:pt x="12" y="28"/>
                    <a:pt x="4" y="22"/>
                    <a:pt x="1" y="14"/>
                  </a:cubicBezTo>
                  <a:cubicBezTo>
                    <a:pt x="0" y="10"/>
                    <a:pt x="0" y="6"/>
                    <a:pt x="2" y="4"/>
                  </a:cubicBezTo>
                  <a:cubicBezTo>
                    <a:pt x="3" y="1"/>
                    <a:pt x="6" y="0"/>
                    <a:pt x="10" y="0"/>
                  </a:cubicBezTo>
                  <a:cubicBezTo>
                    <a:pt x="17" y="0"/>
                    <a:pt x="25" y="6"/>
                    <a:pt x="27" y="13"/>
                  </a:cubicBezTo>
                  <a:cubicBezTo>
                    <a:pt x="29" y="17"/>
                    <a:pt x="28" y="21"/>
                    <a:pt x="27" y="24"/>
                  </a:cubicBezTo>
                  <a:cubicBezTo>
                    <a:pt x="25" y="26"/>
                    <a:pt x="22" y="28"/>
                    <a:pt x="19" y="28"/>
                  </a:cubicBezTo>
                  <a:close/>
                  <a:moveTo>
                    <a:pt x="10" y="2"/>
                  </a:moveTo>
                  <a:cubicBezTo>
                    <a:pt x="7" y="2"/>
                    <a:pt x="5" y="3"/>
                    <a:pt x="3" y="5"/>
                  </a:cubicBezTo>
                  <a:cubicBezTo>
                    <a:pt x="2" y="7"/>
                    <a:pt x="2" y="10"/>
                    <a:pt x="3" y="13"/>
                  </a:cubicBezTo>
                  <a:cubicBezTo>
                    <a:pt x="5" y="20"/>
                    <a:pt x="12" y="26"/>
                    <a:pt x="19" y="26"/>
                  </a:cubicBezTo>
                  <a:cubicBezTo>
                    <a:pt x="21" y="26"/>
                    <a:pt x="24" y="25"/>
                    <a:pt x="25" y="23"/>
                  </a:cubicBezTo>
                  <a:cubicBezTo>
                    <a:pt x="26" y="21"/>
                    <a:pt x="27" y="18"/>
                    <a:pt x="25" y="14"/>
                  </a:cubicBezTo>
                  <a:cubicBezTo>
                    <a:pt x="23" y="8"/>
                    <a:pt x="16" y="2"/>
                    <a:pt x="10" y="2"/>
                  </a:cubicBezTo>
                  <a:close/>
                </a:path>
              </a:pathLst>
            </a:custGeom>
            <a:solidFill>
              <a:srgbClr val="EF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îşlîḋe">
              <a:extLst>
                <a:ext uri="{FF2B5EF4-FFF2-40B4-BE49-F238E27FC236}">
                  <a16:creationId xmlns:a16="http://schemas.microsoft.com/office/drawing/2014/main" id="{E081F097-C4A8-463A-B012-218E02BE6693}"/>
                </a:ext>
              </a:extLst>
            </p:cNvPr>
            <p:cNvSpPr/>
            <p:nvPr/>
          </p:nvSpPr>
          <p:spPr bwMode="auto">
            <a:xfrm>
              <a:off x="4786313" y="3636963"/>
              <a:ext cx="20638" cy="23813"/>
            </a:xfrm>
            <a:custGeom>
              <a:avLst/>
              <a:gdLst>
                <a:gd name="T0" fmla="*/ 5 w 6"/>
                <a:gd name="T1" fmla="*/ 3 h 7"/>
                <a:gd name="T2" fmla="*/ 5 w 6"/>
                <a:gd name="T3" fmla="*/ 7 h 7"/>
                <a:gd name="T4" fmla="*/ 1 w 6"/>
                <a:gd name="T5" fmla="*/ 5 h 7"/>
                <a:gd name="T6" fmla="*/ 1 w 6"/>
                <a:gd name="T7" fmla="*/ 1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cubicBezTo>
                    <a:pt x="6" y="4"/>
                    <a:pt x="6" y="6"/>
                    <a:pt x="5" y="7"/>
                  </a:cubicBezTo>
                  <a:cubicBezTo>
                    <a:pt x="4" y="7"/>
                    <a:pt x="2" y="7"/>
                    <a:pt x="1" y="5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4" y="1"/>
                    <a:pt x="5" y="3"/>
                  </a:cubicBezTo>
                  <a:close/>
                </a:path>
              </a:pathLst>
            </a:custGeom>
            <a:solidFill>
              <a:srgbClr val="2D2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íṡlïďè">
              <a:extLst>
                <a:ext uri="{FF2B5EF4-FFF2-40B4-BE49-F238E27FC236}">
                  <a16:creationId xmlns:a16="http://schemas.microsoft.com/office/drawing/2014/main" id="{C3D44BE2-9CF7-4FBD-83A3-50B0D138AC8C}"/>
                </a:ext>
              </a:extLst>
            </p:cNvPr>
            <p:cNvSpPr/>
            <p:nvPr/>
          </p:nvSpPr>
          <p:spPr bwMode="auto">
            <a:xfrm>
              <a:off x="4879975" y="3640138"/>
              <a:ext cx="20638" cy="28575"/>
            </a:xfrm>
            <a:custGeom>
              <a:avLst/>
              <a:gdLst>
                <a:gd name="T0" fmla="*/ 5 w 6"/>
                <a:gd name="T1" fmla="*/ 3 h 8"/>
                <a:gd name="T2" fmla="*/ 5 w 6"/>
                <a:gd name="T3" fmla="*/ 7 h 8"/>
                <a:gd name="T4" fmla="*/ 1 w 6"/>
                <a:gd name="T5" fmla="*/ 5 h 8"/>
                <a:gd name="T6" fmla="*/ 1 w 6"/>
                <a:gd name="T7" fmla="*/ 1 h 8"/>
                <a:gd name="T8" fmla="*/ 5 w 6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5" y="3"/>
                  </a:moveTo>
                  <a:cubicBezTo>
                    <a:pt x="6" y="5"/>
                    <a:pt x="6" y="6"/>
                    <a:pt x="5" y="7"/>
                  </a:cubicBezTo>
                  <a:cubicBezTo>
                    <a:pt x="4" y="8"/>
                    <a:pt x="2" y="7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4" y="1"/>
                    <a:pt x="5" y="3"/>
                  </a:cubicBezTo>
                  <a:close/>
                </a:path>
              </a:pathLst>
            </a:custGeom>
            <a:solidFill>
              <a:srgbClr val="2D2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iSľiḍé">
              <a:extLst>
                <a:ext uri="{FF2B5EF4-FFF2-40B4-BE49-F238E27FC236}">
                  <a16:creationId xmlns:a16="http://schemas.microsoft.com/office/drawing/2014/main" id="{1B8E101F-7615-4DBA-8F9E-E21D00AE2F85}"/>
                </a:ext>
              </a:extLst>
            </p:cNvPr>
            <p:cNvSpPr/>
            <p:nvPr/>
          </p:nvSpPr>
          <p:spPr bwMode="auto">
            <a:xfrm>
              <a:off x="4725988" y="4500563"/>
              <a:ext cx="257175" cy="107950"/>
            </a:xfrm>
            <a:custGeom>
              <a:avLst/>
              <a:gdLst>
                <a:gd name="T0" fmla="*/ 70 w 74"/>
                <a:gd name="T1" fmla="*/ 10 h 31"/>
                <a:gd name="T2" fmla="*/ 34 w 74"/>
                <a:gd name="T3" fmla="*/ 0 h 31"/>
                <a:gd name="T4" fmla="*/ 2 w 74"/>
                <a:gd name="T5" fmla="*/ 15 h 31"/>
                <a:gd name="T6" fmla="*/ 9 w 74"/>
                <a:gd name="T7" fmla="*/ 21 h 31"/>
                <a:gd name="T8" fmla="*/ 8 w 74"/>
                <a:gd name="T9" fmla="*/ 27 h 31"/>
                <a:gd name="T10" fmla="*/ 20 w 74"/>
                <a:gd name="T11" fmla="*/ 29 h 31"/>
                <a:gd name="T12" fmla="*/ 74 w 74"/>
                <a:gd name="T13" fmla="*/ 28 h 31"/>
                <a:gd name="T14" fmla="*/ 70 w 74"/>
                <a:gd name="T15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31">
                  <a:moveTo>
                    <a:pt x="70" y="10"/>
                  </a:moveTo>
                  <a:cubicBezTo>
                    <a:pt x="68" y="10"/>
                    <a:pt x="48" y="0"/>
                    <a:pt x="34" y="0"/>
                  </a:cubicBezTo>
                  <a:cubicBezTo>
                    <a:pt x="20" y="0"/>
                    <a:pt x="2" y="15"/>
                    <a:pt x="2" y="15"/>
                  </a:cubicBezTo>
                  <a:cubicBezTo>
                    <a:pt x="2" y="15"/>
                    <a:pt x="0" y="23"/>
                    <a:pt x="9" y="21"/>
                  </a:cubicBezTo>
                  <a:cubicBezTo>
                    <a:pt x="19" y="20"/>
                    <a:pt x="8" y="27"/>
                    <a:pt x="8" y="27"/>
                  </a:cubicBezTo>
                  <a:cubicBezTo>
                    <a:pt x="8" y="27"/>
                    <a:pt x="9" y="28"/>
                    <a:pt x="20" y="29"/>
                  </a:cubicBezTo>
                  <a:cubicBezTo>
                    <a:pt x="31" y="31"/>
                    <a:pt x="74" y="28"/>
                    <a:pt x="74" y="28"/>
                  </a:cubicBezTo>
                  <a:lnTo>
                    <a:pt x="70" y="10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íṣlïḑê">
              <a:extLst>
                <a:ext uri="{FF2B5EF4-FFF2-40B4-BE49-F238E27FC236}">
                  <a16:creationId xmlns:a16="http://schemas.microsoft.com/office/drawing/2014/main" id="{A2045EB5-B246-4BB0-9569-AD71CF556370}"/>
                </a:ext>
              </a:extLst>
            </p:cNvPr>
            <p:cNvSpPr/>
            <p:nvPr/>
          </p:nvSpPr>
          <p:spPr bwMode="auto">
            <a:xfrm>
              <a:off x="4973638" y="3706813"/>
              <a:ext cx="412750" cy="892175"/>
            </a:xfrm>
            <a:custGeom>
              <a:avLst/>
              <a:gdLst>
                <a:gd name="T0" fmla="*/ 63 w 119"/>
                <a:gd name="T1" fmla="*/ 0 h 257"/>
                <a:gd name="T2" fmla="*/ 71 w 119"/>
                <a:gd name="T3" fmla="*/ 174 h 257"/>
                <a:gd name="T4" fmla="*/ 0 w 119"/>
                <a:gd name="T5" fmla="*/ 239 h 257"/>
                <a:gd name="T6" fmla="*/ 3 w 119"/>
                <a:gd name="T7" fmla="*/ 257 h 257"/>
                <a:gd name="T8" fmla="*/ 104 w 119"/>
                <a:gd name="T9" fmla="*/ 204 h 257"/>
                <a:gd name="T10" fmla="*/ 117 w 119"/>
                <a:gd name="T11" fmla="*/ 177 h 257"/>
                <a:gd name="T12" fmla="*/ 99 w 119"/>
                <a:gd name="T13" fmla="*/ 44 h 257"/>
                <a:gd name="T14" fmla="*/ 72 w 119"/>
                <a:gd name="T15" fmla="*/ 5 h 257"/>
                <a:gd name="T16" fmla="*/ 63 w 119"/>
                <a:gd name="T17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257">
                  <a:moveTo>
                    <a:pt x="63" y="0"/>
                  </a:moveTo>
                  <a:cubicBezTo>
                    <a:pt x="71" y="174"/>
                    <a:pt x="71" y="174"/>
                    <a:pt x="71" y="174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3" y="257"/>
                    <a:pt x="3" y="257"/>
                    <a:pt x="3" y="257"/>
                  </a:cubicBezTo>
                  <a:cubicBezTo>
                    <a:pt x="104" y="204"/>
                    <a:pt x="104" y="204"/>
                    <a:pt x="104" y="204"/>
                  </a:cubicBezTo>
                  <a:cubicBezTo>
                    <a:pt x="113" y="198"/>
                    <a:pt x="119" y="188"/>
                    <a:pt x="117" y="177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7" y="27"/>
                    <a:pt x="87" y="12"/>
                    <a:pt x="72" y="5"/>
                  </a:cubicBezTo>
                  <a:lnTo>
                    <a:pt x="63" y="0"/>
                  </a:lnTo>
                  <a:close/>
                </a:path>
              </a:pathLst>
            </a:custGeom>
            <a:solidFill>
              <a:srgbClr val="EAD1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i$ľiďè">
              <a:extLst>
                <a:ext uri="{FF2B5EF4-FFF2-40B4-BE49-F238E27FC236}">
                  <a16:creationId xmlns:a16="http://schemas.microsoft.com/office/drawing/2014/main" id="{CC119A91-35AB-4788-86A6-CCD082A5ECAE}"/>
                </a:ext>
              </a:extLst>
            </p:cNvPr>
            <p:cNvSpPr/>
            <p:nvPr/>
          </p:nvSpPr>
          <p:spPr bwMode="auto">
            <a:xfrm>
              <a:off x="4365625" y="4605338"/>
              <a:ext cx="652463" cy="44450"/>
            </a:xfrm>
            <a:custGeom>
              <a:avLst/>
              <a:gdLst>
                <a:gd name="T0" fmla="*/ 182 w 188"/>
                <a:gd name="T1" fmla="*/ 13 h 13"/>
                <a:gd name="T2" fmla="*/ 0 w 188"/>
                <a:gd name="T3" fmla="*/ 13 h 13"/>
                <a:gd name="T4" fmla="*/ 0 w 188"/>
                <a:gd name="T5" fmla="*/ 0 h 13"/>
                <a:gd name="T6" fmla="*/ 182 w 188"/>
                <a:gd name="T7" fmla="*/ 0 h 13"/>
                <a:gd name="T8" fmla="*/ 188 w 188"/>
                <a:gd name="T9" fmla="*/ 7 h 13"/>
                <a:gd name="T10" fmla="*/ 182 w 188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13">
                  <a:moveTo>
                    <a:pt x="182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5" y="0"/>
                    <a:pt x="188" y="3"/>
                    <a:pt x="188" y="7"/>
                  </a:cubicBezTo>
                  <a:cubicBezTo>
                    <a:pt x="188" y="10"/>
                    <a:pt x="185" y="13"/>
                    <a:pt x="18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íṥḷïďé">
              <a:extLst>
                <a:ext uri="{FF2B5EF4-FFF2-40B4-BE49-F238E27FC236}">
                  <a16:creationId xmlns:a16="http://schemas.microsoft.com/office/drawing/2014/main" id="{00A7218E-9ED8-4E95-A89B-31CFAA3A6AC5}"/>
                </a:ext>
              </a:extLst>
            </p:cNvPr>
            <p:cNvSpPr/>
            <p:nvPr/>
          </p:nvSpPr>
          <p:spPr bwMode="auto">
            <a:xfrm>
              <a:off x="4038600" y="4125913"/>
              <a:ext cx="785813" cy="523875"/>
            </a:xfrm>
            <a:custGeom>
              <a:avLst/>
              <a:gdLst>
                <a:gd name="T0" fmla="*/ 226 w 226"/>
                <a:gd name="T1" fmla="*/ 151 h 151"/>
                <a:gd name="T2" fmla="*/ 50 w 226"/>
                <a:gd name="T3" fmla="*/ 151 h 151"/>
                <a:gd name="T4" fmla="*/ 34 w 226"/>
                <a:gd name="T5" fmla="*/ 139 h 151"/>
                <a:gd name="T6" fmla="*/ 3 w 226"/>
                <a:gd name="T7" fmla="*/ 22 h 151"/>
                <a:gd name="T8" fmla="*/ 19 w 226"/>
                <a:gd name="T9" fmla="*/ 0 h 151"/>
                <a:gd name="T10" fmla="*/ 172 w 226"/>
                <a:gd name="T11" fmla="*/ 0 h 151"/>
                <a:gd name="T12" fmla="*/ 189 w 226"/>
                <a:gd name="T13" fmla="*/ 13 h 151"/>
                <a:gd name="T14" fmla="*/ 226 w 226"/>
                <a:gd name="T1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6" h="151">
                  <a:moveTo>
                    <a:pt x="226" y="151"/>
                  </a:moveTo>
                  <a:cubicBezTo>
                    <a:pt x="50" y="151"/>
                    <a:pt x="50" y="151"/>
                    <a:pt x="50" y="151"/>
                  </a:cubicBezTo>
                  <a:cubicBezTo>
                    <a:pt x="42" y="151"/>
                    <a:pt x="36" y="146"/>
                    <a:pt x="34" y="139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0" y="11"/>
                    <a:pt x="8" y="0"/>
                    <a:pt x="19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0" y="0"/>
                    <a:pt x="187" y="5"/>
                    <a:pt x="189" y="13"/>
                  </a:cubicBezTo>
                  <a:lnTo>
                    <a:pt x="226" y="1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íṥḻïďé">
              <a:extLst>
                <a:ext uri="{FF2B5EF4-FFF2-40B4-BE49-F238E27FC236}">
                  <a16:creationId xmlns:a16="http://schemas.microsoft.com/office/drawing/2014/main" id="{8D3DA357-789D-46AA-823E-DDF8AC3384BF}"/>
                </a:ext>
              </a:extLst>
            </p:cNvPr>
            <p:cNvSpPr/>
            <p:nvPr/>
          </p:nvSpPr>
          <p:spPr bwMode="auto">
            <a:xfrm>
              <a:off x="4038600" y="4125913"/>
              <a:ext cx="508000" cy="511175"/>
            </a:xfrm>
            <a:custGeom>
              <a:avLst/>
              <a:gdLst>
                <a:gd name="T0" fmla="*/ 19 w 146"/>
                <a:gd name="T1" fmla="*/ 0 h 147"/>
                <a:gd name="T2" fmla="*/ 3 w 146"/>
                <a:gd name="T3" fmla="*/ 22 h 147"/>
                <a:gd name="T4" fmla="*/ 34 w 146"/>
                <a:gd name="T5" fmla="*/ 139 h 147"/>
                <a:gd name="T6" fmla="*/ 39 w 146"/>
                <a:gd name="T7" fmla="*/ 147 h 147"/>
                <a:gd name="T8" fmla="*/ 146 w 146"/>
                <a:gd name="T9" fmla="*/ 0 h 147"/>
                <a:gd name="T10" fmla="*/ 19 w 146"/>
                <a:gd name="T11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" h="147">
                  <a:moveTo>
                    <a:pt x="19" y="0"/>
                  </a:moveTo>
                  <a:cubicBezTo>
                    <a:pt x="8" y="0"/>
                    <a:pt x="0" y="11"/>
                    <a:pt x="3" y="22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4" y="142"/>
                    <a:pt x="37" y="145"/>
                    <a:pt x="39" y="147"/>
                  </a:cubicBezTo>
                  <a:cubicBezTo>
                    <a:pt x="146" y="0"/>
                    <a:pt x="146" y="0"/>
                    <a:pt x="146" y="0"/>
                  </a:cubicBezTo>
                  <a:lnTo>
                    <a:pt x="19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3000"/>
                  </a:schemeClr>
                </a:gs>
                <a:gs pos="0">
                  <a:srgbClr val="D0DDFE"/>
                </a:gs>
              </a:gsLst>
              <a:lin ang="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îṩlïdê">
              <a:extLst>
                <a:ext uri="{FF2B5EF4-FFF2-40B4-BE49-F238E27FC236}">
                  <a16:creationId xmlns:a16="http://schemas.microsoft.com/office/drawing/2014/main" id="{437BB1DC-592D-4B94-8AA9-CBC0730D3260}"/>
                </a:ext>
              </a:extLst>
            </p:cNvPr>
            <p:cNvSpPr/>
            <p:nvPr/>
          </p:nvSpPr>
          <p:spPr bwMode="auto">
            <a:xfrm>
              <a:off x="4357688" y="4376738"/>
              <a:ext cx="111125" cy="96838"/>
            </a:xfrm>
            <a:custGeom>
              <a:avLst/>
              <a:gdLst>
                <a:gd name="T0" fmla="*/ 30 w 32"/>
                <a:gd name="T1" fmla="*/ 14 h 28"/>
                <a:gd name="T2" fmla="*/ 20 w 32"/>
                <a:gd name="T3" fmla="*/ 28 h 28"/>
                <a:gd name="T4" fmla="*/ 2 w 32"/>
                <a:gd name="T5" fmla="*/ 14 h 28"/>
                <a:gd name="T6" fmla="*/ 13 w 32"/>
                <a:gd name="T7" fmla="*/ 0 h 28"/>
                <a:gd name="T8" fmla="*/ 30 w 3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8">
                  <a:moveTo>
                    <a:pt x="30" y="14"/>
                  </a:moveTo>
                  <a:cubicBezTo>
                    <a:pt x="32" y="22"/>
                    <a:pt x="27" y="28"/>
                    <a:pt x="20" y="28"/>
                  </a:cubicBezTo>
                  <a:cubicBezTo>
                    <a:pt x="12" y="28"/>
                    <a:pt x="4" y="22"/>
                    <a:pt x="2" y="14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20" y="0"/>
                    <a:pt x="28" y="6"/>
                    <a:pt x="30" y="14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íṥļíḋé">
              <a:extLst>
                <a:ext uri="{FF2B5EF4-FFF2-40B4-BE49-F238E27FC236}">
                  <a16:creationId xmlns:a16="http://schemas.microsoft.com/office/drawing/2014/main" id="{C6EF458D-67F8-4060-A330-DAE1173D8656}"/>
                </a:ext>
              </a:extLst>
            </p:cNvPr>
            <p:cNvSpPr/>
            <p:nvPr/>
          </p:nvSpPr>
          <p:spPr bwMode="auto">
            <a:xfrm>
              <a:off x="4719638" y="3314700"/>
              <a:ext cx="423863" cy="304800"/>
            </a:xfrm>
            <a:custGeom>
              <a:avLst/>
              <a:gdLst>
                <a:gd name="T0" fmla="*/ 61 w 122"/>
                <a:gd name="T1" fmla="*/ 0 h 88"/>
                <a:gd name="T2" fmla="*/ 0 w 122"/>
                <a:gd name="T3" fmla="*/ 54 h 88"/>
                <a:gd name="T4" fmla="*/ 38 w 122"/>
                <a:gd name="T5" fmla="*/ 63 h 88"/>
                <a:gd name="T6" fmla="*/ 74 w 122"/>
                <a:gd name="T7" fmla="*/ 35 h 88"/>
                <a:gd name="T8" fmla="*/ 74 w 122"/>
                <a:gd name="T9" fmla="*/ 55 h 88"/>
                <a:gd name="T10" fmla="*/ 83 w 122"/>
                <a:gd name="T11" fmla="*/ 73 h 88"/>
                <a:gd name="T12" fmla="*/ 86 w 122"/>
                <a:gd name="T13" fmla="*/ 59 h 88"/>
                <a:gd name="T14" fmla="*/ 98 w 122"/>
                <a:gd name="T15" fmla="*/ 54 h 88"/>
                <a:gd name="T16" fmla="*/ 104 w 122"/>
                <a:gd name="T17" fmla="*/ 62 h 88"/>
                <a:gd name="T18" fmla="*/ 102 w 122"/>
                <a:gd name="T19" fmla="*/ 72 h 88"/>
                <a:gd name="T20" fmla="*/ 94 w 122"/>
                <a:gd name="T21" fmla="*/ 86 h 88"/>
                <a:gd name="T22" fmla="*/ 116 w 122"/>
                <a:gd name="T23" fmla="*/ 87 h 88"/>
                <a:gd name="T24" fmla="*/ 122 w 122"/>
                <a:gd name="T25" fmla="*/ 61 h 88"/>
                <a:gd name="T26" fmla="*/ 61 w 122"/>
                <a:gd name="T2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2" h="88">
                  <a:moveTo>
                    <a:pt x="61" y="0"/>
                  </a:moveTo>
                  <a:cubicBezTo>
                    <a:pt x="30" y="0"/>
                    <a:pt x="4" y="23"/>
                    <a:pt x="0" y="54"/>
                  </a:cubicBezTo>
                  <a:cubicBezTo>
                    <a:pt x="11" y="61"/>
                    <a:pt x="25" y="65"/>
                    <a:pt x="38" y="63"/>
                  </a:cubicBezTo>
                  <a:cubicBezTo>
                    <a:pt x="53" y="60"/>
                    <a:pt x="67" y="49"/>
                    <a:pt x="74" y="35"/>
                  </a:cubicBezTo>
                  <a:cubicBezTo>
                    <a:pt x="73" y="42"/>
                    <a:pt x="73" y="49"/>
                    <a:pt x="74" y="55"/>
                  </a:cubicBezTo>
                  <a:cubicBezTo>
                    <a:pt x="75" y="62"/>
                    <a:pt x="78" y="69"/>
                    <a:pt x="83" y="73"/>
                  </a:cubicBezTo>
                  <a:cubicBezTo>
                    <a:pt x="83" y="68"/>
                    <a:pt x="84" y="63"/>
                    <a:pt x="86" y="59"/>
                  </a:cubicBezTo>
                  <a:cubicBezTo>
                    <a:pt x="89" y="55"/>
                    <a:pt x="94" y="52"/>
                    <a:pt x="98" y="54"/>
                  </a:cubicBezTo>
                  <a:cubicBezTo>
                    <a:pt x="101" y="55"/>
                    <a:pt x="103" y="59"/>
                    <a:pt x="104" y="62"/>
                  </a:cubicBezTo>
                  <a:cubicBezTo>
                    <a:pt x="104" y="65"/>
                    <a:pt x="104" y="69"/>
                    <a:pt x="102" y="72"/>
                  </a:cubicBezTo>
                  <a:cubicBezTo>
                    <a:pt x="100" y="77"/>
                    <a:pt x="97" y="82"/>
                    <a:pt x="94" y="86"/>
                  </a:cubicBezTo>
                  <a:cubicBezTo>
                    <a:pt x="101" y="87"/>
                    <a:pt x="109" y="88"/>
                    <a:pt x="116" y="87"/>
                  </a:cubicBezTo>
                  <a:cubicBezTo>
                    <a:pt x="120" y="79"/>
                    <a:pt x="122" y="70"/>
                    <a:pt x="122" y="61"/>
                  </a:cubicBezTo>
                  <a:cubicBezTo>
                    <a:pt x="122" y="27"/>
                    <a:pt x="95" y="0"/>
                    <a:pt x="61" y="0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ïṣľiḓe">
              <a:extLst>
                <a:ext uri="{FF2B5EF4-FFF2-40B4-BE49-F238E27FC236}">
                  <a16:creationId xmlns:a16="http://schemas.microsoft.com/office/drawing/2014/main" id="{B470418C-8C38-46D1-8C4D-31D21764AC32}"/>
                </a:ext>
              </a:extLst>
            </p:cNvPr>
            <p:cNvSpPr/>
            <p:nvPr/>
          </p:nvSpPr>
          <p:spPr bwMode="auto">
            <a:xfrm>
              <a:off x="4983163" y="3494088"/>
              <a:ext cx="128588" cy="128588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ïśľïḑè">
              <a:extLst>
                <a:ext uri="{FF2B5EF4-FFF2-40B4-BE49-F238E27FC236}">
                  <a16:creationId xmlns:a16="http://schemas.microsoft.com/office/drawing/2014/main" id="{BEB72AB8-61FD-47B5-834C-2673C21D056A}"/>
                </a:ext>
              </a:extLst>
            </p:cNvPr>
            <p:cNvSpPr/>
            <p:nvPr/>
          </p:nvSpPr>
          <p:spPr bwMode="auto">
            <a:xfrm>
              <a:off x="4629150" y="5473700"/>
              <a:ext cx="87313" cy="88900"/>
            </a:xfrm>
            <a:custGeom>
              <a:avLst/>
              <a:gdLst>
                <a:gd name="T0" fmla="*/ 46 w 55"/>
                <a:gd name="T1" fmla="*/ 0 h 56"/>
                <a:gd name="T2" fmla="*/ 55 w 55"/>
                <a:gd name="T3" fmla="*/ 43 h 56"/>
                <a:gd name="T4" fmla="*/ 11 w 55"/>
                <a:gd name="T5" fmla="*/ 56 h 56"/>
                <a:gd name="T6" fmla="*/ 0 w 55"/>
                <a:gd name="T7" fmla="*/ 15 h 56"/>
                <a:gd name="T8" fmla="*/ 46 w 55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6">
                  <a:moveTo>
                    <a:pt x="46" y="0"/>
                  </a:moveTo>
                  <a:lnTo>
                    <a:pt x="55" y="43"/>
                  </a:lnTo>
                  <a:lnTo>
                    <a:pt x="11" y="56"/>
                  </a:lnTo>
                  <a:lnTo>
                    <a:pt x="0" y="15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îślîḑê">
              <a:extLst>
                <a:ext uri="{FF2B5EF4-FFF2-40B4-BE49-F238E27FC236}">
                  <a16:creationId xmlns:a16="http://schemas.microsoft.com/office/drawing/2014/main" id="{4EF954E6-11FA-4C6A-9EA1-DBB023DF584D}"/>
                </a:ext>
              </a:extLst>
            </p:cNvPr>
            <p:cNvSpPr/>
            <p:nvPr/>
          </p:nvSpPr>
          <p:spPr bwMode="auto">
            <a:xfrm>
              <a:off x="4806950" y="5486400"/>
              <a:ext cx="58738" cy="87313"/>
            </a:xfrm>
            <a:custGeom>
              <a:avLst/>
              <a:gdLst>
                <a:gd name="T0" fmla="*/ 0 w 37"/>
                <a:gd name="T1" fmla="*/ 48 h 55"/>
                <a:gd name="T2" fmla="*/ 35 w 37"/>
                <a:gd name="T3" fmla="*/ 55 h 55"/>
                <a:gd name="T4" fmla="*/ 37 w 37"/>
                <a:gd name="T5" fmla="*/ 9 h 55"/>
                <a:gd name="T6" fmla="*/ 0 w 37"/>
                <a:gd name="T7" fmla="*/ 0 h 55"/>
                <a:gd name="T8" fmla="*/ 0 w 37"/>
                <a:gd name="T9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55">
                  <a:moveTo>
                    <a:pt x="0" y="48"/>
                  </a:moveTo>
                  <a:lnTo>
                    <a:pt x="35" y="55"/>
                  </a:lnTo>
                  <a:lnTo>
                    <a:pt x="37" y="9"/>
                  </a:lnTo>
                  <a:lnTo>
                    <a:pt x="0" y="0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ïṣḷîḋe">
              <a:extLst>
                <a:ext uri="{FF2B5EF4-FFF2-40B4-BE49-F238E27FC236}">
                  <a16:creationId xmlns:a16="http://schemas.microsoft.com/office/drawing/2014/main" id="{8612EF9C-9ACF-4419-B95C-AB68BA30B83D}"/>
                </a:ext>
              </a:extLst>
            </p:cNvPr>
            <p:cNvSpPr/>
            <p:nvPr/>
          </p:nvSpPr>
          <p:spPr bwMode="auto">
            <a:xfrm>
              <a:off x="7616825" y="5465763"/>
              <a:ext cx="101600" cy="444500"/>
            </a:xfrm>
            <a:custGeom>
              <a:avLst/>
              <a:gdLst>
                <a:gd name="T0" fmla="*/ 18 w 29"/>
                <a:gd name="T1" fmla="*/ 6 h 128"/>
                <a:gd name="T2" fmla="*/ 17 w 29"/>
                <a:gd name="T3" fmla="*/ 35 h 128"/>
                <a:gd name="T4" fmla="*/ 24 w 29"/>
                <a:gd name="T5" fmla="*/ 73 h 128"/>
                <a:gd name="T6" fmla="*/ 26 w 29"/>
                <a:gd name="T7" fmla="*/ 118 h 128"/>
                <a:gd name="T8" fmla="*/ 7 w 29"/>
                <a:gd name="T9" fmla="*/ 109 h 128"/>
                <a:gd name="T10" fmla="*/ 2 w 29"/>
                <a:gd name="T11" fmla="*/ 39 h 128"/>
                <a:gd name="T12" fmla="*/ 0 w 29"/>
                <a:gd name="T13" fmla="*/ 0 h 128"/>
                <a:gd name="T14" fmla="*/ 18 w 29"/>
                <a:gd name="T15" fmla="*/ 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128">
                  <a:moveTo>
                    <a:pt x="18" y="6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21" y="53"/>
                    <a:pt x="24" y="73"/>
                  </a:cubicBezTo>
                  <a:cubicBezTo>
                    <a:pt x="27" y="93"/>
                    <a:pt x="29" y="114"/>
                    <a:pt x="26" y="118"/>
                  </a:cubicBezTo>
                  <a:cubicBezTo>
                    <a:pt x="20" y="128"/>
                    <a:pt x="9" y="118"/>
                    <a:pt x="7" y="109"/>
                  </a:cubicBezTo>
                  <a:cubicBezTo>
                    <a:pt x="5" y="99"/>
                    <a:pt x="2" y="39"/>
                    <a:pt x="2" y="39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8" y="6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îS1îďè">
              <a:extLst>
                <a:ext uri="{FF2B5EF4-FFF2-40B4-BE49-F238E27FC236}">
                  <a16:creationId xmlns:a16="http://schemas.microsoft.com/office/drawing/2014/main" id="{A04674FB-0880-49C9-A22D-EAA73903F029}"/>
                </a:ext>
              </a:extLst>
            </p:cNvPr>
            <p:cNvSpPr/>
            <p:nvPr/>
          </p:nvSpPr>
          <p:spPr bwMode="auto">
            <a:xfrm>
              <a:off x="7735888" y="5473700"/>
              <a:ext cx="123825" cy="409575"/>
            </a:xfrm>
            <a:custGeom>
              <a:avLst/>
              <a:gdLst>
                <a:gd name="T0" fmla="*/ 13 w 36"/>
                <a:gd name="T1" fmla="*/ 0 h 118"/>
                <a:gd name="T2" fmla="*/ 9 w 36"/>
                <a:gd name="T3" fmla="*/ 26 h 118"/>
                <a:gd name="T4" fmla="*/ 5 w 36"/>
                <a:gd name="T5" fmla="*/ 108 h 118"/>
                <a:gd name="T6" fmla="*/ 24 w 36"/>
                <a:gd name="T7" fmla="*/ 99 h 118"/>
                <a:gd name="T8" fmla="*/ 27 w 36"/>
                <a:gd name="T9" fmla="*/ 33 h 118"/>
                <a:gd name="T10" fmla="*/ 36 w 36"/>
                <a:gd name="T11" fmla="*/ 2 h 118"/>
                <a:gd name="T12" fmla="*/ 13 w 36"/>
                <a:gd name="T1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18">
                  <a:moveTo>
                    <a:pt x="13" y="0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0" y="97"/>
                    <a:pt x="5" y="108"/>
                  </a:cubicBezTo>
                  <a:cubicBezTo>
                    <a:pt x="10" y="118"/>
                    <a:pt x="25" y="114"/>
                    <a:pt x="24" y="99"/>
                  </a:cubicBezTo>
                  <a:cubicBezTo>
                    <a:pt x="23" y="84"/>
                    <a:pt x="27" y="33"/>
                    <a:pt x="27" y="33"/>
                  </a:cubicBezTo>
                  <a:cubicBezTo>
                    <a:pt x="36" y="2"/>
                    <a:pt x="36" y="2"/>
                    <a:pt x="36" y="2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îSliďe">
              <a:extLst>
                <a:ext uri="{FF2B5EF4-FFF2-40B4-BE49-F238E27FC236}">
                  <a16:creationId xmlns:a16="http://schemas.microsoft.com/office/drawing/2014/main" id="{26CD138C-E419-46F1-8C73-ED9BAD2C257E}"/>
                </a:ext>
              </a:extLst>
            </p:cNvPr>
            <p:cNvSpPr/>
            <p:nvPr/>
          </p:nvSpPr>
          <p:spPr bwMode="auto">
            <a:xfrm>
              <a:off x="7256463" y="4371975"/>
              <a:ext cx="836613" cy="1135063"/>
            </a:xfrm>
            <a:custGeom>
              <a:avLst/>
              <a:gdLst>
                <a:gd name="T0" fmla="*/ 139 w 241"/>
                <a:gd name="T1" fmla="*/ 1 h 327"/>
                <a:gd name="T2" fmla="*/ 137 w 241"/>
                <a:gd name="T3" fmla="*/ 33 h 327"/>
                <a:gd name="T4" fmla="*/ 219 w 241"/>
                <a:gd name="T5" fmla="*/ 73 h 327"/>
                <a:gd name="T6" fmla="*/ 236 w 241"/>
                <a:gd name="T7" fmla="*/ 115 h 327"/>
                <a:gd name="T8" fmla="*/ 179 w 241"/>
                <a:gd name="T9" fmla="*/ 326 h 327"/>
                <a:gd name="T10" fmla="*/ 151 w 241"/>
                <a:gd name="T11" fmla="*/ 317 h 327"/>
                <a:gd name="T12" fmla="*/ 176 w 241"/>
                <a:gd name="T13" fmla="*/ 122 h 327"/>
                <a:gd name="T14" fmla="*/ 158 w 241"/>
                <a:gd name="T15" fmla="*/ 97 h 327"/>
                <a:gd name="T16" fmla="*/ 128 w 241"/>
                <a:gd name="T17" fmla="*/ 93 h 327"/>
                <a:gd name="T18" fmla="*/ 97 w 241"/>
                <a:gd name="T19" fmla="*/ 61 h 327"/>
                <a:gd name="T20" fmla="*/ 133 w 241"/>
                <a:gd name="T21" fmla="*/ 93 h 327"/>
                <a:gd name="T22" fmla="*/ 145 w 241"/>
                <a:gd name="T23" fmla="*/ 125 h 327"/>
                <a:gd name="T24" fmla="*/ 122 w 241"/>
                <a:gd name="T25" fmla="*/ 321 h 327"/>
                <a:gd name="T26" fmla="*/ 96 w 241"/>
                <a:gd name="T27" fmla="*/ 327 h 327"/>
                <a:gd name="T28" fmla="*/ 84 w 241"/>
                <a:gd name="T29" fmla="*/ 134 h 327"/>
                <a:gd name="T30" fmla="*/ 64 w 241"/>
                <a:gd name="T31" fmla="*/ 108 h 327"/>
                <a:gd name="T32" fmla="*/ 13 w 241"/>
                <a:gd name="T33" fmla="*/ 91 h 327"/>
                <a:gd name="T34" fmla="*/ 0 w 241"/>
                <a:gd name="T35" fmla="*/ 68 h 327"/>
                <a:gd name="T36" fmla="*/ 2 w 241"/>
                <a:gd name="T37" fmla="*/ 0 h 327"/>
                <a:gd name="T38" fmla="*/ 139 w 241"/>
                <a:gd name="T39" fmla="*/ 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1" h="327">
                  <a:moveTo>
                    <a:pt x="139" y="1"/>
                  </a:moveTo>
                  <a:cubicBezTo>
                    <a:pt x="137" y="33"/>
                    <a:pt x="137" y="33"/>
                    <a:pt x="137" y="33"/>
                  </a:cubicBezTo>
                  <a:cubicBezTo>
                    <a:pt x="219" y="73"/>
                    <a:pt x="219" y="73"/>
                    <a:pt x="219" y="73"/>
                  </a:cubicBezTo>
                  <a:cubicBezTo>
                    <a:pt x="234" y="81"/>
                    <a:pt x="241" y="98"/>
                    <a:pt x="236" y="115"/>
                  </a:cubicBezTo>
                  <a:cubicBezTo>
                    <a:pt x="179" y="326"/>
                    <a:pt x="179" y="326"/>
                    <a:pt x="179" y="326"/>
                  </a:cubicBezTo>
                  <a:cubicBezTo>
                    <a:pt x="151" y="317"/>
                    <a:pt x="151" y="317"/>
                    <a:pt x="151" y="317"/>
                  </a:cubicBezTo>
                  <a:cubicBezTo>
                    <a:pt x="176" y="122"/>
                    <a:pt x="176" y="122"/>
                    <a:pt x="176" y="122"/>
                  </a:cubicBezTo>
                  <a:cubicBezTo>
                    <a:pt x="178" y="111"/>
                    <a:pt x="170" y="99"/>
                    <a:pt x="158" y="97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97" y="61"/>
                    <a:pt x="97" y="61"/>
                    <a:pt x="97" y="61"/>
                  </a:cubicBezTo>
                  <a:cubicBezTo>
                    <a:pt x="133" y="93"/>
                    <a:pt x="133" y="93"/>
                    <a:pt x="133" y="93"/>
                  </a:cubicBezTo>
                  <a:cubicBezTo>
                    <a:pt x="142" y="101"/>
                    <a:pt x="146" y="113"/>
                    <a:pt x="145" y="125"/>
                  </a:cubicBezTo>
                  <a:cubicBezTo>
                    <a:pt x="122" y="321"/>
                    <a:pt x="122" y="321"/>
                    <a:pt x="122" y="321"/>
                  </a:cubicBezTo>
                  <a:cubicBezTo>
                    <a:pt x="96" y="327"/>
                    <a:pt x="96" y="327"/>
                    <a:pt x="96" y="327"/>
                  </a:cubicBezTo>
                  <a:cubicBezTo>
                    <a:pt x="84" y="134"/>
                    <a:pt x="84" y="134"/>
                    <a:pt x="84" y="134"/>
                  </a:cubicBezTo>
                  <a:cubicBezTo>
                    <a:pt x="84" y="122"/>
                    <a:pt x="75" y="111"/>
                    <a:pt x="64" y="108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5" y="87"/>
                    <a:pt x="0" y="78"/>
                    <a:pt x="0" y="68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39" y="1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íśḷïdé">
              <a:extLst>
                <a:ext uri="{FF2B5EF4-FFF2-40B4-BE49-F238E27FC236}">
                  <a16:creationId xmlns:a16="http://schemas.microsoft.com/office/drawing/2014/main" id="{9BF3287F-7551-43F8-AE43-007362F0FA6C}"/>
                </a:ext>
              </a:extLst>
            </p:cNvPr>
            <p:cNvSpPr/>
            <p:nvPr/>
          </p:nvSpPr>
          <p:spPr bwMode="auto">
            <a:xfrm>
              <a:off x="7245350" y="3695700"/>
              <a:ext cx="841375" cy="930275"/>
            </a:xfrm>
            <a:custGeom>
              <a:avLst/>
              <a:gdLst>
                <a:gd name="T0" fmla="*/ 0 w 242"/>
                <a:gd name="T1" fmla="*/ 268 h 268"/>
                <a:gd name="T2" fmla="*/ 13 w 242"/>
                <a:gd name="T3" fmla="*/ 3 h 268"/>
                <a:gd name="T4" fmla="*/ 86 w 242"/>
                <a:gd name="T5" fmla="*/ 0 h 268"/>
                <a:gd name="T6" fmla="*/ 123 w 242"/>
                <a:gd name="T7" fmla="*/ 8 h 268"/>
                <a:gd name="T8" fmla="*/ 150 w 242"/>
                <a:gd name="T9" fmla="*/ 23 h 268"/>
                <a:gd name="T10" fmla="*/ 242 w 242"/>
                <a:gd name="T11" fmla="*/ 199 h 268"/>
                <a:gd name="T12" fmla="*/ 185 w 242"/>
                <a:gd name="T13" fmla="*/ 205 h 268"/>
                <a:gd name="T14" fmla="*/ 166 w 242"/>
                <a:gd name="T15" fmla="*/ 183 h 268"/>
                <a:gd name="T16" fmla="*/ 176 w 242"/>
                <a:gd name="T17" fmla="*/ 168 h 268"/>
                <a:gd name="T18" fmla="*/ 142 w 242"/>
                <a:gd name="T19" fmla="*/ 87 h 268"/>
                <a:gd name="T20" fmla="*/ 148 w 242"/>
                <a:gd name="T21" fmla="*/ 235 h 268"/>
                <a:gd name="T22" fmla="*/ 0 w 242"/>
                <a:gd name="T23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68">
                  <a:moveTo>
                    <a:pt x="0" y="268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69" y="0"/>
                    <a:pt x="86" y="0"/>
                  </a:cubicBezTo>
                  <a:cubicBezTo>
                    <a:pt x="95" y="0"/>
                    <a:pt x="111" y="4"/>
                    <a:pt x="123" y="8"/>
                  </a:cubicBezTo>
                  <a:cubicBezTo>
                    <a:pt x="135" y="12"/>
                    <a:pt x="144" y="12"/>
                    <a:pt x="150" y="23"/>
                  </a:cubicBezTo>
                  <a:cubicBezTo>
                    <a:pt x="242" y="199"/>
                    <a:pt x="242" y="199"/>
                    <a:pt x="242" y="199"/>
                  </a:cubicBezTo>
                  <a:cubicBezTo>
                    <a:pt x="185" y="205"/>
                    <a:pt x="185" y="205"/>
                    <a:pt x="185" y="205"/>
                  </a:cubicBezTo>
                  <a:cubicBezTo>
                    <a:pt x="166" y="183"/>
                    <a:pt x="166" y="183"/>
                    <a:pt x="166" y="183"/>
                  </a:cubicBezTo>
                  <a:cubicBezTo>
                    <a:pt x="176" y="168"/>
                    <a:pt x="176" y="168"/>
                    <a:pt x="176" y="168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48" y="235"/>
                    <a:pt x="148" y="235"/>
                    <a:pt x="148" y="235"/>
                  </a:cubicBezTo>
                  <a:cubicBezTo>
                    <a:pt x="0" y="268"/>
                    <a:pt x="0" y="268"/>
                    <a:pt x="0" y="268"/>
                  </a:cubicBezTo>
                </a:path>
              </a:pathLst>
            </a:custGeom>
            <a:solidFill>
              <a:srgbClr val="D9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iṧḻïḍê">
              <a:extLst>
                <a:ext uri="{FF2B5EF4-FFF2-40B4-BE49-F238E27FC236}">
                  <a16:creationId xmlns:a16="http://schemas.microsoft.com/office/drawing/2014/main" id="{77543CBC-952D-46A8-8497-F3881BB4E984}"/>
                </a:ext>
              </a:extLst>
            </p:cNvPr>
            <p:cNvSpPr/>
            <p:nvPr/>
          </p:nvSpPr>
          <p:spPr bwMode="auto">
            <a:xfrm>
              <a:off x="7821613" y="4330700"/>
              <a:ext cx="14288" cy="14288"/>
            </a:xfrm>
            <a:custGeom>
              <a:avLst/>
              <a:gdLst>
                <a:gd name="T0" fmla="*/ 0 w 4"/>
                <a:gd name="T1" fmla="*/ 0 h 4"/>
                <a:gd name="T2" fmla="*/ 4 w 4"/>
                <a:gd name="T3" fmla="*/ 4 h 4"/>
                <a:gd name="T4" fmla="*/ 4 w 4"/>
                <a:gd name="T5" fmla="*/ 4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048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îṥḻîḑé">
              <a:extLst>
                <a:ext uri="{FF2B5EF4-FFF2-40B4-BE49-F238E27FC236}">
                  <a16:creationId xmlns:a16="http://schemas.microsoft.com/office/drawing/2014/main" id="{AC2924CB-F8A5-475A-BD4C-EA01BD61BD53}"/>
                </a:ext>
              </a:extLst>
            </p:cNvPr>
            <p:cNvSpPr/>
            <p:nvPr/>
          </p:nvSpPr>
          <p:spPr bwMode="auto">
            <a:xfrm>
              <a:off x="7370763" y="3695700"/>
              <a:ext cx="246063" cy="277813"/>
            </a:xfrm>
            <a:custGeom>
              <a:avLst/>
              <a:gdLst>
                <a:gd name="T0" fmla="*/ 53 w 71"/>
                <a:gd name="T1" fmla="*/ 80 h 80"/>
                <a:gd name="T2" fmla="*/ 0 w 71"/>
                <a:gd name="T3" fmla="*/ 13 h 80"/>
                <a:gd name="T4" fmla="*/ 2 w 71"/>
                <a:gd name="T5" fmla="*/ 2 h 80"/>
                <a:gd name="T6" fmla="*/ 50 w 71"/>
                <a:gd name="T7" fmla="*/ 0 h 80"/>
                <a:gd name="T8" fmla="*/ 65 w 71"/>
                <a:gd name="T9" fmla="*/ 2 h 80"/>
                <a:gd name="T10" fmla="*/ 67 w 71"/>
                <a:gd name="T11" fmla="*/ 13 h 80"/>
                <a:gd name="T12" fmla="*/ 53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53" y="80"/>
                  </a:moveTo>
                  <a:cubicBezTo>
                    <a:pt x="34" y="80"/>
                    <a:pt x="0" y="31"/>
                    <a:pt x="0" y="13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19" y="1"/>
                    <a:pt x="41" y="0"/>
                    <a:pt x="50" y="0"/>
                  </a:cubicBezTo>
                  <a:cubicBezTo>
                    <a:pt x="54" y="0"/>
                    <a:pt x="60" y="1"/>
                    <a:pt x="65" y="2"/>
                  </a:cubicBezTo>
                  <a:cubicBezTo>
                    <a:pt x="67" y="6"/>
                    <a:pt x="67" y="9"/>
                    <a:pt x="67" y="13"/>
                  </a:cubicBezTo>
                  <a:cubicBezTo>
                    <a:pt x="67" y="31"/>
                    <a:pt x="71" y="80"/>
                    <a:pt x="53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ïSľíḍé">
              <a:extLst>
                <a:ext uri="{FF2B5EF4-FFF2-40B4-BE49-F238E27FC236}">
                  <a16:creationId xmlns:a16="http://schemas.microsoft.com/office/drawing/2014/main" id="{E8F396B6-14D7-4F4C-AC19-CB67B62B5FB4}"/>
                </a:ext>
              </a:extLst>
            </p:cNvPr>
            <p:cNvSpPr/>
            <p:nvPr/>
          </p:nvSpPr>
          <p:spPr bwMode="auto">
            <a:xfrm>
              <a:off x="7426325" y="3546475"/>
              <a:ext cx="138113" cy="242888"/>
            </a:xfrm>
            <a:custGeom>
              <a:avLst/>
              <a:gdLst>
                <a:gd name="T0" fmla="*/ 40 w 40"/>
                <a:gd name="T1" fmla="*/ 16 h 70"/>
                <a:gd name="T2" fmla="*/ 27 w 40"/>
                <a:gd name="T3" fmla="*/ 62 h 70"/>
                <a:gd name="T4" fmla="*/ 14 w 40"/>
                <a:gd name="T5" fmla="*/ 69 h 70"/>
                <a:gd name="T6" fmla="*/ 0 w 40"/>
                <a:gd name="T7" fmla="*/ 55 h 70"/>
                <a:gd name="T8" fmla="*/ 17 w 40"/>
                <a:gd name="T9" fmla="*/ 0 h 70"/>
                <a:gd name="T10" fmla="*/ 40 w 40"/>
                <a:gd name="T11" fmla="*/ 1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70">
                  <a:moveTo>
                    <a:pt x="40" y="16"/>
                  </a:moveTo>
                  <a:cubicBezTo>
                    <a:pt x="38" y="19"/>
                    <a:pt x="27" y="62"/>
                    <a:pt x="27" y="62"/>
                  </a:cubicBezTo>
                  <a:cubicBezTo>
                    <a:pt x="27" y="62"/>
                    <a:pt x="23" y="70"/>
                    <a:pt x="14" y="69"/>
                  </a:cubicBezTo>
                  <a:cubicBezTo>
                    <a:pt x="4" y="68"/>
                    <a:pt x="0" y="55"/>
                    <a:pt x="0" y="55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40" y="16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ïśľïḋé">
              <a:extLst>
                <a:ext uri="{FF2B5EF4-FFF2-40B4-BE49-F238E27FC236}">
                  <a16:creationId xmlns:a16="http://schemas.microsoft.com/office/drawing/2014/main" id="{E6522B3B-F049-4370-8433-76808AEBFDC1}"/>
                </a:ext>
              </a:extLst>
            </p:cNvPr>
            <p:cNvSpPr/>
            <p:nvPr/>
          </p:nvSpPr>
          <p:spPr bwMode="auto">
            <a:xfrm>
              <a:off x="7359650" y="3321050"/>
              <a:ext cx="379413" cy="406400"/>
            </a:xfrm>
            <a:custGeom>
              <a:avLst/>
              <a:gdLst>
                <a:gd name="T0" fmla="*/ 0 w 109"/>
                <a:gd name="T1" fmla="*/ 54 h 117"/>
                <a:gd name="T2" fmla="*/ 62 w 109"/>
                <a:gd name="T3" fmla="*/ 117 h 117"/>
                <a:gd name="T4" fmla="*/ 109 w 109"/>
                <a:gd name="T5" fmla="*/ 54 h 117"/>
                <a:gd name="T6" fmla="*/ 54 w 109"/>
                <a:gd name="T7" fmla="*/ 0 h 117"/>
                <a:gd name="T8" fmla="*/ 0 w 109"/>
                <a:gd name="T9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17">
                  <a:moveTo>
                    <a:pt x="0" y="54"/>
                  </a:moveTo>
                  <a:cubicBezTo>
                    <a:pt x="0" y="84"/>
                    <a:pt x="32" y="117"/>
                    <a:pt x="62" y="117"/>
                  </a:cubicBezTo>
                  <a:cubicBezTo>
                    <a:pt x="92" y="117"/>
                    <a:pt x="109" y="84"/>
                    <a:pt x="109" y="54"/>
                  </a:cubicBezTo>
                  <a:cubicBezTo>
                    <a:pt x="109" y="24"/>
                    <a:pt x="84" y="0"/>
                    <a:pt x="54" y="0"/>
                  </a:cubicBezTo>
                  <a:cubicBezTo>
                    <a:pt x="25" y="0"/>
                    <a:pt x="0" y="24"/>
                    <a:pt x="0" y="54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iṩlïḍè">
              <a:extLst>
                <a:ext uri="{FF2B5EF4-FFF2-40B4-BE49-F238E27FC236}">
                  <a16:creationId xmlns:a16="http://schemas.microsoft.com/office/drawing/2014/main" id="{AAFA00EB-E2C4-48B8-BA2B-4F3B237385B3}"/>
                </a:ext>
              </a:extLst>
            </p:cNvPr>
            <p:cNvSpPr/>
            <p:nvPr/>
          </p:nvSpPr>
          <p:spPr bwMode="auto">
            <a:xfrm>
              <a:off x="7342188" y="3314700"/>
              <a:ext cx="420688" cy="419100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işļiḑè">
              <a:extLst>
                <a:ext uri="{FF2B5EF4-FFF2-40B4-BE49-F238E27FC236}">
                  <a16:creationId xmlns:a16="http://schemas.microsoft.com/office/drawing/2014/main" id="{A3092B79-EECF-4E52-83B8-00E17C029EC0}"/>
                </a:ext>
              </a:extLst>
            </p:cNvPr>
            <p:cNvSpPr/>
            <p:nvPr/>
          </p:nvSpPr>
          <p:spPr bwMode="auto">
            <a:xfrm>
              <a:off x="7686675" y="3629025"/>
              <a:ext cx="26988" cy="31750"/>
            </a:xfrm>
            <a:custGeom>
              <a:avLst/>
              <a:gdLst>
                <a:gd name="T0" fmla="*/ 2 w 8"/>
                <a:gd name="T1" fmla="*/ 3 h 9"/>
                <a:gd name="T2" fmla="*/ 2 w 8"/>
                <a:gd name="T3" fmla="*/ 8 h 9"/>
                <a:gd name="T4" fmla="*/ 7 w 8"/>
                <a:gd name="T5" fmla="*/ 6 h 9"/>
                <a:gd name="T6" fmla="*/ 6 w 8"/>
                <a:gd name="T7" fmla="*/ 0 h 9"/>
                <a:gd name="T8" fmla="*/ 2 w 8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2" y="3"/>
                  </a:moveTo>
                  <a:cubicBezTo>
                    <a:pt x="0" y="5"/>
                    <a:pt x="1" y="7"/>
                    <a:pt x="2" y="8"/>
                  </a:cubicBezTo>
                  <a:cubicBezTo>
                    <a:pt x="4" y="9"/>
                    <a:pt x="6" y="8"/>
                    <a:pt x="7" y="6"/>
                  </a:cubicBezTo>
                  <a:cubicBezTo>
                    <a:pt x="8" y="4"/>
                    <a:pt x="8" y="1"/>
                    <a:pt x="6" y="0"/>
                  </a:cubicBezTo>
                  <a:cubicBezTo>
                    <a:pt x="5" y="0"/>
                    <a:pt x="3" y="1"/>
                    <a:pt x="2" y="3"/>
                  </a:cubicBezTo>
                  <a:close/>
                </a:path>
              </a:pathLst>
            </a:custGeom>
            <a:solidFill>
              <a:srgbClr val="2D2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išļíďè">
              <a:extLst>
                <a:ext uri="{FF2B5EF4-FFF2-40B4-BE49-F238E27FC236}">
                  <a16:creationId xmlns:a16="http://schemas.microsoft.com/office/drawing/2014/main" id="{0EEE0805-1E9E-4A50-A77F-1B6797D9DC07}"/>
                </a:ext>
              </a:extLst>
            </p:cNvPr>
            <p:cNvSpPr/>
            <p:nvPr/>
          </p:nvSpPr>
          <p:spPr bwMode="auto">
            <a:xfrm>
              <a:off x="7581900" y="3640138"/>
              <a:ext cx="28575" cy="34925"/>
            </a:xfrm>
            <a:custGeom>
              <a:avLst/>
              <a:gdLst>
                <a:gd name="T0" fmla="*/ 1 w 8"/>
                <a:gd name="T1" fmla="*/ 3 h 10"/>
                <a:gd name="T2" fmla="*/ 1 w 8"/>
                <a:gd name="T3" fmla="*/ 9 h 10"/>
                <a:gd name="T4" fmla="*/ 7 w 8"/>
                <a:gd name="T5" fmla="*/ 6 h 10"/>
                <a:gd name="T6" fmla="*/ 6 w 8"/>
                <a:gd name="T7" fmla="*/ 0 h 10"/>
                <a:gd name="T8" fmla="*/ 1 w 8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1" y="3"/>
                  </a:moveTo>
                  <a:cubicBezTo>
                    <a:pt x="0" y="5"/>
                    <a:pt x="0" y="8"/>
                    <a:pt x="1" y="9"/>
                  </a:cubicBezTo>
                  <a:cubicBezTo>
                    <a:pt x="3" y="10"/>
                    <a:pt x="5" y="9"/>
                    <a:pt x="7" y="6"/>
                  </a:cubicBezTo>
                  <a:cubicBezTo>
                    <a:pt x="8" y="4"/>
                    <a:pt x="8" y="1"/>
                    <a:pt x="6" y="0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2D2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îSľîdê">
              <a:extLst>
                <a:ext uri="{FF2B5EF4-FFF2-40B4-BE49-F238E27FC236}">
                  <a16:creationId xmlns:a16="http://schemas.microsoft.com/office/drawing/2014/main" id="{74784F00-720A-4725-AB61-A0DFEB27276C}"/>
                </a:ext>
              </a:extLst>
            </p:cNvPr>
            <p:cNvSpPr/>
            <p:nvPr/>
          </p:nvSpPr>
          <p:spPr bwMode="auto">
            <a:xfrm>
              <a:off x="7502525" y="4500563"/>
              <a:ext cx="257175" cy="107950"/>
            </a:xfrm>
            <a:custGeom>
              <a:avLst/>
              <a:gdLst>
                <a:gd name="T0" fmla="*/ 3 w 74"/>
                <a:gd name="T1" fmla="*/ 10 h 31"/>
                <a:gd name="T2" fmla="*/ 40 w 74"/>
                <a:gd name="T3" fmla="*/ 0 h 31"/>
                <a:gd name="T4" fmla="*/ 71 w 74"/>
                <a:gd name="T5" fmla="*/ 15 h 31"/>
                <a:gd name="T6" fmla="*/ 64 w 74"/>
                <a:gd name="T7" fmla="*/ 21 h 31"/>
                <a:gd name="T8" fmla="*/ 65 w 74"/>
                <a:gd name="T9" fmla="*/ 27 h 31"/>
                <a:gd name="T10" fmla="*/ 54 w 74"/>
                <a:gd name="T11" fmla="*/ 29 h 31"/>
                <a:gd name="T12" fmla="*/ 0 w 74"/>
                <a:gd name="T13" fmla="*/ 28 h 31"/>
                <a:gd name="T14" fmla="*/ 3 w 74"/>
                <a:gd name="T15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31">
                  <a:moveTo>
                    <a:pt x="3" y="10"/>
                  </a:moveTo>
                  <a:cubicBezTo>
                    <a:pt x="5" y="10"/>
                    <a:pt x="25" y="0"/>
                    <a:pt x="40" y="0"/>
                  </a:cubicBezTo>
                  <a:cubicBezTo>
                    <a:pt x="54" y="0"/>
                    <a:pt x="71" y="15"/>
                    <a:pt x="71" y="15"/>
                  </a:cubicBezTo>
                  <a:cubicBezTo>
                    <a:pt x="71" y="15"/>
                    <a:pt x="74" y="23"/>
                    <a:pt x="64" y="21"/>
                  </a:cubicBezTo>
                  <a:cubicBezTo>
                    <a:pt x="55" y="20"/>
                    <a:pt x="65" y="27"/>
                    <a:pt x="65" y="27"/>
                  </a:cubicBezTo>
                  <a:cubicBezTo>
                    <a:pt x="65" y="27"/>
                    <a:pt x="65" y="28"/>
                    <a:pt x="54" y="29"/>
                  </a:cubicBezTo>
                  <a:cubicBezTo>
                    <a:pt x="43" y="31"/>
                    <a:pt x="0" y="28"/>
                    <a:pt x="0" y="28"/>
                  </a:cubicBezTo>
                  <a:lnTo>
                    <a:pt x="3" y="10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ïšḷiďê">
              <a:extLst>
                <a:ext uri="{FF2B5EF4-FFF2-40B4-BE49-F238E27FC236}">
                  <a16:creationId xmlns:a16="http://schemas.microsoft.com/office/drawing/2014/main" id="{92DBD934-F40C-470D-AC04-28E1616CA2FB}"/>
                </a:ext>
              </a:extLst>
            </p:cNvPr>
            <p:cNvSpPr/>
            <p:nvPr/>
          </p:nvSpPr>
          <p:spPr bwMode="auto">
            <a:xfrm>
              <a:off x="7099300" y="3706813"/>
              <a:ext cx="414338" cy="892175"/>
            </a:xfrm>
            <a:custGeom>
              <a:avLst/>
              <a:gdLst>
                <a:gd name="T0" fmla="*/ 55 w 119"/>
                <a:gd name="T1" fmla="*/ 0 h 257"/>
                <a:gd name="T2" fmla="*/ 47 w 119"/>
                <a:gd name="T3" fmla="*/ 174 h 257"/>
                <a:gd name="T4" fmla="*/ 119 w 119"/>
                <a:gd name="T5" fmla="*/ 239 h 257"/>
                <a:gd name="T6" fmla="*/ 116 w 119"/>
                <a:gd name="T7" fmla="*/ 257 h 257"/>
                <a:gd name="T8" fmla="*/ 15 w 119"/>
                <a:gd name="T9" fmla="*/ 204 h 257"/>
                <a:gd name="T10" fmla="*/ 1 w 119"/>
                <a:gd name="T11" fmla="*/ 177 h 257"/>
                <a:gd name="T12" fmla="*/ 20 w 119"/>
                <a:gd name="T13" fmla="*/ 44 h 257"/>
                <a:gd name="T14" fmla="*/ 46 w 119"/>
                <a:gd name="T15" fmla="*/ 5 h 257"/>
                <a:gd name="T16" fmla="*/ 55 w 119"/>
                <a:gd name="T17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257">
                  <a:moveTo>
                    <a:pt x="55" y="0"/>
                  </a:moveTo>
                  <a:cubicBezTo>
                    <a:pt x="47" y="174"/>
                    <a:pt x="47" y="174"/>
                    <a:pt x="47" y="174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16" y="257"/>
                    <a:pt x="116" y="257"/>
                    <a:pt x="116" y="257"/>
                  </a:cubicBezTo>
                  <a:cubicBezTo>
                    <a:pt x="15" y="204"/>
                    <a:pt x="15" y="204"/>
                    <a:pt x="15" y="204"/>
                  </a:cubicBezTo>
                  <a:cubicBezTo>
                    <a:pt x="5" y="198"/>
                    <a:pt x="0" y="188"/>
                    <a:pt x="1" y="177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1" y="27"/>
                    <a:pt x="31" y="12"/>
                    <a:pt x="46" y="5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D9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i$ļíḓê">
              <a:extLst>
                <a:ext uri="{FF2B5EF4-FFF2-40B4-BE49-F238E27FC236}">
                  <a16:creationId xmlns:a16="http://schemas.microsoft.com/office/drawing/2014/main" id="{BC87A216-A42A-44F8-9F1C-050BC0AD103A}"/>
                </a:ext>
              </a:extLst>
            </p:cNvPr>
            <p:cNvSpPr/>
            <p:nvPr/>
          </p:nvSpPr>
          <p:spPr bwMode="auto">
            <a:xfrm>
              <a:off x="7464425" y="4605338"/>
              <a:ext cx="657225" cy="44450"/>
            </a:xfrm>
            <a:custGeom>
              <a:avLst/>
              <a:gdLst>
                <a:gd name="T0" fmla="*/ 7 w 189"/>
                <a:gd name="T1" fmla="*/ 13 h 13"/>
                <a:gd name="T2" fmla="*/ 189 w 189"/>
                <a:gd name="T3" fmla="*/ 13 h 13"/>
                <a:gd name="T4" fmla="*/ 189 w 189"/>
                <a:gd name="T5" fmla="*/ 0 h 13"/>
                <a:gd name="T6" fmla="*/ 7 w 189"/>
                <a:gd name="T7" fmla="*/ 0 h 13"/>
                <a:gd name="T8" fmla="*/ 0 w 189"/>
                <a:gd name="T9" fmla="*/ 7 h 13"/>
                <a:gd name="T10" fmla="*/ 7 w 189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13">
                  <a:moveTo>
                    <a:pt x="7" y="13"/>
                  </a:moveTo>
                  <a:cubicBezTo>
                    <a:pt x="189" y="13"/>
                    <a:pt x="189" y="13"/>
                    <a:pt x="189" y="13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7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íŝ1íḑé">
              <a:extLst>
                <a:ext uri="{FF2B5EF4-FFF2-40B4-BE49-F238E27FC236}">
                  <a16:creationId xmlns:a16="http://schemas.microsoft.com/office/drawing/2014/main" id="{B1344F33-BE7D-495C-91B8-75AD487910FD}"/>
                </a:ext>
              </a:extLst>
            </p:cNvPr>
            <p:cNvSpPr/>
            <p:nvPr/>
          </p:nvSpPr>
          <p:spPr bwMode="auto">
            <a:xfrm>
              <a:off x="7662863" y="4125913"/>
              <a:ext cx="784225" cy="523875"/>
            </a:xfrm>
            <a:custGeom>
              <a:avLst/>
              <a:gdLst>
                <a:gd name="T0" fmla="*/ 0 w 226"/>
                <a:gd name="T1" fmla="*/ 151 h 151"/>
                <a:gd name="T2" fmla="*/ 175 w 226"/>
                <a:gd name="T3" fmla="*/ 151 h 151"/>
                <a:gd name="T4" fmla="*/ 192 w 226"/>
                <a:gd name="T5" fmla="*/ 139 h 151"/>
                <a:gd name="T6" fmla="*/ 223 w 226"/>
                <a:gd name="T7" fmla="*/ 22 h 151"/>
                <a:gd name="T8" fmla="*/ 206 w 226"/>
                <a:gd name="T9" fmla="*/ 0 h 151"/>
                <a:gd name="T10" fmla="*/ 53 w 226"/>
                <a:gd name="T11" fmla="*/ 0 h 151"/>
                <a:gd name="T12" fmla="*/ 36 w 226"/>
                <a:gd name="T13" fmla="*/ 13 h 151"/>
                <a:gd name="T14" fmla="*/ 0 w 226"/>
                <a:gd name="T1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6" h="151">
                  <a:moveTo>
                    <a:pt x="0" y="151"/>
                  </a:moveTo>
                  <a:cubicBezTo>
                    <a:pt x="175" y="151"/>
                    <a:pt x="175" y="151"/>
                    <a:pt x="175" y="151"/>
                  </a:cubicBezTo>
                  <a:cubicBezTo>
                    <a:pt x="183" y="151"/>
                    <a:pt x="190" y="146"/>
                    <a:pt x="192" y="139"/>
                  </a:cubicBezTo>
                  <a:cubicBezTo>
                    <a:pt x="223" y="22"/>
                    <a:pt x="223" y="22"/>
                    <a:pt x="223" y="22"/>
                  </a:cubicBezTo>
                  <a:cubicBezTo>
                    <a:pt x="226" y="11"/>
                    <a:pt x="218" y="0"/>
                    <a:pt x="206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5" y="0"/>
                    <a:pt x="38" y="5"/>
                    <a:pt x="36" y="13"/>
                  </a:cubicBezTo>
                  <a:lnTo>
                    <a:pt x="0" y="1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iṧļïḋé">
              <a:extLst>
                <a:ext uri="{FF2B5EF4-FFF2-40B4-BE49-F238E27FC236}">
                  <a16:creationId xmlns:a16="http://schemas.microsoft.com/office/drawing/2014/main" id="{2A6564EB-A607-44D4-A411-714E56582916}"/>
                </a:ext>
              </a:extLst>
            </p:cNvPr>
            <p:cNvSpPr/>
            <p:nvPr/>
          </p:nvSpPr>
          <p:spPr bwMode="auto">
            <a:xfrm>
              <a:off x="7937500" y="4125913"/>
              <a:ext cx="509588" cy="511175"/>
            </a:xfrm>
            <a:custGeom>
              <a:avLst/>
              <a:gdLst>
                <a:gd name="T0" fmla="*/ 127 w 147"/>
                <a:gd name="T1" fmla="*/ 0 h 147"/>
                <a:gd name="T2" fmla="*/ 144 w 147"/>
                <a:gd name="T3" fmla="*/ 22 h 147"/>
                <a:gd name="T4" fmla="*/ 113 w 147"/>
                <a:gd name="T5" fmla="*/ 139 h 147"/>
                <a:gd name="T6" fmla="*/ 107 w 147"/>
                <a:gd name="T7" fmla="*/ 147 h 147"/>
                <a:gd name="T8" fmla="*/ 0 w 147"/>
                <a:gd name="T9" fmla="*/ 0 h 147"/>
                <a:gd name="T10" fmla="*/ 127 w 147"/>
                <a:gd name="T11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147">
                  <a:moveTo>
                    <a:pt x="127" y="0"/>
                  </a:moveTo>
                  <a:cubicBezTo>
                    <a:pt x="139" y="0"/>
                    <a:pt x="147" y="11"/>
                    <a:pt x="144" y="22"/>
                  </a:cubicBezTo>
                  <a:cubicBezTo>
                    <a:pt x="113" y="139"/>
                    <a:pt x="113" y="139"/>
                    <a:pt x="113" y="139"/>
                  </a:cubicBezTo>
                  <a:cubicBezTo>
                    <a:pt x="112" y="142"/>
                    <a:pt x="110" y="145"/>
                    <a:pt x="107" y="1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27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3000"/>
                  </a:schemeClr>
                </a:gs>
                <a:gs pos="0">
                  <a:srgbClr val="D0DDFE"/>
                </a:gs>
              </a:gsLst>
              <a:lin ang="108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iṥľiḍe">
              <a:extLst>
                <a:ext uri="{FF2B5EF4-FFF2-40B4-BE49-F238E27FC236}">
                  <a16:creationId xmlns:a16="http://schemas.microsoft.com/office/drawing/2014/main" id="{3BCADFDB-47FE-4EC4-92DB-EF25C9BC47CA}"/>
                </a:ext>
              </a:extLst>
            </p:cNvPr>
            <p:cNvSpPr/>
            <p:nvPr/>
          </p:nvSpPr>
          <p:spPr bwMode="auto">
            <a:xfrm>
              <a:off x="8013700" y="4376738"/>
              <a:ext cx="114300" cy="96838"/>
            </a:xfrm>
            <a:custGeom>
              <a:avLst/>
              <a:gdLst>
                <a:gd name="T0" fmla="*/ 2 w 33"/>
                <a:gd name="T1" fmla="*/ 14 h 28"/>
                <a:gd name="T2" fmla="*/ 13 w 33"/>
                <a:gd name="T3" fmla="*/ 28 h 28"/>
                <a:gd name="T4" fmla="*/ 31 w 33"/>
                <a:gd name="T5" fmla="*/ 14 h 28"/>
                <a:gd name="T6" fmla="*/ 20 w 33"/>
                <a:gd name="T7" fmla="*/ 0 h 28"/>
                <a:gd name="T8" fmla="*/ 2 w 3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8">
                  <a:moveTo>
                    <a:pt x="2" y="14"/>
                  </a:moveTo>
                  <a:cubicBezTo>
                    <a:pt x="0" y="22"/>
                    <a:pt x="5" y="28"/>
                    <a:pt x="13" y="28"/>
                  </a:cubicBezTo>
                  <a:cubicBezTo>
                    <a:pt x="21" y="28"/>
                    <a:pt x="29" y="22"/>
                    <a:pt x="31" y="14"/>
                  </a:cubicBezTo>
                  <a:cubicBezTo>
                    <a:pt x="33" y="6"/>
                    <a:pt x="28" y="0"/>
                    <a:pt x="20" y="0"/>
                  </a:cubicBezTo>
                  <a:cubicBezTo>
                    <a:pt x="12" y="0"/>
                    <a:pt x="4" y="6"/>
                    <a:pt x="2" y="14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iṥľídé">
              <a:extLst>
                <a:ext uri="{FF2B5EF4-FFF2-40B4-BE49-F238E27FC236}">
                  <a16:creationId xmlns:a16="http://schemas.microsoft.com/office/drawing/2014/main" id="{DD8F7AA9-B078-4961-8566-04B8A0E0E100}"/>
                </a:ext>
              </a:extLst>
            </p:cNvPr>
            <p:cNvSpPr/>
            <p:nvPr/>
          </p:nvSpPr>
          <p:spPr bwMode="auto">
            <a:xfrm>
              <a:off x="7342188" y="3314700"/>
              <a:ext cx="420688" cy="304800"/>
            </a:xfrm>
            <a:custGeom>
              <a:avLst/>
              <a:gdLst>
                <a:gd name="T0" fmla="*/ 61 w 121"/>
                <a:gd name="T1" fmla="*/ 0 h 88"/>
                <a:gd name="T2" fmla="*/ 121 w 121"/>
                <a:gd name="T3" fmla="*/ 54 h 88"/>
                <a:gd name="T4" fmla="*/ 84 w 121"/>
                <a:gd name="T5" fmla="*/ 63 h 88"/>
                <a:gd name="T6" fmla="*/ 48 w 121"/>
                <a:gd name="T7" fmla="*/ 35 h 88"/>
                <a:gd name="T8" fmla="*/ 48 w 121"/>
                <a:gd name="T9" fmla="*/ 55 h 88"/>
                <a:gd name="T10" fmla="*/ 39 w 121"/>
                <a:gd name="T11" fmla="*/ 73 h 88"/>
                <a:gd name="T12" fmla="*/ 35 w 121"/>
                <a:gd name="T13" fmla="*/ 59 h 88"/>
                <a:gd name="T14" fmla="*/ 23 w 121"/>
                <a:gd name="T15" fmla="*/ 54 h 88"/>
                <a:gd name="T16" fmla="*/ 18 w 121"/>
                <a:gd name="T17" fmla="*/ 62 h 88"/>
                <a:gd name="T18" fmla="*/ 19 w 121"/>
                <a:gd name="T19" fmla="*/ 72 h 88"/>
                <a:gd name="T20" fmla="*/ 28 w 121"/>
                <a:gd name="T21" fmla="*/ 86 h 88"/>
                <a:gd name="T22" fmla="*/ 6 w 121"/>
                <a:gd name="T23" fmla="*/ 87 h 88"/>
                <a:gd name="T24" fmla="*/ 0 w 121"/>
                <a:gd name="T25" fmla="*/ 61 h 88"/>
                <a:gd name="T26" fmla="*/ 61 w 121"/>
                <a:gd name="T2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" h="88">
                  <a:moveTo>
                    <a:pt x="61" y="0"/>
                  </a:moveTo>
                  <a:cubicBezTo>
                    <a:pt x="92" y="0"/>
                    <a:pt x="118" y="23"/>
                    <a:pt x="121" y="54"/>
                  </a:cubicBezTo>
                  <a:cubicBezTo>
                    <a:pt x="110" y="61"/>
                    <a:pt x="97" y="65"/>
                    <a:pt x="84" y="63"/>
                  </a:cubicBezTo>
                  <a:cubicBezTo>
                    <a:pt x="68" y="60"/>
                    <a:pt x="55" y="49"/>
                    <a:pt x="48" y="35"/>
                  </a:cubicBezTo>
                  <a:cubicBezTo>
                    <a:pt x="48" y="42"/>
                    <a:pt x="49" y="49"/>
                    <a:pt x="48" y="55"/>
                  </a:cubicBezTo>
                  <a:cubicBezTo>
                    <a:pt x="47" y="62"/>
                    <a:pt x="44" y="69"/>
                    <a:pt x="39" y="73"/>
                  </a:cubicBezTo>
                  <a:cubicBezTo>
                    <a:pt x="38" y="68"/>
                    <a:pt x="38" y="63"/>
                    <a:pt x="35" y="59"/>
                  </a:cubicBezTo>
                  <a:cubicBezTo>
                    <a:pt x="33" y="55"/>
                    <a:pt x="28" y="52"/>
                    <a:pt x="23" y="54"/>
                  </a:cubicBezTo>
                  <a:cubicBezTo>
                    <a:pt x="20" y="55"/>
                    <a:pt x="18" y="59"/>
                    <a:pt x="18" y="62"/>
                  </a:cubicBezTo>
                  <a:cubicBezTo>
                    <a:pt x="17" y="65"/>
                    <a:pt x="18" y="69"/>
                    <a:pt x="19" y="72"/>
                  </a:cubicBezTo>
                  <a:cubicBezTo>
                    <a:pt x="21" y="77"/>
                    <a:pt x="24" y="82"/>
                    <a:pt x="28" y="86"/>
                  </a:cubicBezTo>
                  <a:cubicBezTo>
                    <a:pt x="20" y="87"/>
                    <a:pt x="13" y="88"/>
                    <a:pt x="6" y="87"/>
                  </a:cubicBezTo>
                  <a:cubicBezTo>
                    <a:pt x="2" y="79"/>
                    <a:pt x="0" y="70"/>
                    <a:pt x="0" y="61"/>
                  </a:cubicBezTo>
                  <a:cubicBezTo>
                    <a:pt x="0" y="27"/>
                    <a:pt x="27" y="0"/>
                    <a:pt x="61" y="0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îşḻïďè">
              <a:extLst>
                <a:ext uri="{FF2B5EF4-FFF2-40B4-BE49-F238E27FC236}">
                  <a16:creationId xmlns:a16="http://schemas.microsoft.com/office/drawing/2014/main" id="{760D0CE2-FFE3-43EF-ACE2-EEF34330F4C1}"/>
                </a:ext>
              </a:extLst>
            </p:cNvPr>
            <p:cNvSpPr/>
            <p:nvPr/>
          </p:nvSpPr>
          <p:spPr bwMode="auto">
            <a:xfrm>
              <a:off x="7370763" y="3494088"/>
              <a:ext cx="128588" cy="128588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ïṧlîďe">
              <a:extLst>
                <a:ext uri="{FF2B5EF4-FFF2-40B4-BE49-F238E27FC236}">
                  <a16:creationId xmlns:a16="http://schemas.microsoft.com/office/drawing/2014/main" id="{0EC03414-0214-4AC2-AEF3-94026D8D9E93}"/>
                </a:ext>
              </a:extLst>
            </p:cNvPr>
            <p:cNvSpPr/>
            <p:nvPr/>
          </p:nvSpPr>
          <p:spPr bwMode="auto">
            <a:xfrm>
              <a:off x="7769225" y="5473700"/>
              <a:ext cx="84138" cy="88900"/>
            </a:xfrm>
            <a:custGeom>
              <a:avLst/>
              <a:gdLst>
                <a:gd name="T0" fmla="*/ 7 w 53"/>
                <a:gd name="T1" fmla="*/ 0 h 56"/>
                <a:gd name="T2" fmla="*/ 0 w 53"/>
                <a:gd name="T3" fmla="*/ 43 h 56"/>
                <a:gd name="T4" fmla="*/ 42 w 53"/>
                <a:gd name="T5" fmla="*/ 56 h 56"/>
                <a:gd name="T6" fmla="*/ 53 w 53"/>
                <a:gd name="T7" fmla="*/ 15 h 56"/>
                <a:gd name="T8" fmla="*/ 7 w 53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6">
                  <a:moveTo>
                    <a:pt x="7" y="0"/>
                  </a:moveTo>
                  <a:lnTo>
                    <a:pt x="0" y="43"/>
                  </a:lnTo>
                  <a:lnTo>
                    <a:pt x="42" y="56"/>
                  </a:lnTo>
                  <a:lnTo>
                    <a:pt x="53" y="1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i$ļïḍè">
              <a:extLst>
                <a:ext uri="{FF2B5EF4-FFF2-40B4-BE49-F238E27FC236}">
                  <a16:creationId xmlns:a16="http://schemas.microsoft.com/office/drawing/2014/main" id="{78B0F5FD-4484-4A8D-BDDF-078B3D0A94C0}"/>
                </a:ext>
              </a:extLst>
            </p:cNvPr>
            <p:cNvSpPr/>
            <p:nvPr/>
          </p:nvSpPr>
          <p:spPr bwMode="auto">
            <a:xfrm>
              <a:off x="7616825" y="5486400"/>
              <a:ext cx="63500" cy="87313"/>
            </a:xfrm>
            <a:custGeom>
              <a:avLst/>
              <a:gdLst>
                <a:gd name="T0" fmla="*/ 37 w 40"/>
                <a:gd name="T1" fmla="*/ 48 h 55"/>
                <a:gd name="T2" fmla="*/ 2 w 40"/>
                <a:gd name="T3" fmla="*/ 55 h 55"/>
                <a:gd name="T4" fmla="*/ 0 w 40"/>
                <a:gd name="T5" fmla="*/ 9 h 55"/>
                <a:gd name="T6" fmla="*/ 40 w 40"/>
                <a:gd name="T7" fmla="*/ 0 h 55"/>
                <a:gd name="T8" fmla="*/ 37 w 40"/>
                <a:gd name="T9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5">
                  <a:moveTo>
                    <a:pt x="37" y="48"/>
                  </a:moveTo>
                  <a:lnTo>
                    <a:pt x="2" y="55"/>
                  </a:lnTo>
                  <a:lnTo>
                    <a:pt x="0" y="9"/>
                  </a:lnTo>
                  <a:lnTo>
                    <a:pt x="40" y="0"/>
                  </a:lnTo>
                  <a:lnTo>
                    <a:pt x="37" y="48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0" name="íṧḷidè">
              <a:extLst>
                <a:ext uri="{FF2B5EF4-FFF2-40B4-BE49-F238E27FC236}">
                  <a16:creationId xmlns:a16="http://schemas.microsoft.com/office/drawing/2014/main" id="{F60D4A93-77E8-4FB5-80CA-65D1972F043E}"/>
                </a:ext>
              </a:extLst>
            </p:cNvPr>
            <p:cNvSpPr/>
            <p:nvPr/>
          </p:nvSpPr>
          <p:spPr bwMode="auto">
            <a:xfrm>
              <a:off x="7300913" y="3157538"/>
              <a:ext cx="271463" cy="274638"/>
            </a:xfrm>
            <a:prstGeom prst="ellipse">
              <a:avLst/>
            </a:pr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1" name="ísḻíḋe">
              <a:extLst>
                <a:ext uri="{FF2B5EF4-FFF2-40B4-BE49-F238E27FC236}">
                  <a16:creationId xmlns:a16="http://schemas.microsoft.com/office/drawing/2014/main" id="{8F1A70DE-3B50-4FF2-85FC-2A702773A78D}"/>
                </a:ext>
              </a:extLst>
            </p:cNvPr>
            <p:cNvSpPr/>
            <p:nvPr/>
          </p:nvSpPr>
          <p:spPr bwMode="auto">
            <a:xfrm>
              <a:off x="5894388" y="4684713"/>
              <a:ext cx="184150" cy="195263"/>
            </a:xfrm>
            <a:custGeom>
              <a:avLst/>
              <a:gdLst>
                <a:gd name="T0" fmla="*/ 116 w 116"/>
                <a:gd name="T1" fmla="*/ 81 h 123"/>
                <a:gd name="T2" fmla="*/ 0 w 116"/>
                <a:gd name="T3" fmla="*/ 81 h 123"/>
                <a:gd name="T4" fmla="*/ 0 w 116"/>
                <a:gd name="T5" fmla="*/ 123 h 123"/>
                <a:gd name="T6" fmla="*/ 116 w 116"/>
                <a:gd name="T7" fmla="*/ 123 h 123"/>
                <a:gd name="T8" fmla="*/ 116 w 116"/>
                <a:gd name="T9" fmla="*/ 81 h 123"/>
                <a:gd name="T10" fmla="*/ 116 w 116"/>
                <a:gd name="T11" fmla="*/ 0 h 123"/>
                <a:gd name="T12" fmla="*/ 0 w 116"/>
                <a:gd name="T13" fmla="*/ 0 h 123"/>
                <a:gd name="T14" fmla="*/ 0 w 116"/>
                <a:gd name="T15" fmla="*/ 51 h 123"/>
                <a:gd name="T16" fmla="*/ 116 w 116"/>
                <a:gd name="T17" fmla="*/ 51 h 123"/>
                <a:gd name="T18" fmla="*/ 116 w 116"/>
                <a:gd name="T1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3">
                  <a:moveTo>
                    <a:pt x="116" y="81"/>
                  </a:moveTo>
                  <a:lnTo>
                    <a:pt x="0" y="81"/>
                  </a:lnTo>
                  <a:lnTo>
                    <a:pt x="0" y="123"/>
                  </a:lnTo>
                  <a:lnTo>
                    <a:pt x="116" y="123"/>
                  </a:lnTo>
                  <a:lnTo>
                    <a:pt x="116" y="81"/>
                  </a:lnTo>
                  <a:close/>
                  <a:moveTo>
                    <a:pt x="116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116" y="51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2" name="îsļîḓé">
              <a:extLst>
                <a:ext uri="{FF2B5EF4-FFF2-40B4-BE49-F238E27FC236}">
                  <a16:creationId xmlns:a16="http://schemas.microsoft.com/office/drawing/2014/main" id="{DA1D1B6C-4CD3-4FF3-AF6D-23B1B1849B79}"/>
                </a:ext>
              </a:extLst>
            </p:cNvPr>
            <p:cNvSpPr/>
            <p:nvPr/>
          </p:nvSpPr>
          <p:spPr bwMode="auto">
            <a:xfrm>
              <a:off x="5894388" y="4684713"/>
              <a:ext cx="184150" cy="195263"/>
            </a:xfrm>
            <a:custGeom>
              <a:avLst/>
              <a:gdLst>
                <a:gd name="T0" fmla="*/ 116 w 116"/>
                <a:gd name="T1" fmla="*/ 81 h 123"/>
                <a:gd name="T2" fmla="*/ 0 w 116"/>
                <a:gd name="T3" fmla="*/ 81 h 123"/>
                <a:gd name="T4" fmla="*/ 0 w 116"/>
                <a:gd name="T5" fmla="*/ 123 h 123"/>
                <a:gd name="T6" fmla="*/ 116 w 116"/>
                <a:gd name="T7" fmla="*/ 123 h 123"/>
                <a:gd name="T8" fmla="*/ 116 w 116"/>
                <a:gd name="T9" fmla="*/ 81 h 123"/>
                <a:gd name="T10" fmla="*/ 116 w 116"/>
                <a:gd name="T11" fmla="*/ 0 h 123"/>
                <a:gd name="T12" fmla="*/ 0 w 116"/>
                <a:gd name="T13" fmla="*/ 0 h 123"/>
                <a:gd name="T14" fmla="*/ 0 w 116"/>
                <a:gd name="T15" fmla="*/ 51 h 123"/>
                <a:gd name="T16" fmla="*/ 116 w 116"/>
                <a:gd name="T17" fmla="*/ 51 h 123"/>
                <a:gd name="T18" fmla="*/ 116 w 116"/>
                <a:gd name="T1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3">
                  <a:moveTo>
                    <a:pt x="116" y="81"/>
                  </a:moveTo>
                  <a:lnTo>
                    <a:pt x="0" y="81"/>
                  </a:lnTo>
                  <a:lnTo>
                    <a:pt x="0" y="123"/>
                  </a:lnTo>
                  <a:lnTo>
                    <a:pt x="116" y="123"/>
                  </a:lnTo>
                  <a:lnTo>
                    <a:pt x="116" y="81"/>
                  </a:lnTo>
                  <a:moveTo>
                    <a:pt x="116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116" y="51"/>
                  </a:lnTo>
                  <a:lnTo>
                    <a:pt x="11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3" name="îśḷidè">
              <a:extLst>
                <a:ext uri="{FF2B5EF4-FFF2-40B4-BE49-F238E27FC236}">
                  <a16:creationId xmlns:a16="http://schemas.microsoft.com/office/drawing/2014/main" id="{1682184D-4079-49C5-ACA4-529A770B52D1}"/>
                </a:ext>
              </a:extLst>
            </p:cNvPr>
            <p:cNvSpPr/>
            <p:nvPr/>
          </p:nvSpPr>
          <p:spPr bwMode="auto">
            <a:xfrm>
              <a:off x="5894388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íṡļiďe">
              <a:extLst>
                <a:ext uri="{FF2B5EF4-FFF2-40B4-BE49-F238E27FC236}">
                  <a16:creationId xmlns:a16="http://schemas.microsoft.com/office/drawing/2014/main" id="{2BD45407-6828-45B9-9FAA-99AD9B009F89}"/>
                </a:ext>
              </a:extLst>
            </p:cNvPr>
            <p:cNvSpPr/>
            <p:nvPr/>
          </p:nvSpPr>
          <p:spPr bwMode="auto">
            <a:xfrm>
              <a:off x="5894388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îś1iďè">
              <a:extLst>
                <a:ext uri="{FF2B5EF4-FFF2-40B4-BE49-F238E27FC236}">
                  <a16:creationId xmlns:a16="http://schemas.microsoft.com/office/drawing/2014/main" id="{E4AF2D46-36F4-4D69-9774-FF3D191FD6F9}"/>
                </a:ext>
              </a:extLst>
            </p:cNvPr>
            <p:cNvSpPr/>
            <p:nvPr/>
          </p:nvSpPr>
          <p:spPr bwMode="auto">
            <a:xfrm>
              <a:off x="5894388" y="4765675"/>
              <a:ext cx="184150" cy="47625"/>
            </a:xfrm>
            <a:prstGeom prst="rect">
              <a:avLst/>
            </a:pr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6" name="ïṩḻîḍê">
              <a:extLst>
                <a:ext uri="{FF2B5EF4-FFF2-40B4-BE49-F238E27FC236}">
                  <a16:creationId xmlns:a16="http://schemas.microsoft.com/office/drawing/2014/main" id="{8A2AD056-A49C-4C10-B369-0E197DCC2142}"/>
                </a:ext>
              </a:extLst>
            </p:cNvPr>
            <p:cNvSpPr/>
            <p:nvPr/>
          </p:nvSpPr>
          <p:spPr bwMode="auto">
            <a:xfrm>
              <a:off x="5894388" y="4765675"/>
              <a:ext cx="184150" cy="47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7" name="îṣļidê">
              <a:extLst>
                <a:ext uri="{FF2B5EF4-FFF2-40B4-BE49-F238E27FC236}">
                  <a16:creationId xmlns:a16="http://schemas.microsoft.com/office/drawing/2014/main" id="{C7B9DB1A-E09B-4E4E-ADD3-7569339EB780}"/>
                </a:ext>
              </a:extLst>
            </p:cNvPr>
            <p:cNvSpPr/>
            <p:nvPr/>
          </p:nvSpPr>
          <p:spPr bwMode="auto">
            <a:xfrm>
              <a:off x="6540500" y="4684713"/>
              <a:ext cx="184150" cy="195263"/>
            </a:xfrm>
            <a:custGeom>
              <a:avLst/>
              <a:gdLst>
                <a:gd name="T0" fmla="*/ 116 w 116"/>
                <a:gd name="T1" fmla="*/ 81 h 123"/>
                <a:gd name="T2" fmla="*/ 0 w 116"/>
                <a:gd name="T3" fmla="*/ 81 h 123"/>
                <a:gd name="T4" fmla="*/ 0 w 116"/>
                <a:gd name="T5" fmla="*/ 123 h 123"/>
                <a:gd name="T6" fmla="*/ 116 w 116"/>
                <a:gd name="T7" fmla="*/ 123 h 123"/>
                <a:gd name="T8" fmla="*/ 116 w 116"/>
                <a:gd name="T9" fmla="*/ 81 h 123"/>
                <a:gd name="T10" fmla="*/ 116 w 116"/>
                <a:gd name="T11" fmla="*/ 0 h 123"/>
                <a:gd name="T12" fmla="*/ 0 w 116"/>
                <a:gd name="T13" fmla="*/ 0 h 123"/>
                <a:gd name="T14" fmla="*/ 0 w 116"/>
                <a:gd name="T15" fmla="*/ 51 h 123"/>
                <a:gd name="T16" fmla="*/ 116 w 116"/>
                <a:gd name="T17" fmla="*/ 51 h 123"/>
                <a:gd name="T18" fmla="*/ 116 w 116"/>
                <a:gd name="T1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3">
                  <a:moveTo>
                    <a:pt x="116" y="81"/>
                  </a:moveTo>
                  <a:lnTo>
                    <a:pt x="0" y="81"/>
                  </a:lnTo>
                  <a:lnTo>
                    <a:pt x="0" y="123"/>
                  </a:lnTo>
                  <a:lnTo>
                    <a:pt x="116" y="123"/>
                  </a:lnTo>
                  <a:lnTo>
                    <a:pt x="116" y="81"/>
                  </a:lnTo>
                  <a:close/>
                  <a:moveTo>
                    <a:pt x="116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116" y="51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8" name="îṣľïde">
              <a:extLst>
                <a:ext uri="{FF2B5EF4-FFF2-40B4-BE49-F238E27FC236}">
                  <a16:creationId xmlns:a16="http://schemas.microsoft.com/office/drawing/2014/main" id="{0A8BBF04-5ED3-44C4-AADB-DF35F4E495B3}"/>
                </a:ext>
              </a:extLst>
            </p:cNvPr>
            <p:cNvSpPr/>
            <p:nvPr/>
          </p:nvSpPr>
          <p:spPr bwMode="auto">
            <a:xfrm>
              <a:off x="6540500" y="4684713"/>
              <a:ext cx="184150" cy="195263"/>
            </a:xfrm>
            <a:custGeom>
              <a:avLst/>
              <a:gdLst>
                <a:gd name="T0" fmla="*/ 116 w 116"/>
                <a:gd name="T1" fmla="*/ 81 h 123"/>
                <a:gd name="T2" fmla="*/ 0 w 116"/>
                <a:gd name="T3" fmla="*/ 81 h 123"/>
                <a:gd name="T4" fmla="*/ 0 w 116"/>
                <a:gd name="T5" fmla="*/ 123 h 123"/>
                <a:gd name="T6" fmla="*/ 116 w 116"/>
                <a:gd name="T7" fmla="*/ 123 h 123"/>
                <a:gd name="T8" fmla="*/ 116 w 116"/>
                <a:gd name="T9" fmla="*/ 81 h 123"/>
                <a:gd name="T10" fmla="*/ 116 w 116"/>
                <a:gd name="T11" fmla="*/ 0 h 123"/>
                <a:gd name="T12" fmla="*/ 0 w 116"/>
                <a:gd name="T13" fmla="*/ 0 h 123"/>
                <a:gd name="T14" fmla="*/ 0 w 116"/>
                <a:gd name="T15" fmla="*/ 51 h 123"/>
                <a:gd name="T16" fmla="*/ 116 w 116"/>
                <a:gd name="T17" fmla="*/ 51 h 123"/>
                <a:gd name="T18" fmla="*/ 116 w 116"/>
                <a:gd name="T1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3">
                  <a:moveTo>
                    <a:pt x="116" y="81"/>
                  </a:moveTo>
                  <a:lnTo>
                    <a:pt x="0" y="81"/>
                  </a:lnTo>
                  <a:lnTo>
                    <a:pt x="0" y="123"/>
                  </a:lnTo>
                  <a:lnTo>
                    <a:pt x="116" y="123"/>
                  </a:lnTo>
                  <a:lnTo>
                    <a:pt x="116" y="81"/>
                  </a:lnTo>
                  <a:moveTo>
                    <a:pt x="116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116" y="51"/>
                  </a:lnTo>
                  <a:lnTo>
                    <a:pt x="11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9" name="îśḷíḓé">
              <a:extLst>
                <a:ext uri="{FF2B5EF4-FFF2-40B4-BE49-F238E27FC236}">
                  <a16:creationId xmlns:a16="http://schemas.microsoft.com/office/drawing/2014/main" id="{EAFAB5C4-17D0-4FE3-88C3-00B6FAF77EA4}"/>
                </a:ext>
              </a:extLst>
            </p:cNvPr>
            <p:cNvSpPr/>
            <p:nvPr/>
          </p:nvSpPr>
          <p:spPr bwMode="auto">
            <a:xfrm>
              <a:off x="6540500" y="4765675"/>
              <a:ext cx="184150" cy="47625"/>
            </a:xfrm>
            <a:prstGeom prst="rect">
              <a:avLst/>
            </a:pr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0" name="ïślîḑe">
              <a:extLst>
                <a:ext uri="{FF2B5EF4-FFF2-40B4-BE49-F238E27FC236}">
                  <a16:creationId xmlns:a16="http://schemas.microsoft.com/office/drawing/2014/main" id="{A63FD577-15C4-43DE-ABBA-DE4A8C133D35}"/>
                </a:ext>
              </a:extLst>
            </p:cNvPr>
            <p:cNvSpPr/>
            <p:nvPr/>
          </p:nvSpPr>
          <p:spPr bwMode="auto">
            <a:xfrm>
              <a:off x="6540500" y="4765675"/>
              <a:ext cx="184150" cy="47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1" name="iṥliḓè">
              <a:extLst>
                <a:ext uri="{FF2B5EF4-FFF2-40B4-BE49-F238E27FC236}">
                  <a16:creationId xmlns:a16="http://schemas.microsoft.com/office/drawing/2014/main" id="{60707D67-49B3-4F75-8B57-448DC9B461B6}"/>
                </a:ext>
              </a:extLst>
            </p:cNvPr>
            <p:cNvSpPr/>
            <p:nvPr/>
          </p:nvSpPr>
          <p:spPr bwMode="auto">
            <a:xfrm>
              <a:off x="5953125" y="3341688"/>
              <a:ext cx="531813" cy="611188"/>
            </a:xfrm>
            <a:custGeom>
              <a:avLst/>
              <a:gdLst>
                <a:gd name="T0" fmla="*/ 60 w 153"/>
                <a:gd name="T1" fmla="*/ 0 h 176"/>
                <a:gd name="T2" fmla="*/ 38 w 153"/>
                <a:gd name="T3" fmla="*/ 27 h 176"/>
                <a:gd name="T4" fmla="*/ 27 w 153"/>
                <a:gd name="T5" fmla="*/ 50 h 176"/>
                <a:gd name="T6" fmla="*/ 17 w 153"/>
                <a:gd name="T7" fmla="*/ 78 h 176"/>
                <a:gd name="T8" fmla="*/ 1 w 153"/>
                <a:gd name="T9" fmla="*/ 95 h 176"/>
                <a:gd name="T10" fmla="*/ 2 w 153"/>
                <a:gd name="T11" fmla="*/ 117 h 176"/>
                <a:gd name="T12" fmla="*/ 23 w 153"/>
                <a:gd name="T13" fmla="*/ 144 h 176"/>
                <a:gd name="T14" fmla="*/ 50 w 153"/>
                <a:gd name="T15" fmla="*/ 158 h 176"/>
                <a:gd name="T16" fmla="*/ 96 w 153"/>
                <a:gd name="T17" fmla="*/ 176 h 176"/>
                <a:gd name="T18" fmla="*/ 119 w 153"/>
                <a:gd name="T19" fmla="*/ 154 h 176"/>
                <a:gd name="T20" fmla="*/ 111 w 153"/>
                <a:gd name="T21" fmla="*/ 142 h 176"/>
                <a:gd name="T22" fmla="*/ 138 w 153"/>
                <a:gd name="T23" fmla="*/ 125 h 176"/>
                <a:gd name="T24" fmla="*/ 153 w 153"/>
                <a:gd name="T25" fmla="*/ 111 h 176"/>
                <a:gd name="T26" fmla="*/ 151 w 153"/>
                <a:gd name="T27" fmla="*/ 95 h 176"/>
                <a:gd name="T28" fmla="*/ 137 w 153"/>
                <a:gd name="T29" fmla="*/ 56 h 176"/>
                <a:gd name="T30" fmla="*/ 119 w 153"/>
                <a:gd name="T31" fmla="*/ 29 h 176"/>
                <a:gd name="T32" fmla="*/ 109 w 153"/>
                <a:gd name="T33" fmla="*/ 12 h 176"/>
                <a:gd name="T34" fmla="*/ 60 w 153"/>
                <a:gd name="T3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3" h="176">
                  <a:moveTo>
                    <a:pt x="60" y="0"/>
                  </a:moveTo>
                  <a:cubicBezTo>
                    <a:pt x="38" y="27"/>
                    <a:pt x="38" y="27"/>
                    <a:pt x="38" y="27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0" y="94"/>
                    <a:pt x="1" y="95"/>
                  </a:cubicBezTo>
                  <a:cubicBezTo>
                    <a:pt x="2" y="95"/>
                    <a:pt x="0" y="114"/>
                    <a:pt x="2" y="117"/>
                  </a:cubicBezTo>
                  <a:cubicBezTo>
                    <a:pt x="4" y="120"/>
                    <a:pt x="23" y="144"/>
                    <a:pt x="23" y="144"/>
                  </a:cubicBezTo>
                  <a:cubicBezTo>
                    <a:pt x="23" y="144"/>
                    <a:pt x="42" y="156"/>
                    <a:pt x="50" y="158"/>
                  </a:cubicBezTo>
                  <a:cubicBezTo>
                    <a:pt x="58" y="160"/>
                    <a:pt x="96" y="176"/>
                    <a:pt x="96" y="176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11" y="142"/>
                    <a:pt x="111" y="142"/>
                    <a:pt x="111" y="142"/>
                  </a:cubicBezTo>
                  <a:cubicBezTo>
                    <a:pt x="111" y="142"/>
                    <a:pt x="135" y="127"/>
                    <a:pt x="138" y="125"/>
                  </a:cubicBezTo>
                  <a:cubicBezTo>
                    <a:pt x="141" y="123"/>
                    <a:pt x="153" y="111"/>
                    <a:pt x="153" y="111"/>
                  </a:cubicBezTo>
                  <a:cubicBezTo>
                    <a:pt x="153" y="111"/>
                    <a:pt x="152" y="101"/>
                    <a:pt x="151" y="95"/>
                  </a:cubicBezTo>
                  <a:cubicBezTo>
                    <a:pt x="149" y="88"/>
                    <a:pt x="137" y="56"/>
                    <a:pt x="137" y="56"/>
                  </a:cubicBezTo>
                  <a:cubicBezTo>
                    <a:pt x="137" y="56"/>
                    <a:pt x="121" y="33"/>
                    <a:pt x="119" y="29"/>
                  </a:cubicBezTo>
                  <a:cubicBezTo>
                    <a:pt x="118" y="25"/>
                    <a:pt x="109" y="12"/>
                    <a:pt x="109" y="12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2" name="îsḻïḑè">
              <a:extLst>
                <a:ext uri="{FF2B5EF4-FFF2-40B4-BE49-F238E27FC236}">
                  <a16:creationId xmlns:a16="http://schemas.microsoft.com/office/drawing/2014/main" id="{4062E356-2843-423A-AF72-4F0C096DA897}"/>
                </a:ext>
              </a:extLst>
            </p:cNvPr>
            <p:cNvSpPr/>
            <p:nvPr/>
          </p:nvSpPr>
          <p:spPr bwMode="auto">
            <a:xfrm>
              <a:off x="5962650" y="3838575"/>
              <a:ext cx="528638" cy="593725"/>
            </a:xfrm>
            <a:custGeom>
              <a:avLst/>
              <a:gdLst>
                <a:gd name="T0" fmla="*/ 152 w 152"/>
                <a:gd name="T1" fmla="*/ 169 h 171"/>
                <a:gd name="T2" fmla="*/ 1 w 152"/>
                <a:gd name="T3" fmla="*/ 171 h 171"/>
                <a:gd name="T4" fmla="*/ 0 w 152"/>
                <a:gd name="T5" fmla="*/ 17 h 171"/>
                <a:gd name="T6" fmla="*/ 16 w 152"/>
                <a:gd name="T7" fmla="*/ 1 h 171"/>
                <a:gd name="T8" fmla="*/ 134 w 152"/>
                <a:gd name="T9" fmla="*/ 0 h 171"/>
                <a:gd name="T10" fmla="*/ 151 w 152"/>
                <a:gd name="T11" fmla="*/ 16 h 171"/>
                <a:gd name="T12" fmla="*/ 152 w 152"/>
                <a:gd name="T13" fmla="*/ 16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71">
                  <a:moveTo>
                    <a:pt x="152" y="169"/>
                  </a:moveTo>
                  <a:cubicBezTo>
                    <a:pt x="1" y="171"/>
                    <a:pt x="1" y="171"/>
                    <a:pt x="1" y="17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1"/>
                    <a:pt x="16" y="1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3" y="0"/>
                    <a:pt x="151" y="7"/>
                    <a:pt x="151" y="16"/>
                  </a:cubicBezTo>
                  <a:lnTo>
                    <a:pt x="152" y="169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3" name="ïṡlïḍè">
              <a:extLst>
                <a:ext uri="{FF2B5EF4-FFF2-40B4-BE49-F238E27FC236}">
                  <a16:creationId xmlns:a16="http://schemas.microsoft.com/office/drawing/2014/main" id="{FAD80317-D5B7-40E7-95C4-25B971A08C65}"/>
                </a:ext>
              </a:extLst>
            </p:cNvPr>
            <p:cNvSpPr/>
            <p:nvPr/>
          </p:nvSpPr>
          <p:spPr bwMode="auto">
            <a:xfrm>
              <a:off x="6126163" y="3810000"/>
              <a:ext cx="227013" cy="444500"/>
            </a:xfrm>
            <a:custGeom>
              <a:avLst/>
              <a:gdLst>
                <a:gd name="T0" fmla="*/ 0 w 65"/>
                <a:gd name="T1" fmla="*/ 9 h 128"/>
                <a:gd name="T2" fmla="*/ 11 w 65"/>
                <a:gd name="T3" fmla="*/ 50 h 128"/>
                <a:gd name="T4" fmla="*/ 12 w 65"/>
                <a:gd name="T5" fmla="*/ 128 h 128"/>
                <a:gd name="T6" fmla="*/ 46 w 65"/>
                <a:gd name="T7" fmla="*/ 128 h 128"/>
                <a:gd name="T8" fmla="*/ 46 w 65"/>
                <a:gd name="T9" fmla="*/ 48 h 128"/>
                <a:gd name="T10" fmla="*/ 65 w 65"/>
                <a:gd name="T11" fmla="*/ 0 h 128"/>
                <a:gd name="T12" fmla="*/ 28 w 65"/>
                <a:gd name="T13" fmla="*/ 1 h 128"/>
                <a:gd name="T14" fmla="*/ 0 w 65"/>
                <a:gd name="T15" fmla="*/ 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128">
                  <a:moveTo>
                    <a:pt x="0" y="9"/>
                  </a:moveTo>
                  <a:cubicBezTo>
                    <a:pt x="0" y="9"/>
                    <a:pt x="11" y="22"/>
                    <a:pt x="11" y="50"/>
                  </a:cubicBezTo>
                  <a:cubicBezTo>
                    <a:pt x="11" y="77"/>
                    <a:pt x="12" y="128"/>
                    <a:pt x="12" y="128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8"/>
                    <a:pt x="43" y="21"/>
                    <a:pt x="65" y="0"/>
                  </a:cubicBezTo>
                  <a:cubicBezTo>
                    <a:pt x="28" y="1"/>
                    <a:pt x="28" y="1"/>
                    <a:pt x="28" y="1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4" name="ïŝ1ïḍé">
              <a:extLst>
                <a:ext uri="{FF2B5EF4-FFF2-40B4-BE49-F238E27FC236}">
                  <a16:creationId xmlns:a16="http://schemas.microsoft.com/office/drawing/2014/main" id="{67343540-9D5D-4940-BE6F-5FAA7ECDD630}"/>
                </a:ext>
              </a:extLst>
            </p:cNvPr>
            <p:cNvSpPr/>
            <p:nvPr/>
          </p:nvSpPr>
          <p:spPr bwMode="auto">
            <a:xfrm>
              <a:off x="6154738" y="3684588"/>
              <a:ext cx="128588" cy="268288"/>
            </a:xfrm>
            <a:custGeom>
              <a:avLst/>
              <a:gdLst>
                <a:gd name="T0" fmla="*/ 19 w 37"/>
                <a:gd name="T1" fmla="*/ 77 h 77"/>
                <a:gd name="T2" fmla="*/ 19 w 37"/>
                <a:gd name="T3" fmla="*/ 77 h 77"/>
                <a:gd name="T4" fmla="*/ 1 w 37"/>
                <a:gd name="T5" fmla="*/ 59 h 77"/>
                <a:gd name="T6" fmla="*/ 0 w 37"/>
                <a:gd name="T7" fmla="*/ 3 h 77"/>
                <a:gd name="T8" fmla="*/ 3 w 37"/>
                <a:gd name="T9" fmla="*/ 0 h 77"/>
                <a:gd name="T10" fmla="*/ 34 w 37"/>
                <a:gd name="T11" fmla="*/ 0 h 77"/>
                <a:gd name="T12" fmla="*/ 37 w 37"/>
                <a:gd name="T13" fmla="*/ 3 h 77"/>
                <a:gd name="T14" fmla="*/ 37 w 37"/>
                <a:gd name="T15" fmla="*/ 58 h 77"/>
                <a:gd name="T16" fmla="*/ 19 w 37"/>
                <a:gd name="T1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77">
                  <a:moveTo>
                    <a:pt x="19" y="77"/>
                  </a:moveTo>
                  <a:cubicBezTo>
                    <a:pt x="19" y="77"/>
                    <a:pt x="19" y="77"/>
                    <a:pt x="19" y="77"/>
                  </a:cubicBezTo>
                  <a:cubicBezTo>
                    <a:pt x="9" y="77"/>
                    <a:pt x="1" y="69"/>
                    <a:pt x="1" y="5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6" y="0"/>
                    <a:pt x="37" y="1"/>
                    <a:pt x="37" y="3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69"/>
                    <a:pt x="29" y="77"/>
                    <a:pt x="19" y="77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5" name="îṥḷiḓe">
              <a:extLst>
                <a:ext uri="{FF2B5EF4-FFF2-40B4-BE49-F238E27FC236}">
                  <a16:creationId xmlns:a16="http://schemas.microsoft.com/office/drawing/2014/main" id="{A1345181-CAAC-414B-9E1F-ED93DD09C914}"/>
                </a:ext>
              </a:extLst>
            </p:cNvPr>
            <p:cNvSpPr/>
            <p:nvPr/>
          </p:nvSpPr>
          <p:spPr bwMode="auto">
            <a:xfrm>
              <a:off x="5994400" y="3344863"/>
              <a:ext cx="447675" cy="306388"/>
            </a:xfrm>
            <a:custGeom>
              <a:avLst/>
              <a:gdLst>
                <a:gd name="T0" fmla="*/ 129 w 129"/>
                <a:gd name="T1" fmla="*/ 88 h 88"/>
                <a:gd name="T2" fmla="*/ 129 w 129"/>
                <a:gd name="T3" fmla="*/ 86 h 88"/>
                <a:gd name="T4" fmla="*/ 127 w 129"/>
                <a:gd name="T5" fmla="*/ 70 h 88"/>
                <a:gd name="T6" fmla="*/ 127 w 129"/>
                <a:gd name="T7" fmla="*/ 63 h 88"/>
                <a:gd name="T8" fmla="*/ 63 w 129"/>
                <a:gd name="T9" fmla="*/ 0 h 88"/>
                <a:gd name="T10" fmla="*/ 0 w 129"/>
                <a:gd name="T11" fmla="*/ 63 h 88"/>
                <a:gd name="T12" fmla="*/ 0 w 129"/>
                <a:gd name="T13" fmla="*/ 88 h 88"/>
                <a:gd name="T14" fmla="*/ 129 w 129"/>
                <a:gd name="T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88">
                  <a:moveTo>
                    <a:pt x="129" y="88"/>
                  </a:moveTo>
                  <a:cubicBezTo>
                    <a:pt x="129" y="88"/>
                    <a:pt x="129" y="87"/>
                    <a:pt x="129" y="86"/>
                  </a:cubicBezTo>
                  <a:cubicBezTo>
                    <a:pt x="129" y="81"/>
                    <a:pt x="128" y="75"/>
                    <a:pt x="127" y="70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7" y="28"/>
                    <a:pt x="98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88"/>
                    <a:pt x="0" y="88"/>
                    <a:pt x="0" y="88"/>
                  </a:cubicBezTo>
                  <a:lnTo>
                    <a:pt x="129" y="88"/>
                  </a:lnTo>
                  <a:close/>
                </a:path>
              </a:pathLst>
            </a:custGeom>
            <a:solidFill>
              <a:srgbClr val="9B53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6" name="îšḻîdé">
              <a:extLst>
                <a:ext uri="{FF2B5EF4-FFF2-40B4-BE49-F238E27FC236}">
                  <a16:creationId xmlns:a16="http://schemas.microsoft.com/office/drawing/2014/main" id="{86A261FC-B4C3-4654-BB74-3E46DAC98580}"/>
                </a:ext>
              </a:extLst>
            </p:cNvPr>
            <p:cNvSpPr/>
            <p:nvPr/>
          </p:nvSpPr>
          <p:spPr bwMode="auto">
            <a:xfrm>
              <a:off x="6011863" y="3365500"/>
              <a:ext cx="414338" cy="482600"/>
            </a:xfrm>
            <a:custGeom>
              <a:avLst/>
              <a:gdLst>
                <a:gd name="T0" fmla="*/ 117 w 119"/>
                <a:gd name="T1" fmla="*/ 64 h 139"/>
                <a:gd name="T2" fmla="*/ 117 w 119"/>
                <a:gd name="T3" fmla="*/ 58 h 139"/>
                <a:gd name="T4" fmla="*/ 59 w 119"/>
                <a:gd name="T5" fmla="*/ 0 h 139"/>
                <a:gd name="T6" fmla="*/ 0 w 119"/>
                <a:gd name="T7" fmla="*/ 58 h 139"/>
                <a:gd name="T8" fmla="*/ 0 w 119"/>
                <a:gd name="T9" fmla="*/ 82 h 139"/>
                <a:gd name="T10" fmla="*/ 0 w 119"/>
                <a:gd name="T11" fmla="*/ 87 h 139"/>
                <a:gd name="T12" fmla="*/ 59 w 119"/>
                <a:gd name="T13" fmla="*/ 139 h 139"/>
                <a:gd name="T14" fmla="*/ 119 w 119"/>
                <a:gd name="T15" fmla="*/ 79 h 139"/>
                <a:gd name="T16" fmla="*/ 117 w 119"/>
                <a:gd name="T17" fmla="*/ 6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139">
                  <a:moveTo>
                    <a:pt x="117" y="64"/>
                  </a:moveTo>
                  <a:cubicBezTo>
                    <a:pt x="117" y="58"/>
                    <a:pt x="117" y="58"/>
                    <a:pt x="117" y="58"/>
                  </a:cubicBezTo>
                  <a:cubicBezTo>
                    <a:pt x="117" y="26"/>
                    <a:pt x="91" y="0"/>
                    <a:pt x="59" y="0"/>
                  </a:cubicBezTo>
                  <a:cubicBezTo>
                    <a:pt x="26" y="0"/>
                    <a:pt x="0" y="26"/>
                    <a:pt x="0" y="58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4"/>
                    <a:pt x="0" y="85"/>
                    <a:pt x="0" y="87"/>
                  </a:cubicBezTo>
                  <a:cubicBezTo>
                    <a:pt x="4" y="116"/>
                    <a:pt x="29" y="139"/>
                    <a:pt x="59" y="139"/>
                  </a:cubicBezTo>
                  <a:cubicBezTo>
                    <a:pt x="92" y="139"/>
                    <a:pt x="119" y="112"/>
                    <a:pt x="119" y="79"/>
                  </a:cubicBezTo>
                  <a:cubicBezTo>
                    <a:pt x="119" y="74"/>
                    <a:pt x="118" y="69"/>
                    <a:pt x="117" y="64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7" name="îṩḻïḍe">
              <a:extLst>
                <a:ext uri="{FF2B5EF4-FFF2-40B4-BE49-F238E27FC236}">
                  <a16:creationId xmlns:a16="http://schemas.microsoft.com/office/drawing/2014/main" id="{BA19AA14-01A8-408D-8110-BA651283A591}"/>
                </a:ext>
              </a:extLst>
            </p:cNvPr>
            <p:cNvSpPr/>
            <p:nvPr/>
          </p:nvSpPr>
          <p:spPr bwMode="auto">
            <a:xfrm>
              <a:off x="6122988" y="3660775"/>
              <a:ext cx="31750" cy="31750"/>
            </a:xfrm>
            <a:prstGeom prst="ellipse">
              <a:avLst/>
            </a:pr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8" name="íṣļíḍè">
              <a:extLst>
                <a:ext uri="{FF2B5EF4-FFF2-40B4-BE49-F238E27FC236}">
                  <a16:creationId xmlns:a16="http://schemas.microsoft.com/office/drawing/2014/main" id="{F1113926-841B-43C4-8D29-6E16BC0F8DED}"/>
                </a:ext>
              </a:extLst>
            </p:cNvPr>
            <p:cNvSpPr/>
            <p:nvPr/>
          </p:nvSpPr>
          <p:spPr bwMode="auto">
            <a:xfrm>
              <a:off x="6269038" y="3660775"/>
              <a:ext cx="31750" cy="31750"/>
            </a:xfrm>
            <a:prstGeom prst="ellipse">
              <a:avLst/>
            </a:pr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9" name="íSḻiḓê">
              <a:extLst>
                <a:ext uri="{FF2B5EF4-FFF2-40B4-BE49-F238E27FC236}">
                  <a16:creationId xmlns:a16="http://schemas.microsoft.com/office/drawing/2014/main" id="{FC82C2C1-D29C-4A82-9F29-61122AE5E81A}"/>
                </a:ext>
              </a:extLst>
            </p:cNvPr>
            <p:cNvSpPr/>
            <p:nvPr/>
          </p:nvSpPr>
          <p:spPr bwMode="auto">
            <a:xfrm>
              <a:off x="5956300" y="3613150"/>
              <a:ext cx="114300" cy="114300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0" name="ïs1îḑe">
              <a:extLst>
                <a:ext uri="{FF2B5EF4-FFF2-40B4-BE49-F238E27FC236}">
                  <a16:creationId xmlns:a16="http://schemas.microsoft.com/office/drawing/2014/main" id="{767BE87E-D95C-4B21-93EF-2851565CFC6C}"/>
                </a:ext>
              </a:extLst>
            </p:cNvPr>
            <p:cNvSpPr/>
            <p:nvPr/>
          </p:nvSpPr>
          <p:spPr bwMode="auto">
            <a:xfrm>
              <a:off x="6362700" y="3613150"/>
              <a:ext cx="114300" cy="114300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1" name="îṩľïḍê">
              <a:extLst>
                <a:ext uri="{FF2B5EF4-FFF2-40B4-BE49-F238E27FC236}">
                  <a16:creationId xmlns:a16="http://schemas.microsoft.com/office/drawing/2014/main" id="{827CF3FE-AC84-4174-8A29-08D3CD0E63D5}"/>
                </a:ext>
              </a:extLst>
            </p:cNvPr>
            <p:cNvSpPr/>
            <p:nvPr/>
          </p:nvSpPr>
          <p:spPr bwMode="auto">
            <a:xfrm>
              <a:off x="5737225" y="4521200"/>
              <a:ext cx="493713" cy="1041400"/>
            </a:xfrm>
            <a:custGeom>
              <a:avLst/>
              <a:gdLst>
                <a:gd name="T0" fmla="*/ 142 w 142"/>
                <a:gd name="T1" fmla="*/ 40 h 300"/>
                <a:gd name="T2" fmla="*/ 68 w 142"/>
                <a:gd name="T3" fmla="*/ 75 h 300"/>
                <a:gd name="T4" fmla="*/ 82 w 142"/>
                <a:gd name="T5" fmla="*/ 300 h 300"/>
                <a:gd name="T6" fmla="*/ 55 w 142"/>
                <a:gd name="T7" fmla="*/ 300 h 300"/>
                <a:gd name="T8" fmla="*/ 2 w 142"/>
                <a:gd name="T9" fmla="*/ 69 h 300"/>
                <a:gd name="T10" fmla="*/ 13 w 142"/>
                <a:gd name="T11" fmla="*/ 43 h 300"/>
                <a:gd name="T12" fmla="*/ 83 w 142"/>
                <a:gd name="T13" fmla="*/ 0 h 300"/>
                <a:gd name="T14" fmla="*/ 142 w 142"/>
                <a:gd name="T15" fmla="*/ 4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00">
                  <a:moveTo>
                    <a:pt x="142" y="40"/>
                  </a:moveTo>
                  <a:cubicBezTo>
                    <a:pt x="68" y="75"/>
                    <a:pt x="68" y="75"/>
                    <a:pt x="68" y="75"/>
                  </a:cubicBezTo>
                  <a:cubicBezTo>
                    <a:pt x="82" y="300"/>
                    <a:pt x="82" y="300"/>
                    <a:pt x="82" y="300"/>
                  </a:cubicBezTo>
                  <a:cubicBezTo>
                    <a:pt x="55" y="300"/>
                    <a:pt x="55" y="300"/>
                    <a:pt x="55" y="300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0" y="59"/>
                    <a:pt x="4" y="49"/>
                    <a:pt x="13" y="43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42" y="40"/>
                  </a:ln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2" name="íṡľïḋê">
              <a:extLst>
                <a:ext uri="{FF2B5EF4-FFF2-40B4-BE49-F238E27FC236}">
                  <a16:creationId xmlns:a16="http://schemas.microsoft.com/office/drawing/2014/main" id="{12A49C13-67C3-42E9-845C-4746061D225E}"/>
                </a:ext>
              </a:extLst>
            </p:cNvPr>
            <p:cNvSpPr/>
            <p:nvPr/>
          </p:nvSpPr>
          <p:spPr bwMode="auto">
            <a:xfrm>
              <a:off x="5976938" y="3633788"/>
              <a:ext cx="34925" cy="73025"/>
            </a:xfrm>
            <a:custGeom>
              <a:avLst/>
              <a:gdLst>
                <a:gd name="T0" fmla="*/ 10 w 10"/>
                <a:gd name="T1" fmla="*/ 0 h 21"/>
                <a:gd name="T2" fmla="*/ 0 w 10"/>
                <a:gd name="T3" fmla="*/ 11 h 21"/>
                <a:gd name="T4" fmla="*/ 10 w 10"/>
                <a:gd name="T5" fmla="*/ 21 h 21"/>
                <a:gd name="T6" fmla="*/ 10 w 10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10" y="0"/>
                  </a:moveTo>
                  <a:cubicBezTo>
                    <a:pt x="4" y="0"/>
                    <a:pt x="0" y="5"/>
                    <a:pt x="0" y="11"/>
                  </a:cubicBezTo>
                  <a:cubicBezTo>
                    <a:pt x="0" y="16"/>
                    <a:pt x="4" y="21"/>
                    <a:pt x="10" y="21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D9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3" name="íšľiḑé">
              <a:extLst>
                <a:ext uri="{FF2B5EF4-FFF2-40B4-BE49-F238E27FC236}">
                  <a16:creationId xmlns:a16="http://schemas.microsoft.com/office/drawing/2014/main" id="{BEA1774F-7553-4C1A-AE2C-C02E74744461}"/>
                </a:ext>
              </a:extLst>
            </p:cNvPr>
            <p:cNvSpPr/>
            <p:nvPr/>
          </p:nvSpPr>
          <p:spPr bwMode="auto">
            <a:xfrm>
              <a:off x="6415088" y="3633788"/>
              <a:ext cx="34925" cy="73025"/>
            </a:xfrm>
            <a:custGeom>
              <a:avLst/>
              <a:gdLst>
                <a:gd name="T0" fmla="*/ 0 w 10"/>
                <a:gd name="T1" fmla="*/ 0 h 21"/>
                <a:gd name="T2" fmla="*/ 10 w 10"/>
                <a:gd name="T3" fmla="*/ 11 h 21"/>
                <a:gd name="T4" fmla="*/ 0 w 10"/>
                <a:gd name="T5" fmla="*/ 21 h 21"/>
                <a:gd name="T6" fmla="*/ 0 w 10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0" y="0"/>
                  </a:moveTo>
                  <a:cubicBezTo>
                    <a:pt x="6" y="0"/>
                    <a:pt x="10" y="5"/>
                    <a:pt x="10" y="11"/>
                  </a:cubicBezTo>
                  <a:cubicBezTo>
                    <a:pt x="10" y="16"/>
                    <a:pt x="6" y="21"/>
                    <a:pt x="0" y="2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9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4" name="iś1íḓé">
              <a:extLst>
                <a:ext uri="{FF2B5EF4-FFF2-40B4-BE49-F238E27FC236}">
                  <a16:creationId xmlns:a16="http://schemas.microsoft.com/office/drawing/2014/main" id="{5F18A5E6-2717-4CB3-938A-2464B1409FCC}"/>
                </a:ext>
              </a:extLst>
            </p:cNvPr>
            <p:cNvSpPr/>
            <p:nvPr/>
          </p:nvSpPr>
          <p:spPr bwMode="auto">
            <a:xfrm>
              <a:off x="6169025" y="4000500"/>
              <a:ext cx="117475" cy="628650"/>
            </a:xfrm>
            <a:prstGeom prst="rect">
              <a:avLst/>
            </a:pr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5" name="íṥ1iḑê">
              <a:extLst>
                <a:ext uri="{FF2B5EF4-FFF2-40B4-BE49-F238E27FC236}">
                  <a16:creationId xmlns:a16="http://schemas.microsoft.com/office/drawing/2014/main" id="{BF0514CE-77CA-4A14-A052-465DC97D3BAA}"/>
                </a:ext>
              </a:extLst>
            </p:cNvPr>
            <p:cNvSpPr/>
            <p:nvPr/>
          </p:nvSpPr>
          <p:spPr bwMode="auto">
            <a:xfrm>
              <a:off x="6327775" y="3473450"/>
              <a:ext cx="119063" cy="163513"/>
            </a:xfrm>
            <a:custGeom>
              <a:avLst/>
              <a:gdLst>
                <a:gd name="T0" fmla="*/ 9 w 34"/>
                <a:gd name="T1" fmla="*/ 33 h 47"/>
                <a:gd name="T2" fmla="*/ 18 w 34"/>
                <a:gd name="T3" fmla="*/ 46 h 47"/>
                <a:gd name="T4" fmla="*/ 29 w 34"/>
                <a:gd name="T5" fmla="*/ 42 h 47"/>
                <a:gd name="T6" fmla="*/ 33 w 34"/>
                <a:gd name="T7" fmla="*/ 37 h 47"/>
                <a:gd name="T8" fmla="*/ 32 w 34"/>
                <a:gd name="T9" fmla="*/ 32 h 47"/>
                <a:gd name="T10" fmla="*/ 20 w 34"/>
                <a:gd name="T11" fmla="*/ 13 h 47"/>
                <a:gd name="T12" fmla="*/ 3 w 34"/>
                <a:gd name="T13" fmla="*/ 9 h 47"/>
                <a:gd name="T14" fmla="*/ 9 w 34"/>
                <a:gd name="T15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7">
                  <a:moveTo>
                    <a:pt x="9" y="33"/>
                  </a:moveTo>
                  <a:cubicBezTo>
                    <a:pt x="10" y="38"/>
                    <a:pt x="13" y="44"/>
                    <a:pt x="18" y="46"/>
                  </a:cubicBezTo>
                  <a:cubicBezTo>
                    <a:pt x="22" y="47"/>
                    <a:pt x="26" y="45"/>
                    <a:pt x="29" y="42"/>
                  </a:cubicBezTo>
                  <a:cubicBezTo>
                    <a:pt x="31" y="41"/>
                    <a:pt x="33" y="39"/>
                    <a:pt x="33" y="37"/>
                  </a:cubicBezTo>
                  <a:cubicBezTo>
                    <a:pt x="34" y="35"/>
                    <a:pt x="33" y="33"/>
                    <a:pt x="32" y="32"/>
                  </a:cubicBezTo>
                  <a:cubicBezTo>
                    <a:pt x="28" y="25"/>
                    <a:pt x="25" y="19"/>
                    <a:pt x="20" y="13"/>
                  </a:cubicBezTo>
                  <a:cubicBezTo>
                    <a:pt x="15" y="8"/>
                    <a:pt x="8" y="0"/>
                    <a:pt x="3" y="9"/>
                  </a:cubicBezTo>
                  <a:cubicBezTo>
                    <a:pt x="0" y="14"/>
                    <a:pt x="7" y="28"/>
                    <a:pt x="9" y="33"/>
                  </a:cubicBez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6" name="íşḻîḋê">
              <a:extLst>
                <a:ext uri="{FF2B5EF4-FFF2-40B4-BE49-F238E27FC236}">
                  <a16:creationId xmlns:a16="http://schemas.microsoft.com/office/drawing/2014/main" id="{DC693E09-3910-4064-ACD3-85BCDF2D750F}"/>
                </a:ext>
              </a:extLst>
            </p:cNvPr>
            <p:cNvSpPr/>
            <p:nvPr/>
          </p:nvSpPr>
          <p:spPr bwMode="auto">
            <a:xfrm>
              <a:off x="6061075" y="3370263"/>
              <a:ext cx="319088" cy="176213"/>
            </a:xfrm>
            <a:custGeom>
              <a:avLst/>
              <a:gdLst>
                <a:gd name="T0" fmla="*/ 92 w 92"/>
                <a:gd name="T1" fmla="*/ 26 h 51"/>
                <a:gd name="T2" fmla="*/ 46 w 92"/>
                <a:gd name="T3" fmla="*/ 11 h 51"/>
                <a:gd name="T4" fmla="*/ 46 w 92"/>
                <a:gd name="T5" fmla="*/ 0 h 51"/>
                <a:gd name="T6" fmla="*/ 0 w 92"/>
                <a:gd name="T7" fmla="*/ 26 h 51"/>
                <a:gd name="T8" fmla="*/ 46 w 92"/>
                <a:gd name="T9" fmla="*/ 51 h 51"/>
                <a:gd name="T10" fmla="*/ 92 w 92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51">
                  <a:moveTo>
                    <a:pt x="92" y="26"/>
                  </a:moveTo>
                  <a:cubicBezTo>
                    <a:pt x="79" y="16"/>
                    <a:pt x="63" y="11"/>
                    <a:pt x="46" y="11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9" y="0"/>
                    <a:pt x="12" y="16"/>
                    <a:pt x="0" y="26"/>
                  </a:cubicBezTo>
                  <a:cubicBezTo>
                    <a:pt x="11" y="39"/>
                    <a:pt x="27" y="51"/>
                    <a:pt x="46" y="51"/>
                  </a:cubicBezTo>
                  <a:cubicBezTo>
                    <a:pt x="64" y="51"/>
                    <a:pt x="81" y="39"/>
                    <a:pt x="92" y="26"/>
                  </a:cubicBez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7" name="îṩlïḓe">
              <a:extLst>
                <a:ext uri="{FF2B5EF4-FFF2-40B4-BE49-F238E27FC236}">
                  <a16:creationId xmlns:a16="http://schemas.microsoft.com/office/drawing/2014/main" id="{C0C7D1FB-4353-4D3C-8117-CF2725994E8C}"/>
                </a:ext>
              </a:extLst>
            </p:cNvPr>
            <p:cNvSpPr/>
            <p:nvPr/>
          </p:nvSpPr>
          <p:spPr bwMode="auto">
            <a:xfrm>
              <a:off x="5667375" y="3844925"/>
              <a:ext cx="347663" cy="792163"/>
            </a:xfrm>
            <a:custGeom>
              <a:avLst/>
              <a:gdLst>
                <a:gd name="T0" fmla="*/ 3 w 100"/>
                <a:gd name="T1" fmla="*/ 137 h 228"/>
                <a:gd name="T2" fmla="*/ 1 w 100"/>
                <a:gd name="T3" fmla="*/ 126 h 228"/>
                <a:gd name="T4" fmla="*/ 73 w 100"/>
                <a:gd name="T5" fmla="*/ 9 h 228"/>
                <a:gd name="T6" fmla="*/ 97 w 100"/>
                <a:gd name="T7" fmla="*/ 0 h 228"/>
                <a:gd name="T8" fmla="*/ 100 w 100"/>
                <a:gd name="T9" fmla="*/ 54 h 228"/>
                <a:gd name="T10" fmla="*/ 45 w 100"/>
                <a:gd name="T11" fmla="*/ 119 h 228"/>
                <a:gd name="T12" fmla="*/ 43 w 100"/>
                <a:gd name="T13" fmla="*/ 134 h 228"/>
                <a:gd name="T14" fmla="*/ 86 w 100"/>
                <a:gd name="T15" fmla="*/ 222 h 228"/>
                <a:gd name="T16" fmla="*/ 64 w 100"/>
                <a:gd name="T17" fmla="*/ 228 h 228"/>
                <a:gd name="T18" fmla="*/ 3 w 100"/>
                <a:gd name="T19" fmla="*/ 137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228">
                  <a:moveTo>
                    <a:pt x="3" y="137"/>
                  </a:moveTo>
                  <a:cubicBezTo>
                    <a:pt x="1" y="134"/>
                    <a:pt x="0" y="130"/>
                    <a:pt x="1" y="126"/>
                  </a:cubicBezTo>
                  <a:cubicBezTo>
                    <a:pt x="9" y="92"/>
                    <a:pt x="70" y="12"/>
                    <a:pt x="73" y="9"/>
                  </a:cubicBezTo>
                  <a:cubicBezTo>
                    <a:pt x="77" y="4"/>
                    <a:pt x="97" y="0"/>
                    <a:pt x="97" y="0"/>
                  </a:cubicBezTo>
                  <a:cubicBezTo>
                    <a:pt x="100" y="54"/>
                    <a:pt x="100" y="54"/>
                    <a:pt x="100" y="54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41" y="123"/>
                    <a:pt x="41" y="129"/>
                    <a:pt x="43" y="134"/>
                  </a:cubicBezTo>
                  <a:cubicBezTo>
                    <a:pt x="86" y="222"/>
                    <a:pt x="86" y="222"/>
                    <a:pt x="86" y="222"/>
                  </a:cubicBezTo>
                  <a:cubicBezTo>
                    <a:pt x="64" y="228"/>
                    <a:pt x="64" y="228"/>
                    <a:pt x="64" y="228"/>
                  </a:cubicBezTo>
                  <a:lnTo>
                    <a:pt x="3" y="137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8" name="iṥḷïḑê">
              <a:extLst>
                <a:ext uri="{FF2B5EF4-FFF2-40B4-BE49-F238E27FC236}">
                  <a16:creationId xmlns:a16="http://schemas.microsoft.com/office/drawing/2014/main" id="{D124E6B4-C707-4EC0-835C-78D342F43BB9}"/>
                </a:ext>
              </a:extLst>
            </p:cNvPr>
            <p:cNvSpPr/>
            <p:nvPr/>
          </p:nvSpPr>
          <p:spPr bwMode="auto">
            <a:xfrm>
              <a:off x="6157913" y="4521200"/>
              <a:ext cx="493713" cy="1041400"/>
            </a:xfrm>
            <a:custGeom>
              <a:avLst/>
              <a:gdLst>
                <a:gd name="T0" fmla="*/ 59 w 142"/>
                <a:gd name="T1" fmla="*/ 0 h 300"/>
                <a:gd name="T2" fmla="*/ 129 w 142"/>
                <a:gd name="T3" fmla="*/ 43 h 300"/>
                <a:gd name="T4" fmla="*/ 140 w 142"/>
                <a:gd name="T5" fmla="*/ 69 h 300"/>
                <a:gd name="T6" fmla="*/ 87 w 142"/>
                <a:gd name="T7" fmla="*/ 300 h 300"/>
                <a:gd name="T8" fmla="*/ 60 w 142"/>
                <a:gd name="T9" fmla="*/ 300 h 300"/>
                <a:gd name="T10" fmla="*/ 74 w 142"/>
                <a:gd name="T11" fmla="*/ 75 h 300"/>
                <a:gd name="T12" fmla="*/ 0 w 142"/>
                <a:gd name="T13" fmla="*/ 40 h 300"/>
                <a:gd name="T14" fmla="*/ 59 w 142"/>
                <a:gd name="T15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00">
                  <a:moveTo>
                    <a:pt x="59" y="0"/>
                  </a:moveTo>
                  <a:cubicBezTo>
                    <a:pt x="129" y="43"/>
                    <a:pt x="129" y="43"/>
                    <a:pt x="129" y="43"/>
                  </a:cubicBezTo>
                  <a:cubicBezTo>
                    <a:pt x="138" y="49"/>
                    <a:pt x="142" y="59"/>
                    <a:pt x="140" y="69"/>
                  </a:cubicBezTo>
                  <a:cubicBezTo>
                    <a:pt x="87" y="300"/>
                    <a:pt x="87" y="300"/>
                    <a:pt x="87" y="300"/>
                  </a:cubicBezTo>
                  <a:cubicBezTo>
                    <a:pt x="60" y="300"/>
                    <a:pt x="60" y="300"/>
                    <a:pt x="60" y="300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0" y="40"/>
                    <a:pt x="0" y="40"/>
                    <a:pt x="0" y="40"/>
                  </a:cubicBezTo>
                  <a:lnTo>
                    <a:pt x="59" y="0"/>
                  </a:ln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9" name="îšľíḑè">
              <a:extLst>
                <a:ext uri="{FF2B5EF4-FFF2-40B4-BE49-F238E27FC236}">
                  <a16:creationId xmlns:a16="http://schemas.microsoft.com/office/drawing/2014/main" id="{3DBA4EE9-27DE-4F97-825F-30AD0B325E66}"/>
                </a:ext>
              </a:extLst>
            </p:cNvPr>
            <p:cNvSpPr/>
            <p:nvPr/>
          </p:nvSpPr>
          <p:spPr bwMode="auto">
            <a:xfrm>
              <a:off x="6432550" y="3844925"/>
              <a:ext cx="319088" cy="792163"/>
            </a:xfrm>
            <a:custGeom>
              <a:avLst/>
              <a:gdLst>
                <a:gd name="T0" fmla="*/ 89 w 92"/>
                <a:gd name="T1" fmla="*/ 135 h 228"/>
                <a:gd name="T2" fmla="*/ 91 w 92"/>
                <a:gd name="T3" fmla="*/ 125 h 228"/>
                <a:gd name="T4" fmla="*/ 27 w 92"/>
                <a:gd name="T5" fmla="*/ 9 h 228"/>
                <a:gd name="T6" fmla="*/ 3 w 92"/>
                <a:gd name="T7" fmla="*/ 0 h 228"/>
                <a:gd name="T8" fmla="*/ 0 w 92"/>
                <a:gd name="T9" fmla="*/ 54 h 228"/>
                <a:gd name="T10" fmla="*/ 47 w 92"/>
                <a:gd name="T11" fmla="*/ 117 h 228"/>
                <a:gd name="T12" fmla="*/ 49 w 92"/>
                <a:gd name="T13" fmla="*/ 132 h 228"/>
                <a:gd name="T14" fmla="*/ 14 w 92"/>
                <a:gd name="T15" fmla="*/ 222 h 228"/>
                <a:gd name="T16" fmla="*/ 36 w 92"/>
                <a:gd name="T17" fmla="*/ 228 h 228"/>
                <a:gd name="T18" fmla="*/ 89 w 92"/>
                <a:gd name="T19" fmla="*/ 13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228">
                  <a:moveTo>
                    <a:pt x="89" y="135"/>
                  </a:moveTo>
                  <a:cubicBezTo>
                    <a:pt x="91" y="132"/>
                    <a:pt x="92" y="129"/>
                    <a:pt x="91" y="125"/>
                  </a:cubicBezTo>
                  <a:cubicBezTo>
                    <a:pt x="84" y="92"/>
                    <a:pt x="30" y="13"/>
                    <a:pt x="27" y="9"/>
                  </a:cubicBezTo>
                  <a:cubicBezTo>
                    <a:pt x="23" y="4"/>
                    <a:pt x="3" y="0"/>
                    <a:pt x="3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7" y="117"/>
                    <a:pt x="47" y="117"/>
                    <a:pt x="47" y="117"/>
                  </a:cubicBezTo>
                  <a:cubicBezTo>
                    <a:pt x="51" y="121"/>
                    <a:pt x="51" y="127"/>
                    <a:pt x="49" y="132"/>
                  </a:cubicBezTo>
                  <a:cubicBezTo>
                    <a:pt x="14" y="222"/>
                    <a:pt x="14" y="222"/>
                    <a:pt x="14" y="222"/>
                  </a:cubicBezTo>
                  <a:cubicBezTo>
                    <a:pt x="36" y="228"/>
                    <a:pt x="36" y="228"/>
                    <a:pt x="36" y="228"/>
                  </a:cubicBezTo>
                  <a:lnTo>
                    <a:pt x="89" y="135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0" name="iṡļîḑê">
              <a:extLst>
                <a:ext uri="{FF2B5EF4-FFF2-40B4-BE49-F238E27FC236}">
                  <a16:creationId xmlns:a16="http://schemas.microsoft.com/office/drawing/2014/main" id="{F2FBEA20-B07F-4278-BC25-DD191619D31B}"/>
                </a:ext>
              </a:extLst>
            </p:cNvPr>
            <p:cNvSpPr/>
            <p:nvPr/>
          </p:nvSpPr>
          <p:spPr bwMode="auto">
            <a:xfrm>
              <a:off x="5988050" y="3473450"/>
              <a:ext cx="117475" cy="163513"/>
            </a:xfrm>
            <a:custGeom>
              <a:avLst/>
              <a:gdLst>
                <a:gd name="T0" fmla="*/ 25 w 34"/>
                <a:gd name="T1" fmla="*/ 33 h 47"/>
                <a:gd name="T2" fmla="*/ 16 w 34"/>
                <a:gd name="T3" fmla="*/ 46 h 47"/>
                <a:gd name="T4" fmla="*/ 4 w 34"/>
                <a:gd name="T5" fmla="*/ 42 h 47"/>
                <a:gd name="T6" fmla="*/ 0 w 34"/>
                <a:gd name="T7" fmla="*/ 37 h 47"/>
                <a:gd name="T8" fmla="*/ 2 w 34"/>
                <a:gd name="T9" fmla="*/ 32 h 47"/>
                <a:gd name="T10" fmla="*/ 14 w 34"/>
                <a:gd name="T11" fmla="*/ 13 h 47"/>
                <a:gd name="T12" fmla="*/ 31 w 34"/>
                <a:gd name="T13" fmla="*/ 9 h 47"/>
                <a:gd name="T14" fmla="*/ 25 w 34"/>
                <a:gd name="T15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7">
                  <a:moveTo>
                    <a:pt x="25" y="33"/>
                  </a:moveTo>
                  <a:cubicBezTo>
                    <a:pt x="23" y="38"/>
                    <a:pt x="21" y="44"/>
                    <a:pt x="16" y="46"/>
                  </a:cubicBezTo>
                  <a:cubicBezTo>
                    <a:pt x="12" y="47"/>
                    <a:pt x="8" y="45"/>
                    <a:pt x="4" y="42"/>
                  </a:cubicBezTo>
                  <a:cubicBezTo>
                    <a:pt x="2" y="41"/>
                    <a:pt x="0" y="39"/>
                    <a:pt x="0" y="37"/>
                  </a:cubicBezTo>
                  <a:cubicBezTo>
                    <a:pt x="0" y="35"/>
                    <a:pt x="1" y="33"/>
                    <a:pt x="2" y="32"/>
                  </a:cubicBezTo>
                  <a:cubicBezTo>
                    <a:pt x="5" y="25"/>
                    <a:pt x="9" y="19"/>
                    <a:pt x="14" y="13"/>
                  </a:cubicBezTo>
                  <a:cubicBezTo>
                    <a:pt x="18" y="8"/>
                    <a:pt x="26" y="0"/>
                    <a:pt x="31" y="9"/>
                  </a:cubicBezTo>
                  <a:cubicBezTo>
                    <a:pt x="34" y="14"/>
                    <a:pt x="27" y="28"/>
                    <a:pt x="25" y="33"/>
                  </a:cubicBez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1" name="ïṡḷíḍè">
              <a:extLst>
                <a:ext uri="{FF2B5EF4-FFF2-40B4-BE49-F238E27FC236}">
                  <a16:creationId xmlns:a16="http://schemas.microsoft.com/office/drawing/2014/main" id="{E1CBE241-A799-4CD1-939A-8079A4020DED}"/>
                </a:ext>
              </a:extLst>
            </p:cNvPr>
            <p:cNvSpPr/>
            <p:nvPr/>
          </p:nvSpPr>
          <p:spPr bwMode="auto">
            <a:xfrm>
              <a:off x="5873750" y="4549775"/>
              <a:ext cx="131763" cy="134938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2" name="iṧļíḍe">
              <a:extLst>
                <a:ext uri="{FF2B5EF4-FFF2-40B4-BE49-F238E27FC236}">
                  <a16:creationId xmlns:a16="http://schemas.microsoft.com/office/drawing/2014/main" id="{731CE373-2C17-485D-9825-3D231539939D}"/>
                </a:ext>
              </a:extLst>
            </p:cNvPr>
            <p:cNvSpPr/>
            <p:nvPr/>
          </p:nvSpPr>
          <p:spPr bwMode="auto">
            <a:xfrm>
              <a:off x="5929313" y="3309938"/>
              <a:ext cx="579438" cy="531813"/>
            </a:xfrm>
            <a:custGeom>
              <a:avLst/>
              <a:gdLst>
                <a:gd name="T0" fmla="*/ 135 w 167"/>
                <a:gd name="T1" fmla="*/ 27 h 153"/>
                <a:gd name="T2" fmla="*/ 83 w 167"/>
                <a:gd name="T3" fmla="*/ 0 h 153"/>
                <a:gd name="T4" fmla="*/ 83 w 167"/>
                <a:gd name="T5" fmla="*/ 0 h 153"/>
                <a:gd name="T6" fmla="*/ 83 w 167"/>
                <a:gd name="T7" fmla="*/ 0 h 153"/>
                <a:gd name="T8" fmla="*/ 83 w 167"/>
                <a:gd name="T9" fmla="*/ 0 h 153"/>
                <a:gd name="T10" fmla="*/ 83 w 167"/>
                <a:gd name="T11" fmla="*/ 0 h 153"/>
                <a:gd name="T12" fmla="*/ 31 w 167"/>
                <a:gd name="T13" fmla="*/ 27 h 153"/>
                <a:gd name="T14" fmla="*/ 1 w 167"/>
                <a:gd name="T15" fmla="*/ 121 h 153"/>
                <a:gd name="T16" fmla="*/ 30 w 167"/>
                <a:gd name="T17" fmla="*/ 153 h 153"/>
                <a:gd name="T18" fmla="*/ 57 w 167"/>
                <a:gd name="T19" fmla="*/ 153 h 153"/>
                <a:gd name="T20" fmla="*/ 14 w 167"/>
                <a:gd name="T21" fmla="*/ 115 h 153"/>
                <a:gd name="T22" fmla="*/ 28 w 167"/>
                <a:gd name="T23" fmla="*/ 87 h 153"/>
                <a:gd name="T24" fmla="*/ 71 w 167"/>
                <a:gd name="T25" fmla="*/ 32 h 153"/>
                <a:gd name="T26" fmla="*/ 95 w 167"/>
                <a:gd name="T27" fmla="*/ 32 h 153"/>
                <a:gd name="T28" fmla="*/ 138 w 167"/>
                <a:gd name="T29" fmla="*/ 87 h 153"/>
                <a:gd name="T30" fmla="*/ 153 w 167"/>
                <a:gd name="T31" fmla="*/ 115 h 153"/>
                <a:gd name="T32" fmla="*/ 114 w 167"/>
                <a:gd name="T33" fmla="*/ 153 h 153"/>
                <a:gd name="T34" fmla="*/ 136 w 167"/>
                <a:gd name="T35" fmla="*/ 153 h 153"/>
                <a:gd name="T36" fmla="*/ 166 w 167"/>
                <a:gd name="T37" fmla="*/ 121 h 153"/>
                <a:gd name="T38" fmla="*/ 135 w 167"/>
                <a:gd name="T39" fmla="*/ 2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7" h="153">
                  <a:moveTo>
                    <a:pt x="135" y="27"/>
                  </a:moveTo>
                  <a:cubicBezTo>
                    <a:pt x="128" y="7"/>
                    <a:pt x="84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39" y="7"/>
                    <a:pt x="31" y="27"/>
                  </a:cubicBezTo>
                  <a:cubicBezTo>
                    <a:pt x="23" y="48"/>
                    <a:pt x="0" y="106"/>
                    <a:pt x="1" y="121"/>
                  </a:cubicBezTo>
                  <a:cubicBezTo>
                    <a:pt x="2" y="137"/>
                    <a:pt x="30" y="153"/>
                    <a:pt x="30" y="153"/>
                  </a:cubicBezTo>
                  <a:cubicBezTo>
                    <a:pt x="57" y="153"/>
                    <a:pt x="57" y="153"/>
                    <a:pt x="57" y="153"/>
                  </a:cubicBezTo>
                  <a:cubicBezTo>
                    <a:pt x="57" y="153"/>
                    <a:pt x="18" y="126"/>
                    <a:pt x="14" y="115"/>
                  </a:cubicBezTo>
                  <a:cubicBezTo>
                    <a:pt x="10" y="103"/>
                    <a:pt x="24" y="90"/>
                    <a:pt x="28" y="87"/>
                  </a:cubicBezTo>
                  <a:cubicBezTo>
                    <a:pt x="45" y="59"/>
                    <a:pt x="61" y="42"/>
                    <a:pt x="71" y="32"/>
                  </a:cubicBezTo>
                  <a:cubicBezTo>
                    <a:pt x="78" y="26"/>
                    <a:pt x="89" y="26"/>
                    <a:pt x="95" y="32"/>
                  </a:cubicBezTo>
                  <a:cubicBezTo>
                    <a:pt x="106" y="42"/>
                    <a:pt x="122" y="59"/>
                    <a:pt x="138" y="87"/>
                  </a:cubicBezTo>
                  <a:cubicBezTo>
                    <a:pt x="142" y="90"/>
                    <a:pt x="157" y="103"/>
                    <a:pt x="153" y="115"/>
                  </a:cubicBezTo>
                  <a:cubicBezTo>
                    <a:pt x="149" y="126"/>
                    <a:pt x="114" y="153"/>
                    <a:pt x="114" y="153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36" y="153"/>
                    <a:pt x="165" y="137"/>
                    <a:pt x="166" y="121"/>
                  </a:cubicBezTo>
                  <a:cubicBezTo>
                    <a:pt x="167" y="106"/>
                    <a:pt x="143" y="48"/>
                    <a:pt x="135" y="27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3" name="íśľïḋe">
              <a:extLst>
                <a:ext uri="{FF2B5EF4-FFF2-40B4-BE49-F238E27FC236}">
                  <a16:creationId xmlns:a16="http://schemas.microsoft.com/office/drawing/2014/main" id="{1EAF19F7-0498-4F55-B8AD-F792841338C2}"/>
                </a:ext>
              </a:extLst>
            </p:cNvPr>
            <p:cNvSpPr/>
            <p:nvPr/>
          </p:nvSpPr>
          <p:spPr bwMode="auto">
            <a:xfrm>
              <a:off x="6446838" y="4556125"/>
              <a:ext cx="138113" cy="139700"/>
            </a:xfrm>
            <a:custGeom>
              <a:avLst/>
              <a:gdLst>
                <a:gd name="T0" fmla="*/ 39 w 40"/>
                <a:gd name="T1" fmla="*/ 21 h 40"/>
                <a:gd name="T2" fmla="*/ 21 w 40"/>
                <a:gd name="T3" fmla="*/ 1 h 40"/>
                <a:gd name="T4" fmla="*/ 1 w 40"/>
                <a:gd name="T5" fmla="*/ 19 h 40"/>
                <a:gd name="T6" fmla="*/ 19 w 40"/>
                <a:gd name="T7" fmla="*/ 39 h 40"/>
                <a:gd name="T8" fmla="*/ 39 w 40"/>
                <a:gd name="T9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0">
                  <a:moveTo>
                    <a:pt x="39" y="21"/>
                  </a:moveTo>
                  <a:cubicBezTo>
                    <a:pt x="40" y="10"/>
                    <a:pt x="32" y="1"/>
                    <a:pt x="21" y="1"/>
                  </a:cubicBezTo>
                  <a:cubicBezTo>
                    <a:pt x="11" y="0"/>
                    <a:pt x="2" y="8"/>
                    <a:pt x="1" y="19"/>
                  </a:cubicBezTo>
                  <a:cubicBezTo>
                    <a:pt x="0" y="29"/>
                    <a:pt x="8" y="38"/>
                    <a:pt x="19" y="39"/>
                  </a:cubicBezTo>
                  <a:cubicBezTo>
                    <a:pt x="29" y="40"/>
                    <a:pt x="38" y="32"/>
                    <a:pt x="39" y="21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4" name="iṡḻiḑê">
              <a:extLst>
                <a:ext uri="{FF2B5EF4-FFF2-40B4-BE49-F238E27FC236}">
                  <a16:creationId xmlns:a16="http://schemas.microsoft.com/office/drawing/2014/main" id="{59B5D516-7307-40E9-8A0F-A579333F1649}"/>
                </a:ext>
              </a:extLst>
            </p:cNvPr>
            <p:cNvSpPr/>
            <p:nvPr/>
          </p:nvSpPr>
          <p:spPr bwMode="auto">
            <a:xfrm>
              <a:off x="6280150" y="4330700"/>
              <a:ext cx="204788" cy="344488"/>
            </a:xfrm>
            <a:custGeom>
              <a:avLst/>
              <a:gdLst>
                <a:gd name="T0" fmla="*/ 59 w 59"/>
                <a:gd name="T1" fmla="*/ 0 h 99"/>
                <a:gd name="T2" fmla="*/ 59 w 59"/>
                <a:gd name="T3" fmla="*/ 82 h 99"/>
                <a:gd name="T4" fmla="*/ 6 w 59"/>
                <a:gd name="T5" fmla="*/ 98 h 99"/>
                <a:gd name="T6" fmla="*/ 0 w 59"/>
                <a:gd name="T7" fmla="*/ 25 h 99"/>
                <a:gd name="T8" fmla="*/ 8 w 59"/>
                <a:gd name="T9" fmla="*/ 3 h 99"/>
                <a:gd name="T10" fmla="*/ 59 w 59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99">
                  <a:moveTo>
                    <a:pt x="59" y="0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13" y="99"/>
                    <a:pt x="6" y="98"/>
                  </a:cubicBezTo>
                  <a:cubicBezTo>
                    <a:pt x="0" y="97"/>
                    <a:pt x="0" y="25"/>
                    <a:pt x="0" y="25"/>
                  </a:cubicBezTo>
                  <a:cubicBezTo>
                    <a:pt x="8" y="3"/>
                    <a:pt x="8" y="3"/>
                    <a:pt x="8" y="3"/>
                  </a:cubicBezTo>
                  <a:lnTo>
                    <a:pt x="59" y="0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5" name="íşľîḍê">
              <a:extLst>
                <a:ext uri="{FF2B5EF4-FFF2-40B4-BE49-F238E27FC236}">
                  <a16:creationId xmlns:a16="http://schemas.microsoft.com/office/drawing/2014/main" id="{DD1CD040-6331-43E5-BD43-196A18B12393}"/>
                </a:ext>
              </a:extLst>
            </p:cNvPr>
            <p:cNvSpPr/>
            <p:nvPr/>
          </p:nvSpPr>
          <p:spPr bwMode="auto">
            <a:xfrm>
              <a:off x="5967413" y="4330700"/>
              <a:ext cx="207963" cy="344488"/>
            </a:xfrm>
            <a:custGeom>
              <a:avLst/>
              <a:gdLst>
                <a:gd name="T0" fmla="*/ 0 w 60"/>
                <a:gd name="T1" fmla="*/ 0 h 99"/>
                <a:gd name="T2" fmla="*/ 0 w 60"/>
                <a:gd name="T3" fmla="*/ 82 h 99"/>
                <a:gd name="T4" fmla="*/ 53 w 60"/>
                <a:gd name="T5" fmla="*/ 98 h 99"/>
                <a:gd name="T6" fmla="*/ 60 w 60"/>
                <a:gd name="T7" fmla="*/ 25 h 99"/>
                <a:gd name="T8" fmla="*/ 51 w 60"/>
                <a:gd name="T9" fmla="*/ 3 h 99"/>
                <a:gd name="T10" fmla="*/ 0 w 60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99">
                  <a:moveTo>
                    <a:pt x="0" y="0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47" y="99"/>
                    <a:pt x="53" y="98"/>
                  </a:cubicBezTo>
                  <a:cubicBezTo>
                    <a:pt x="60" y="97"/>
                    <a:pt x="60" y="25"/>
                    <a:pt x="60" y="25"/>
                  </a:cubicBezTo>
                  <a:cubicBezTo>
                    <a:pt x="51" y="3"/>
                    <a:pt x="51" y="3"/>
                    <a:pt x="51" y="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6" name="íşḻídè">
              <a:extLst>
                <a:ext uri="{FF2B5EF4-FFF2-40B4-BE49-F238E27FC236}">
                  <a16:creationId xmlns:a16="http://schemas.microsoft.com/office/drawing/2014/main" id="{40B928FE-1CE2-414B-96B6-4CC4AD78A9B6}"/>
                </a:ext>
              </a:extLst>
            </p:cNvPr>
            <p:cNvSpPr/>
            <p:nvPr/>
          </p:nvSpPr>
          <p:spPr bwMode="auto">
            <a:xfrm>
              <a:off x="5821363" y="5562600"/>
              <a:ext cx="211138" cy="323850"/>
            </a:xfrm>
            <a:custGeom>
              <a:avLst/>
              <a:gdLst>
                <a:gd name="T0" fmla="*/ 58 w 61"/>
                <a:gd name="T1" fmla="*/ 0 h 93"/>
                <a:gd name="T2" fmla="*/ 61 w 61"/>
                <a:gd name="T3" fmla="*/ 34 h 93"/>
                <a:gd name="T4" fmla="*/ 14 w 61"/>
                <a:gd name="T5" fmla="*/ 92 h 93"/>
                <a:gd name="T6" fmla="*/ 14 w 61"/>
                <a:gd name="T7" fmla="*/ 58 h 93"/>
                <a:gd name="T8" fmla="*/ 37 w 61"/>
                <a:gd name="T9" fmla="*/ 25 h 93"/>
                <a:gd name="T10" fmla="*/ 42 w 61"/>
                <a:gd name="T11" fmla="*/ 0 h 93"/>
                <a:gd name="T12" fmla="*/ 58 w 61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93">
                  <a:moveTo>
                    <a:pt x="58" y="0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27" y="90"/>
                    <a:pt x="14" y="92"/>
                  </a:cubicBezTo>
                  <a:cubicBezTo>
                    <a:pt x="0" y="93"/>
                    <a:pt x="6" y="69"/>
                    <a:pt x="14" y="58"/>
                  </a:cubicBezTo>
                  <a:cubicBezTo>
                    <a:pt x="22" y="47"/>
                    <a:pt x="37" y="25"/>
                    <a:pt x="37" y="25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58" y="0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7" name="íṣ1íḓê">
              <a:extLst>
                <a:ext uri="{FF2B5EF4-FFF2-40B4-BE49-F238E27FC236}">
                  <a16:creationId xmlns:a16="http://schemas.microsoft.com/office/drawing/2014/main" id="{B420526C-B8CC-4026-8126-E1800B3A3E20}"/>
                </a:ext>
              </a:extLst>
            </p:cNvPr>
            <p:cNvSpPr/>
            <p:nvPr/>
          </p:nvSpPr>
          <p:spPr bwMode="auto">
            <a:xfrm>
              <a:off x="6370638" y="5562600"/>
              <a:ext cx="211138" cy="323850"/>
            </a:xfrm>
            <a:custGeom>
              <a:avLst/>
              <a:gdLst>
                <a:gd name="T0" fmla="*/ 4 w 61"/>
                <a:gd name="T1" fmla="*/ 0 h 93"/>
                <a:gd name="T2" fmla="*/ 0 w 61"/>
                <a:gd name="T3" fmla="*/ 34 h 93"/>
                <a:gd name="T4" fmla="*/ 48 w 61"/>
                <a:gd name="T5" fmla="*/ 92 h 93"/>
                <a:gd name="T6" fmla="*/ 48 w 61"/>
                <a:gd name="T7" fmla="*/ 58 h 93"/>
                <a:gd name="T8" fmla="*/ 25 w 61"/>
                <a:gd name="T9" fmla="*/ 25 h 93"/>
                <a:gd name="T10" fmla="*/ 19 w 61"/>
                <a:gd name="T11" fmla="*/ 0 h 93"/>
                <a:gd name="T12" fmla="*/ 4 w 61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93">
                  <a:moveTo>
                    <a:pt x="4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34" y="90"/>
                    <a:pt x="48" y="92"/>
                  </a:cubicBezTo>
                  <a:cubicBezTo>
                    <a:pt x="61" y="93"/>
                    <a:pt x="56" y="69"/>
                    <a:pt x="48" y="58"/>
                  </a:cubicBezTo>
                  <a:cubicBezTo>
                    <a:pt x="40" y="47"/>
                    <a:pt x="25" y="25"/>
                    <a:pt x="25" y="25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8" name="ísľíďe">
              <a:extLst>
                <a:ext uri="{FF2B5EF4-FFF2-40B4-BE49-F238E27FC236}">
                  <a16:creationId xmlns:a16="http://schemas.microsoft.com/office/drawing/2014/main" id="{277E8F1F-F556-4F76-8522-75A361E794D1}"/>
                </a:ext>
              </a:extLst>
            </p:cNvPr>
            <p:cNvSpPr/>
            <p:nvPr/>
          </p:nvSpPr>
          <p:spPr bwMode="auto">
            <a:xfrm>
              <a:off x="5800725" y="4359275"/>
              <a:ext cx="836613" cy="336550"/>
            </a:xfrm>
            <a:custGeom>
              <a:avLst/>
              <a:gdLst>
                <a:gd name="T0" fmla="*/ 37 w 241"/>
                <a:gd name="T1" fmla="*/ 97 h 97"/>
                <a:gd name="T2" fmla="*/ 211 w 241"/>
                <a:gd name="T3" fmla="*/ 97 h 97"/>
                <a:gd name="T4" fmla="*/ 224 w 241"/>
                <a:gd name="T5" fmla="*/ 86 h 97"/>
                <a:gd name="T6" fmla="*/ 239 w 241"/>
                <a:gd name="T7" fmla="*/ 23 h 97"/>
                <a:gd name="T8" fmla="*/ 219 w 241"/>
                <a:gd name="T9" fmla="*/ 0 h 97"/>
                <a:gd name="T10" fmla="*/ 21 w 241"/>
                <a:gd name="T11" fmla="*/ 2 h 97"/>
                <a:gd name="T12" fmla="*/ 2 w 241"/>
                <a:gd name="T13" fmla="*/ 25 h 97"/>
                <a:gd name="T14" fmla="*/ 24 w 241"/>
                <a:gd name="T15" fmla="*/ 88 h 97"/>
                <a:gd name="T16" fmla="*/ 37 w 241"/>
                <a:gd name="T1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97">
                  <a:moveTo>
                    <a:pt x="37" y="97"/>
                  </a:moveTo>
                  <a:cubicBezTo>
                    <a:pt x="211" y="97"/>
                    <a:pt x="211" y="97"/>
                    <a:pt x="211" y="97"/>
                  </a:cubicBezTo>
                  <a:cubicBezTo>
                    <a:pt x="217" y="97"/>
                    <a:pt x="223" y="92"/>
                    <a:pt x="224" y="86"/>
                  </a:cubicBezTo>
                  <a:cubicBezTo>
                    <a:pt x="239" y="23"/>
                    <a:pt x="239" y="23"/>
                    <a:pt x="239" y="23"/>
                  </a:cubicBezTo>
                  <a:cubicBezTo>
                    <a:pt x="241" y="11"/>
                    <a:pt x="232" y="0"/>
                    <a:pt x="219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9" y="2"/>
                    <a:pt x="0" y="13"/>
                    <a:pt x="2" y="25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6" y="93"/>
                    <a:pt x="31" y="97"/>
                    <a:pt x="37" y="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9" name="ï$1íḑe">
              <a:extLst>
                <a:ext uri="{FF2B5EF4-FFF2-40B4-BE49-F238E27FC236}">
                  <a16:creationId xmlns:a16="http://schemas.microsoft.com/office/drawing/2014/main" id="{2B6E3FA3-7A8D-483B-93A6-940D98BFE57D}"/>
                </a:ext>
              </a:extLst>
            </p:cNvPr>
            <p:cNvSpPr/>
            <p:nvPr/>
          </p:nvSpPr>
          <p:spPr bwMode="auto">
            <a:xfrm>
              <a:off x="5800725" y="4362450"/>
              <a:ext cx="496888" cy="333375"/>
            </a:xfrm>
            <a:custGeom>
              <a:avLst/>
              <a:gdLst>
                <a:gd name="T0" fmla="*/ 143 w 143"/>
                <a:gd name="T1" fmla="*/ 0 h 96"/>
                <a:gd name="T2" fmla="*/ 21 w 143"/>
                <a:gd name="T3" fmla="*/ 1 h 96"/>
                <a:gd name="T4" fmla="*/ 2 w 143"/>
                <a:gd name="T5" fmla="*/ 24 h 96"/>
                <a:gd name="T6" fmla="*/ 24 w 143"/>
                <a:gd name="T7" fmla="*/ 87 h 96"/>
                <a:gd name="T8" fmla="*/ 37 w 143"/>
                <a:gd name="T9" fmla="*/ 96 h 96"/>
                <a:gd name="T10" fmla="*/ 68 w 143"/>
                <a:gd name="T11" fmla="*/ 96 h 96"/>
                <a:gd name="T12" fmla="*/ 143 w 14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96">
                  <a:moveTo>
                    <a:pt x="143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9" y="1"/>
                    <a:pt x="0" y="12"/>
                    <a:pt x="2" y="24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6" y="92"/>
                    <a:pt x="31" y="96"/>
                    <a:pt x="37" y="96"/>
                  </a:cubicBezTo>
                  <a:cubicBezTo>
                    <a:pt x="68" y="96"/>
                    <a:pt x="68" y="96"/>
                    <a:pt x="68" y="96"/>
                  </a:cubicBezTo>
                  <a:lnTo>
                    <a:pt x="143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3000"/>
                  </a:schemeClr>
                </a:gs>
                <a:gs pos="0">
                  <a:srgbClr val="D0DDFE"/>
                </a:gs>
              </a:gsLst>
              <a:lin ang="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0" name="ïŝḷïďè">
              <a:extLst>
                <a:ext uri="{FF2B5EF4-FFF2-40B4-BE49-F238E27FC236}">
                  <a16:creationId xmlns:a16="http://schemas.microsoft.com/office/drawing/2014/main" id="{54A082BF-DD07-47B3-AC64-A3C708A3DD18}"/>
                </a:ext>
              </a:extLst>
            </p:cNvPr>
            <p:cNvSpPr/>
            <p:nvPr/>
          </p:nvSpPr>
          <p:spPr bwMode="auto">
            <a:xfrm>
              <a:off x="6151563" y="4500563"/>
              <a:ext cx="120650" cy="111125"/>
            </a:xfrm>
            <a:prstGeom prst="ellipse">
              <a:avLst/>
            </a:pr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29" name="af9c57ad-d85f-45e3-87f8-2e2e0f3cf76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044B547-8BF6-45A7-896E-6C927BCC0C2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49091" y="1462532"/>
            <a:ext cx="10492227" cy="4167199"/>
            <a:chOff x="2571751" y="1538288"/>
            <a:chExt cx="6997701" cy="4135438"/>
          </a:xfrm>
        </p:grpSpPr>
        <p:sp>
          <p:nvSpPr>
            <p:cNvPr id="30" name="iŝlïḓe">
              <a:extLst>
                <a:ext uri="{FF2B5EF4-FFF2-40B4-BE49-F238E27FC236}">
                  <a16:creationId xmlns:a16="http://schemas.microsoft.com/office/drawing/2014/main" id="{A20E13A7-4D12-4B1A-AEF5-6898D94F1568}"/>
                </a:ext>
              </a:extLst>
            </p:cNvPr>
            <p:cNvSpPr/>
            <p:nvPr/>
          </p:nvSpPr>
          <p:spPr bwMode="auto">
            <a:xfrm>
              <a:off x="6748464" y="3046413"/>
              <a:ext cx="1163638" cy="2576513"/>
            </a:xfrm>
            <a:custGeom>
              <a:avLst/>
              <a:gdLst>
                <a:gd name="T0" fmla="*/ 79 w 296"/>
                <a:gd name="T1" fmla="*/ 650 h 656"/>
                <a:gd name="T2" fmla="*/ 155 w 296"/>
                <a:gd name="T3" fmla="*/ 595 h 656"/>
                <a:gd name="T4" fmla="*/ 221 w 296"/>
                <a:gd name="T5" fmla="*/ 402 h 656"/>
                <a:gd name="T6" fmla="*/ 217 w 296"/>
                <a:gd name="T7" fmla="*/ 238 h 656"/>
                <a:gd name="T8" fmla="*/ 199 w 296"/>
                <a:gd name="T9" fmla="*/ 0 h 656"/>
                <a:gd name="T10" fmla="*/ 182 w 296"/>
                <a:gd name="T11" fmla="*/ 61 h 656"/>
                <a:gd name="T12" fmla="*/ 132 w 296"/>
                <a:gd name="T13" fmla="*/ 158 h 656"/>
                <a:gd name="T14" fmla="*/ 46 w 296"/>
                <a:gd name="T15" fmla="*/ 291 h 656"/>
                <a:gd name="T16" fmla="*/ 13 w 296"/>
                <a:gd name="T17" fmla="*/ 510 h 656"/>
                <a:gd name="T18" fmla="*/ 79 w 296"/>
                <a:gd name="T19" fmla="*/ 65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6" h="656">
                  <a:moveTo>
                    <a:pt x="79" y="650"/>
                  </a:moveTo>
                  <a:cubicBezTo>
                    <a:pt x="84" y="656"/>
                    <a:pt x="151" y="599"/>
                    <a:pt x="155" y="595"/>
                  </a:cubicBezTo>
                  <a:cubicBezTo>
                    <a:pt x="209" y="543"/>
                    <a:pt x="226" y="475"/>
                    <a:pt x="221" y="402"/>
                  </a:cubicBezTo>
                  <a:cubicBezTo>
                    <a:pt x="218" y="348"/>
                    <a:pt x="194" y="289"/>
                    <a:pt x="217" y="238"/>
                  </a:cubicBezTo>
                  <a:cubicBezTo>
                    <a:pt x="240" y="184"/>
                    <a:pt x="296" y="94"/>
                    <a:pt x="199" y="0"/>
                  </a:cubicBezTo>
                  <a:cubicBezTo>
                    <a:pt x="199" y="1"/>
                    <a:pt x="183" y="57"/>
                    <a:pt x="182" y="61"/>
                  </a:cubicBezTo>
                  <a:cubicBezTo>
                    <a:pt x="173" y="100"/>
                    <a:pt x="157" y="127"/>
                    <a:pt x="132" y="158"/>
                  </a:cubicBezTo>
                  <a:cubicBezTo>
                    <a:pt x="99" y="199"/>
                    <a:pt x="68" y="242"/>
                    <a:pt x="46" y="291"/>
                  </a:cubicBezTo>
                  <a:cubicBezTo>
                    <a:pt x="15" y="359"/>
                    <a:pt x="0" y="436"/>
                    <a:pt x="13" y="510"/>
                  </a:cubicBezTo>
                  <a:cubicBezTo>
                    <a:pt x="31" y="588"/>
                    <a:pt x="79" y="650"/>
                    <a:pt x="79" y="650"/>
                  </a:cubicBezTo>
                  <a:close/>
                </a:path>
              </a:pathLst>
            </a:custGeom>
            <a:solidFill>
              <a:srgbClr val="E24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$ľïďè">
              <a:extLst>
                <a:ext uri="{FF2B5EF4-FFF2-40B4-BE49-F238E27FC236}">
                  <a16:creationId xmlns:a16="http://schemas.microsoft.com/office/drawing/2014/main" id="{078E38F8-6DAD-4536-8B59-6A9BBF1ABB16}"/>
                </a:ext>
              </a:extLst>
            </p:cNvPr>
            <p:cNvSpPr/>
            <p:nvPr/>
          </p:nvSpPr>
          <p:spPr bwMode="auto">
            <a:xfrm>
              <a:off x="7094539" y="3438526"/>
              <a:ext cx="458788" cy="1854200"/>
            </a:xfrm>
            <a:custGeom>
              <a:avLst/>
              <a:gdLst>
                <a:gd name="T0" fmla="*/ 108 w 117"/>
                <a:gd name="T1" fmla="*/ 5 h 472"/>
                <a:gd name="T2" fmla="*/ 80 w 117"/>
                <a:gd name="T3" fmla="*/ 115 h 472"/>
                <a:gd name="T4" fmla="*/ 33 w 117"/>
                <a:gd name="T5" fmla="*/ 223 h 472"/>
                <a:gd name="T6" fmla="*/ 16 w 117"/>
                <a:gd name="T7" fmla="*/ 281 h 472"/>
                <a:gd name="T8" fmla="*/ 8 w 117"/>
                <a:gd name="T9" fmla="*/ 340 h 472"/>
                <a:gd name="T10" fmla="*/ 0 w 117"/>
                <a:gd name="T11" fmla="*/ 458 h 472"/>
                <a:gd name="T12" fmla="*/ 14 w 117"/>
                <a:gd name="T13" fmla="*/ 472 h 472"/>
                <a:gd name="T14" fmla="*/ 28 w 117"/>
                <a:gd name="T15" fmla="*/ 458 h 472"/>
                <a:gd name="T16" fmla="*/ 28 w 117"/>
                <a:gd name="T17" fmla="*/ 458 h 472"/>
                <a:gd name="T18" fmla="*/ 31 w 117"/>
                <a:gd name="T19" fmla="*/ 342 h 472"/>
                <a:gd name="T20" fmla="*/ 37 w 117"/>
                <a:gd name="T21" fmla="*/ 285 h 472"/>
                <a:gd name="T22" fmla="*/ 50 w 117"/>
                <a:gd name="T23" fmla="*/ 229 h 472"/>
                <a:gd name="T24" fmla="*/ 92 w 117"/>
                <a:gd name="T25" fmla="*/ 121 h 472"/>
                <a:gd name="T26" fmla="*/ 117 w 117"/>
                <a:gd name="T27" fmla="*/ 5 h 472"/>
                <a:gd name="T28" fmla="*/ 113 w 117"/>
                <a:gd name="T29" fmla="*/ 0 h 472"/>
                <a:gd name="T30" fmla="*/ 108 w 117"/>
                <a:gd name="T31" fmla="*/ 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472">
                  <a:moveTo>
                    <a:pt x="108" y="5"/>
                  </a:moveTo>
                  <a:cubicBezTo>
                    <a:pt x="106" y="43"/>
                    <a:pt x="96" y="80"/>
                    <a:pt x="80" y="115"/>
                  </a:cubicBezTo>
                  <a:cubicBezTo>
                    <a:pt x="64" y="151"/>
                    <a:pt x="47" y="186"/>
                    <a:pt x="33" y="223"/>
                  </a:cubicBezTo>
                  <a:cubicBezTo>
                    <a:pt x="26" y="242"/>
                    <a:pt x="20" y="261"/>
                    <a:pt x="16" y="281"/>
                  </a:cubicBezTo>
                  <a:cubicBezTo>
                    <a:pt x="12" y="301"/>
                    <a:pt x="10" y="320"/>
                    <a:pt x="8" y="340"/>
                  </a:cubicBezTo>
                  <a:cubicBezTo>
                    <a:pt x="4" y="379"/>
                    <a:pt x="1" y="419"/>
                    <a:pt x="0" y="458"/>
                  </a:cubicBezTo>
                  <a:cubicBezTo>
                    <a:pt x="0" y="466"/>
                    <a:pt x="6" y="472"/>
                    <a:pt x="14" y="472"/>
                  </a:cubicBezTo>
                  <a:cubicBezTo>
                    <a:pt x="22" y="472"/>
                    <a:pt x="28" y="466"/>
                    <a:pt x="28" y="458"/>
                  </a:cubicBezTo>
                  <a:cubicBezTo>
                    <a:pt x="28" y="458"/>
                    <a:pt x="28" y="458"/>
                    <a:pt x="28" y="458"/>
                  </a:cubicBezTo>
                  <a:cubicBezTo>
                    <a:pt x="27" y="419"/>
                    <a:pt x="28" y="381"/>
                    <a:pt x="31" y="342"/>
                  </a:cubicBezTo>
                  <a:cubicBezTo>
                    <a:pt x="32" y="323"/>
                    <a:pt x="34" y="303"/>
                    <a:pt x="37" y="285"/>
                  </a:cubicBezTo>
                  <a:cubicBezTo>
                    <a:pt x="40" y="266"/>
                    <a:pt x="45" y="248"/>
                    <a:pt x="50" y="229"/>
                  </a:cubicBezTo>
                  <a:cubicBezTo>
                    <a:pt x="62" y="193"/>
                    <a:pt x="78" y="157"/>
                    <a:pt x="92" y="121"/>
                  </a:cubicBezTo>
                  <a:cubicBezTo>
                    <a:pt x="107" y="84"/>
                    <a:pt x="117" y="45"/>
                    <a:pt x="117" y="5"/>
                  </a:cubicBezTo>
                  <a:cubicBezTo>
                    <a:pt x="117" y="2"/>
                    <a:pt x="115" y="0"/>
                    <a:pt x="113" y="0"/>
                  </a:cubicBezTo>
                  <a:cubicBezTo>
                    <a:pt x="110" y="0"/>
                    <a:pt x="108" y="2"/>
                    <a:pt x="108" y="5"/>
                  </a:cubicBezTo>
                  <a:close/>
                </a:path>
              </a:pathLst>
            </a:custGeom>
            <a:solidFill>
              <a:srgbClr val="F2A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iṡḷîde">
              <a:extLst>
                <a:ext uri="{FF2B5EF4-FFF2-40B4-BE49-F238E27FC236}">
                  <a16:creationId xmlns:a16="http://schemas.microsoft.com/office/drawing/2014/main" id="{9CF8829B-0A77-49C4-A2C7-78A17B5485B2}"/>
                </a:ext>
              </a:extLst>
            </p:cNvPr>
            <p:cNvSpPr/>
            <p:nvPr/>
          </p:nvSpPr>
          <p:spPr bwMode="auto">
            <a:xfrm>
              <a:off x="6099176" y="4224338"/>
              <a:ext cx="873125" cy="1350963"/>
            </a:xfrm>
            <a:custGeom>
              <a:avLst/>
              <a:gdLst>
                <a:gd name="T0" fmla="*/ 18 w 222"/>
                <a:gd name="T1" fmla="*/ 124 h 344"/>
                <a:gd name="T2" fmla="*/ 37 w 222"/>
                <a:gd name="T3" fmla="*/ 86 h 344"/>
                <a:gd name="T4" fmla="*/ 79 w 222"/>
                <a:gd name="T5" fmla="*/ 40 h 344"/>
                <a:gd name="T6" fmla="*/ 150 w 222"/>
                <a:gd name="T7" fmla="*/ 8 h 344"/>
                <a:gd name="T8" fmla="*/ 15 w 222"/>
                <a:gd name="T9" fmla="*/ 344 h 344"/>
                <a:gd name="T10" fmla="*/ 1 w 222"/>
                <a:gd name="T11" fmla="*/ 251 h 344"/>
                <a:gd name="T12" fmla="*/ 18 w 222"/>
                <a:gd name="T13" fmla="*/ 12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344">
                  <a:moveTo>
                    <a:pt x="18" y="124"/>
                  </a:moveTo>
                  <a:cubicBezTo>
                    <a:pt x="23" y="111"/>
                    <a:pt x="30" y="98"/>
                    <a:pt x="37" y="86"/>
                  </a:cubicBezTo>
                  <a:cubicBezTo>
                    <a:pt x="49" y="68"/>
                    <a:pt x="63" y="53"/>
                    <a:pt x="79" y="40"/>
                  </a:cubicBezTo>
                  <a:cubicBezTo>
                    <a:pt x="84" y="36"/>
                    <a:pt x="147" y="0"/>
                    <a:pt x="150" y="8"/>
                  </a:cubicBezTo>
                  <a:cubicBezTo>
                    <a:pt x="150" y="8"/>
                    <a:pt x="222" y="247"/>
                    <a:pt x="15" y="344"/>
                  </a:cubicBezTo>
                  <a:cubicBezTo>
                    <a:pt x="15" y="344"/>
                    <a:pt x="1" y="257"/>
                    <a:pt x="1" y="251"/>
                  </a:cubicBezTo>
                  <a:cubicBezTo>
                    <a:pt x="0" y="209"/>
                    <a:pt x="3" y="164"/>
                    <a:pt x="18" y="124"/>
                  </a:cubicBezTo>
                  <a:close/>
                </a:path>
              </a:pathLst>
            </a:custGeom>
            <a:solidFill>
              <a:srgbClr val="790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ŝḷïdé">
              <a:extLst>
                <a:ext uri="{FF2B5EF4-FFF2-40B4-BE49-F238E27FC236}">
                  <a16:creationId xmlns:a16="http://schemas.microsoft.com/office/drawing/2014/main" id="{A6107A6F-64AA-49D8-9281-8522EE4A61D7}"/>
                </a:ext>
              </a:extLst>
            </p:cNvPr>
            <p:cNvSpPr/>
            <p:nvPr/>
          </p:nvSpPr>
          <p:spPr bwMode="auto">
            <a:xfrm>
              <a:off x="6167439" y="4373563"/>
              <a:ext cx="458788" cy="1095375"/>
            </a:xfrm>
            <a:custGeom>
              <a:avLst/>
              <a:gdLst>
                <a:gd name="T0" fmla="*/ 116 w 117"/>
                <a:gd name="T1" fmla="*/ 5 h 279"/>
                <a:gd name="T2" fmla="*/ 100 w 117"/>
                <a:gd name="T3" fmla="*/ 76 h 279"/>
                <a:gd name="T4" fmla="*/ 79 w 117"/>
                <a:gd name="T5" fmla="*/ 145 h 279"/>
                <a:gd name="T6" fmla="*/ 51 w 117"/>
                <a:gd name="T7" fmla="*/ 212 h 279"/>
                <a:gd name="T8" fmla="*/ 14 w 117"/>
                <a:gd name="T9" fmla="*/ 276 h 279"/>
                <a:gd name="T10" fmla="*/ 4 w 117"/>
                <a:gd name="T11" fmla="*/ 277 h 279"/>
                <a:gd name="T12" fmla="*/ 2 w 117"/>
                <a:gd name="T13" fmla="*/ 268 h 279"/>
                <a:gd name="T14" fmla="*/ 2 w 117"/>
                <a:gd name="T15" fmla="*/ 268 h 279"/>
                <a:gd name="T16" fmla="*/ 3 w 117"/>
                <a:gd name="T17" fmla="*/ 268 h 279"/>
                <a:gd name="T18" fmla="*/ 40 w 117"/>
                <a:gd name="T19" fmla="*/ 207 h 279"/>
                <a:gd name="T20" fmla="*/ 69 w 117"/>
                <a:gd name="T21" fmla="*/ 141 h 279"/>
                <a:gd name="T22" fmla="*/ 92 w 117"/>
                <a:gd name="T23" fmla="*/ 73 h 279"/>
                <a:gd name="T24" fmla="*/ 109 w 117"/>
                <a:gd name="T25" fmla="*/ 3 h 279"/>
                <a:gd name="T26" fmla="*/ 109 w 117"/>
                <a:gd name="T27" fmla="*/ 3 h 279"/>
                <a:gd name="T28" fmla="*/ 113 w 117"/>
                <a:gd name="T29" fmla="*/ 1 h 279"/>
                <a:gd name="T30" fmla="*/ 116 w 117"/>
                <a:gd name="T31" fmla="*/ 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279">
                  <a:moveTo>
                    <a:pt x="116" y="5"/>
                  </a:moveTo>
                  <a:cubicBezTo>
                    <a:pt x="112" y="29"/>
                    <a:pt x="106" y="52"/>
                    <a:pt x="100" y="76"/>
                  </a:cubicBezTo>
                  <a:cubicBezTo>
                    <a:pt x="94" y="99"/>
                    <a:pt x="87" y="122"/>
                    <a:pt x="79" y="145"/>
                  </a:cubicBezTo>
                  <a:cubicBezTo>
                    <a:pt x="70" y="168"/>
                    <a:pt x="61" y="190"/>
                    <a:pt x="51" y="212"/>
                  </a:cubicBezTo>
                  <a:cubicBezTo>
                    <a:pt x="40" y="234"/>
                    <a:pt x="28" y="255"/>
                    <a:pt x="14" y="276"/>
                  </a:cubicBezTo>
                  <a:cubicBezTo>
                    <a:pt x="11" y="279"/>
                    <a:pt x="7" y="279"/>
                    <a:pt x="4" y="277"/>
                  </a:cubicBezTo>
                  <a:cubicBezTo>
                    <a:pt x="1" y="275"/>
                    <a:pt x="0" y="271"/>
                    <a:pt x="2" y="268"/>
                  </a:cubicBezTo>
                  <a:cubicBezTo>
                    <a:pt x="2" y="268"/>
                    <a:pt x="2" y="268"/>
                    <a:pt x="2" y="268"/>
                  </a:cubicBezTo>
                  <a:cubicBezTo>
                    <a:pt x="3" y="268"/>
                    <a:pt x="3" y="268"/>
                    <a:pt x="3" y="268"/>
                  </a:cubicBezTo>
                  <a:cubicBezTo>
                    <a:pt x="17" y="248"/>
                    <a:pt x="29" y="228"/>
                    <a:pt x="40" y="207"/>
                  </a:cubicBezTo>
                  <a:cubicBezTo>
                    <a:pt x="51" y="186"/>
                    <a:pt x="60" y="164"/>
                    <a:pt x="69" y="141"/>
                  </a:cubicBezTo>
                  <a:cubicBezTo>
                    <a:pt x="77" y="119"/>
                    <a:pt x="85" y="96"/>
                    <a:pt x="92" y="73"/>
                  </a:cubicBezTo>
                  <a:cubicBezTo>
                    <a:pt x="99" y="50"/>
                    <a:pt x="105" y="27"/>
                    <a:pt x="109" y="3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110" y="2"/>
                    <a:pt x="112" y="0"/>
                    <a:pt x="113" y="1"/>
                  </a:cubicBezTo>
                  <a:cubicBezTo>
                    <a:pt x="115" y="1"/>
                    <a:pt x="117" y="3"/>
                    <a:pt x="116" y="5"/>
                  </a:cubicBezTo>
                  <a:close/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íSļíḓè">
              <a:extLst>
                <a:ext uri="{FF2B5EF4-FFF2-40B4-BE49-F238E27FC236}">
                  <a16:creationId xmlns:a16="http://schemas.microsoft.com/office/drawing/2014/main" id="{29EF485B-B5D6-4ECF-B126-40496E3BF026}"/>
                </a:ext>
              </a:extLst>
            </p:cNvPr>
            <p:cNvSpPr/>
            <p:nvPr/>
          </p:nvSpPr>
          <p:spPr bwMode="auto">
            <a:xfrm>
              <a:off x="6327776" y="4565651"/>
              <a:ext cx="109538" cy="263525"/>
            </a:xfrm>
            <a:custGeom>
              <a:avLst/>
              <a:gdLst>
                <a:gd name="T0" fmla="*/ 24 w 28"/>
                <a:gd name="T1" fmla="*/ 67 h 67"/>
                <a:gd name="T2" fmla="*/ 20 w 28"/>
                <a:gd name="T3" fmla="*/ 64 h 67"/>
                <a:gd name="T4" fmla="*/ 1 w 28"/>
                <a:gd name="T5" fmla="*/ 6 h 67"/>
                <a:gd name="T6" fmla="*/ 2 w 28"/>
                <a:gd name="T7" fmla="*/ 1 h 67"/>
                <a:gd name="T8" fmla="*/ 7 w 28"/>
                <a:gd name="T9" fmla="*/ 2 h 67"/>
                <a:gd name="T10" fmla="*/ 27 w 28"/>
                <a:gd name="T11" fmla="*/ 64 h 67"/>
                <a:gd name="T12" fmla="*/ 24 w 28"/>
                <a:gd name="T1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7">
                  <a:moveTo>
                    <a:pt x="24" y="67"/>
                  </a:moveTo>
                  <a:cubicBezTo>
                    <a:pt x="22" y="67"/>
                    <a:pt x="20" y="66"/>
                    <a:pt x="20" y="64"/>
                  </a:cubicBezTo>
                  <a:cubicBezTo>
                    <a:pt x="21" y="37"/>
                    <a:pt x="2" y="6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8" y="4"/>
                    <a:pt x="28" y="36"/>
                    <a:pt x="27" y="64"/>
                  </a:cubicBezTo>
                  <a:cubicBezTo>
                    <a:pt x="27" y="66"/>
                    <a:pt x="26" y="67"/>
                    <a:pt x="24" y="67"/>
                  </a:cubicBezTo>
                  <a:close/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iSļidè">
              <a:extLst>
                <a:ext uri="{FF2B5EF4-FFF2-40B4-BE49-F238E27FC236}">
                  <a16:creationId xmlns:a16="http://schemas.microsoft.com/office/drawing/2014/main" id="{F1D61F17-D684-4906-BCBD-93BF5079ABDE}"/>
                </a:ext>
              </a:extLst>
            </p:cNvPr>
            <p:cNvSpPr/>
            <p:nvPr/>
          </p:nvSpPr>
          <p:spPr bwMode="auto">
            <a:xfrm>
              <a:off x="6519864" y="4751388"/>
              <a:ext cx="177800" cy="120650"/>
            </a:xfrm>
            <a:custGeom>
              <a:avLst/>
              <a:gdLst>
                <a:gd name="T0" fmla="*/ 4 w 45"/>
                <a:gd name="T1" fmla="*/ 31 h 31"/>
                <a:gd name="T2" fmla="*/ 2 w 45"/>
                <a:gd name="T3" fmla="*/ 30 h 31"/>
                <a:gd name="T4" fmla="*/ 1 w 45"/>
                <a:gd name="T5" fmla="*/ 26 h 31"/>
                <a:gd name="T6" fmla="*/ 41 w 45"/>
                <a:gd name="T7" fmla="*/ 0 h 31"/>
                <a:gd name="T8" fmla="*/ 45 w 45"/>
                <a:gd name="T9" fmla="*/ 3 h 31"/>
                <a:gd name="T10" fmla="*/ 42 w 45"/>
                <a:gd name="T11" fmla="*/ 7 h 31"/>
                <a:gd name="T12" fmla="*/ 7 w 45"/>
                <a:gd name="T13" fmla="*/ 30 h 31"/>
                <a:gd name="T14" fmla="*/ 4 w 45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1">
                  <a:moveTo>
                    <a:pt x="4" y="31"/>
                  </a:moveTo>
                  <a:cubicBezTo>
                    <a:pt x="3" y="31"/>
                    <a:pt x="2" y="31"/>
                    <a:pt x="2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" y="25"/>
                    <a:pt x="20" y="5"/>
                    <a:pt x="41" y="0"/>
                  </a:cubicBezTo>
                  <a:cubicBezTo>
                    <a:pt x="43" y="0"/>
                    <a:pt x="45" y="1"/>
                    <a:pt x="45" y="3"/>
                  </a:cubicBezTo>
                  <a:cubicBezTo>
                    <a:pt x="45" y="5"/>
                    <a:pt x="44" y="7"/>
                    <a:pt x="42" y="7"/>
                  </a:cubicBezTo>
                  <a:cubicBezTo>
                    <a:pt x="23" y="11"/>
                    <a:pt x="7" y="30"/>
                    <a:pt x="7" y="30"/>
                  </a:cubicBezTo>
                  <a:cubicBezTo>
                    <a:pt x="6" y="31"/>
                    <a:pt x="5" y="31"/>
                    <a:pt x="4" y="31"/>
                  </a:cubicBezTo>
                  <a:close/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şḻïďê">
              <a:extLst>
                <a:ext uri="{FF2B5EF4-FFF2-40B4-BE49-F238E27FC236}">
                  <a16:creationId xmlns:a16="http://schemas.microsoft.com/office/drawing/2014/main" id="{42D3E184-9EC4-47F8-90ED-43012C8E726E}"/>
                </a:ext>
              </a:extLst>
            </p:cNvPr>
            <p:cNvSpPr/>
            <p:nvPr/>
          </p:nvSpPr>
          <p:spPr bwMode="auto">
            <a:xfrm>
              <a:off x="6181726" y="4892676"/>
              <a:ext cx="127000" cy="285750"/>
            </a:xfrm>
            <a:custGeom>
              <a:avLst/>
              <a:gdLst>
                <a:gd name="T0" fmla="*/ 28 w 32"/>
                <a:gd name="T1" fmla="*/ 73 h 73"/>
                <a:gd name="T2" fmla="*/ 25 w 32"/>
                <a:gd name="T3" fmla="*/ 70 h 73"/>
                <a:gd name="T4" fmla="*/ 1 w 32"/>
                <a:gd name="T5" fmla="*/ 6 h 73"/>
                <a:gd name="T6" fmla="*/ 3 w 32"/>
                <a:gd name="T7" fmla="*/ 1 h 73"/>
                <a:gd name="T8" fmla="*/ 8 w 32"/>
                <a:gd name="T9" fmla="*/ 3 h 73"/>
                <a:gd name="T10" fmla="*/ 32 w 32"/>
                <a:gd name="T11" fmla="*/ 69 h 73"/>
                <a:gd name="T12" fmla="*/ 28 w 32"/>
                <a:gd name="T1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73">
                  <a:moveTo>
                    <a:pt x="28" y="73"/>
                  </a:moveTo>
                  <a:cubicBezTo>
                    <a:pt x="26" y="73"/>
                    <a:pt x="25" y="72"/>
                    <a:pt x="25" y="70"/>
                  </a:cubicBezTo>
                  <a:cubicBezTo>
                    <a:pt x="21" y="44"/>
                    <a:pt x="2" y="6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8" y="4"/>
                    <a:pt x="28" y="42"/>
                    <a:pt x="32" y="69"/>
                  </a:cubicBezTo>
                  <a:cubicBezTo>
                    <a:pt x="32" y="71"/>
                    <a:pt x="30" y="73"/>
                    <a:pt x="28" y="73"/>
                  </a:cubicBezTo>
                  <a:close/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ṡḻïďe">
              <a:extLst>
                <a:ext uri="{FF2B5EF4-FFF2-40B4-BE49-F238E27FC236}">
                  <a16:creationId xmlns:a16="http://schemas.microsoft.com/office/drawing/2014/main" id="{1EA72D33-1827-435A-ABD7-832F9ECA45FF}"/>
                </a:ext>
              </a:extLst>
            </p:cNvPr>
            <p:cNvSpPr/>
            <p:nvPr/>
          </p:nvSpPr>
          <p:spPr bwMode="auto">
            <a:xfrm>
              <a:off x="6370639" y="5159376"/>
              <a:ext cx="201613" cy="93663"/>
            </a:xfrm>
            <a:custGeom>
              <a:avLst/>
              <a:gdLst>
                <a:gd name="T0" fmla="*/ 4 w 51"/>
                <a:gd name="T1" fmla="*/ 24 h 24"/>
                <a:gd name="T2" fmla="*/ 2 w 51"/>
                <a:gd name="T3" fmla="*/ 23 h 24"/>
                <a:gd name="T4" fmla="*/ 2 w 51"/>
                <a:gd name="T5" fmla="*/ 18 h 24"/>
                <a:gd name="T6" fmla="*/ 47 w 51"/>
                <a:gd name="T7" fmla="*/ 0 h 24"/>
                <a:gd name="T8" fmla="*/ 51 w 51"/>
                <a:gd name="T9" fmla="*/ 3 h 24"/>
                <a:gd name="T10" fmla="*/ 47 w 51"/>
                <a:gd name="T11" fmla="*/ 7 h 24"/>
                <a:gd name="T12" fmla="*/ 6 w 51"/>
                <a:gd name="T13" fmla="*/ 23 h 24"/>
                <a:gd name="T14" fmla="*/ 4 w 51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24">
                  <a:moveTo>
                    <a:pt x="4" y="24"/>
                  </a:moveTo>
                  <a:cubicBezTo>
                    <a:pt x="3" y="24"/>
                    <a:pt x="2" y="24"/>
                    <a:pt x="2" y="23"/>
                  </a:cubicBezTo>
                  <a:cubicBezTo>
                    <a:pt x="0" y="22"/>
                    <a:pt x="0" y="19"/>
                    <a:pt x="2" y="18"/>
                  </a:cubicBezTo>
                  <a:cubicBezTo>
                    <a:pt x="2" y="17"/>
                    <a:pt x="20" y="1"/>
                    <a:pt x="47" y="0"/>
                  </a:cubicBezTo>
                  <a:cubicBezTo>
                    <a:pt x="49" y="0"/>
                    <a:pt x="51" y="1"/>
                    <a:pt x="51" y="3"/>
                  </a:cubicBezTo>
                  <a:cubicBezTo>
                    <a:pt x="51" y="5"/>
                    <a:pt x="49" y="7"/>
                    <a:pt x="47" y="7"/>
                  </a:cubicBezTo>
                  <a:cubicBezTo>
                    <a:pt x="23" y="8"/>
                    <a:pt x="7" y="23"/>
                    <a:pt x="6" y="23"/>
                  </a:cubicBezTo>
                  <a:cubicBezTo>
                    <a:pt x="6" y="24"/>
                    <a:pt x="5" y="24"/>
                    <a:pt x="4" y="24"/>
                  </a:cubicBezTo>
                  <a:close/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ṩļiḋé">
              <a:extLst>
                <a:ext uri="{FF2B5EF4-FFF2-40B4-BE49-F238E27FC236}">
                  <a16:creationId xmlns:a16="http://schemas.microsoft.com/office/drawing/2014/main" id="{1E1F23B0-A156-49A7-8B62-989F34CD2A9E}"/>
                </a:ext>
              </a:extLst>
            </p:cNvPr>
            <p:cNvSpPr/>
            <p:nvPr/>
          </p:nvSpPr>
          <p:spPr bwMode="auto">
            <a:xfrm>
              <a:off x="4759326" y="3736976"/>
              <a:ext cx="1301750" cy="1865313"/>
            </a:xfrm>
            <a:custGeom>
              <a:avLst/>
              <a:gdLst>
                <a:gd name="T0" fmla="*/ 318 w 331"/>
                <a:gd name="T1" fmla="*/ 237 h 475"/>
                <a:gd name="T2" fmla="*/ 329 w 331"/>
                <a:gd name="T3" fmla="*/ 181 h 475"/>
                <a:gd name="T4" fmla="*/ 321 w 331"/>
                <a:gd name="T5" fmla="*/ 99 h 475"/>
                <a:gd name="T6" fmla="*/ 272 w 331"/>
                <a:gd name="T7" fmla="*/ 6 h 475"/>
                <a:gd name="T8" fmla="*/ 142 w 331"/>
                <a:gd name="T9" fmla="*/ 475 h 475"/>
                <a:gd name="T10" fmla="*/ 233 w 331"/>
                <a:gd name="T11" fmla="*/ 386 h 475"/>
                <a:gd name="T12" fmla="*/ 318 w 331"/>
                <a:gd name="T13" fmla="*/ 237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1" h="475">
                  <a:moveTo>
                    <a:pt x="318" y="237"/>
                  </a:moveTo>
                  <a:cubicBezTo>
                    <a:pt x="324" y="219"/>
                    <a:pt x="327" y="200"/>
                    <a:pt x="329" y="181"/>
                  </a:cubicBezTo>
                  <a:cubicBezTo>
                    <a:pt x="331" y="153"/>
                    <a:pt x="328" y="125"/>
                    <a:pt x="321" y="99"/>
                  </a:cubicBezTo>
                  <a:cubicBezTo>
                    <a:pt x="319" y="89"/>
                    <a:pt x="281" y="0"/>
                    <a:pt x="272" y="6"/>
                  </a:cubicBezTo>
                  <a:cubicBezTo>
                    <a:pt x="272" y="6"/>
                    <a:pt x="0" y="203"/>
                    <a:pt x="142" y="475"/>
                  </a:cubicBezTo>
                  <a:cubicBezTo>
                    <a:pt x="142" y="475"/>
                    <a:pt x="228" y="393"/>
                    <a:pt x="233" y="386"/>
                  </a:cubicBezTo>
                  <a:cubicBezTo>
                    <a:pt x="269" y="343"/>
                    <a:pt x="301" y="292"/>
                    <a:pt x="318" y="237"/>
                  </a:cubicBezTo>
                </a:path>
              </a:pathLst>
            </a:custGeom>
            <a:solidFill>
              <a:srgbClr val="FFAA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śļîḑé">
              <a:extLst>
                <a:ext uri="{FF2B5EF4-FFF2-40B4-BE49-F238E27FC236}">
                  <a16:creationId xmlns:a16="http://schemas.microsoft.com/office/drawing/2014/main" id="{5698FD19-BE1E-4486-843A-E4F24EAB88AC}"/>
                </a:ext>
              </a:extLst>
            </p:cNvPr>
            <p:cNvSpPr/>
            <p:nvPr/>
          </p:nvSpPr>
          <p:spPr bwMode="auto">
            <a:xfrm>
              <a:off x="5349876" y="3949701"/>
              <a:ext cx="474663" cy="1516063"/>
            </a:xfrm>
            <a:custGeom>
              <a:avLst/>
              <a:gdLst>
                <a:gd name="T0" fmla="*/ 111 w 121"/>
                <a:gd name="T1" fmla="*/ 3 h 386"/>
                <a:gd name="T2" fmla="*/ 71 w 121"/>
                <a:gd name="T3" fmla="*/ 92 h 386"/>
                <a:gd name="T4" fmla="*/ 37 w 121"/>
                <a:gd name="T5" fmla="*/ 184 h 386"/>
                <a:gd name="T6" fmla="*/ 12 w 121"/>
                <a:gd name="T7" fmla="*/ 278 h 386"/>
                <a:gd name="T8" fmla="*/ 0 w 121"/>
                <a:gd name="T9" fmla="*/ 376 h 386"/>
                <a:gd name="T10" fmla="*/ 9 w 121"/>
                <a:gd name="T11" fmla="*/ 385 h 386"/>
                <a:gd name="T12" fmla="*/ 19 w 121"/>
                <a:gd name="T13" fmla="*/ 377 h 386"/>
                <a:gd name="T14" fmla="*/ 19 w 121"/>
                <a:gd name="T15" fmla="*/ 376 h 386"/>
                <a:gd name="T16" fmla="*/ 19 w 121"/>
                <a:gd name="T17" fmla="*/ 376 h 386"/>
                <a:gd name="T18" fmla="*/ 28 w 121"/>
                <a:gd name="T19" fmla="*/ 281 h 386"/>
                <a:gd name="T20" fmla="*/ 51 w 121"/>
                <a:gd name="T21" fmla="*/ 188 h 386"/>
                <a:gd name="T22" fmla="*/ 82 w 121"/>
                <a:gd name="T23" fmla="*/ 96 h 386"/>
                <a:gd name="T24" fmla="*/ 120 w 121"/>
                <a:gd name="T25" fmla="*/ 7 h 386"/>
                <a:gd name="T26" fmla="*/ 120 w 121"/>
                <a:gd name="T27" fmla="*/ 7 h 386"/>
                <a:gd name="T28" fmla="*/ 118 w 121"/>
                <a:gd name="T29" fmla="*/ 1 h 386"/>
                <a:gd name="T30" fmla="*/ 111 w 121"/>
                <a:gd name="T31" fmla="*/ 3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1" h="386">
                  <a:moveTo>
                    <a:pt x="111" y="3"/>
                  </a:moveTo>
                  <a:cubicBezTo>
                    <a:pt x="96" y="32"/>
                    <a:pt x="83" y="62"/>
                    <a:pt x="71" y="92"/>
                  </a:cubicBezTo>
                  <a:cubicBezTo>
                    <a:pt x="59" y="122"/>
                    <a:pt x="47" y="153"/>
                    <a:pt x="37" y="184"/>
                  </a:cubicBezTo>
                  <a:cubicBezTo>
                    <a:pt x="27" y="215"/>
                    <a:pt x="19" y="246"/>
                    <a:pt x="12" y="278"/>
                  </a:cubicBezTo>
                  <a:cubicBezTo>
                    <a:pt x="6" y="310"/>
                    <a:pt x="2" y="343"/>
                    <a:pt x="0" y="376"/>
                  </a:cubicBezTo>
                  <a:cubicBezTo>
                    <a:pt x="0" y="381"/>
                    <a:pt x="4" y="385"/>
                    <a:pt x="9" y="385"/>
                  </a:cubicBezTo>
                  <a:cubicBezTo>
                    <a:pt x="14" y="386"/>
                    <a:pt x="19" y="382"/>
                    <a:pt x="19" y="377"/>
                  </a:cubicBezTo>
                  <a:cubicBezTo>
                    <a:pt x="19" y="376"/>
                    <a:pt x="19" y="376"/>
                    <a:pt x="19" y="376"/>
                  </a:cubicBezTo>
                  <a:cubicBezTo>
                    <a:pt x="19" y="376"/>
                    <a:pt x="19" y="376"/>
                    <a:pt x="19" y="376"/>
                  </a:cubicBezTo>
                  <a:cubicBezTo>
                    <a:pt x="19" y="344"/>
                    <a:pt x="23" y="313"/>
                    <a:pt x="28" y="281"/>
                  </a:cubicBezTo>
                  <a:cubicBezTo>
                    <a:pt x="34" y="250"/>
                    <a:pt x="42" y="218"/>
                    <a:pt x="51" y="188"/>
                  </a:cubicBezTo>
                  <a:cubicBezTo>
                    <a:pt x="60" y="157"/>
                    <a:pt x="70" y="126"/>
                    <a:pt x="82" y="96"/>
                  </a:cubicBezTo>
                  <a:cubicBezTo>
                    <a:pt x="93" y="66"/>
                    <a:pt x="106" y="36"/>
                    <a:pt x="120" y="7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21" y="5"/>
                    <a:pt x="120" y="2"/>
                    <a:pt x="118" y="1"/>
                  </a:cubicBezTo>
                  <a:cubicBezTo>
                    <a:pt x="115" y="0"/>
                    <a:pt x="112" y="1"/>
                    <a:pt x="111" y="3"/>
                  </a:cubicBezTo>
                </a:path>
              </a:pathLst>
            </a:custGeom>
            <a:solidFill>
              <a:srgbClr val="F05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ṣľïḓê">
              <a:extLst>
                <a:ext uri="{FF2B5EF4-FFF2-40B4-BE49-F238E27FC236}">
                  <a16:creationId xmlns:a16="http://schemas.microsoft.com/office/drawing/2014/main" id="{B826D233-9029-46B3-8EC3-6338DA0CA984}"/>
                </a:ext>
              </a:extLst>
            </p:cNvPr>
            <p:cNvSpPr/>
            <p:nvPr/>
          </p:nvSpPr>
          <p:spPr bwMode="auto">
            <a:xfrm>
              <a:off x="5635626" y="4370388"/>
              <a:ext cx="314325" cy="231775"/>
            </a:xfrm>
            <a:custGeom>
              <a:avLst/>
              <a:gdLst>
                <a:gd name="T0" fmla="*/ 2 w 80"/>
                <a:gd name="T1" fmla="*/ 57 h 59"/>
                <a:gd name="T2" fmla="*/ 9 w 80"/>
                <a:gd name="T3" fmla="*/ 56 h 59"/>
                <a:gd name="T4" fmla="*/ 76 w 80"/>
                <a:gd name="T5" fmla="*/ 10 h 59"/>
                <a:gd name="T6" fmla="*/ 79 w 80"/>
                <a:gd name="T7" fmla="*/ 4 h 59"/>
                <a:gd name="T8" fmla="*/ 73 w 80"/>
                <a:gd name="T9" fmla="*/ 1 h 59"/>
                <a:gd name="T10" fmla="*/ 1 w 80"/>
                <a:gd name="T11" fmla="*/ 51 h 59"/>
                <a:gd name="T12" fmla="*/ 2 w 80"/>
                <a:gd name="T13" fmla="*/ 57 h 59"/>
                <a:gd name="T14" fmla="*/ 2 w 80"/>
                <a:gd name="T15" fmla="*/ 5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59">
                  <a:moveTo>
                    <a:pt x="2" y="57"/>
                  </a:moveTo>
                  <a:cubicBezTo>
                    <a:pt x="4" y="59"/>
                    <a:pt x="7" y="58"/>
                    <a:pt x="9" y="56"/>
                  </a:cubicBezTo>
                  <a:cubicBezTo>
                    <a:pt x="30" y="27"/>
                    <a:pt x="76" y="10"/>
                    <a:pt x="76" y="10"/>
                  </a:cubicBezTo>
                  <a:cubicBezTo>
                    <a:pt x="79" y="9"/>
                    <a:pt x="80" y="6"/>
                    <a:pt x="79" y="4"/>
                  </a:cubicBezTo>
                  <a:cubicBezTo>
                    <a:pt x="78" y="1"/>
                    <a:pt x="75" y="0"/>
                    <a:pt x="73" y="1"/>
                  </a:cubicBezTo>
                  <a:cubicBezTo>
                    <a:pt x="71" y="2"/>
                    <a:pt x="24" y="20"/>
                    <a:pt x="1" y="51"/>
                  </a:cubicBezTo>
                  <a:cubicBezTo>
                    <a:pt x="0" y="53"/>
                    <a:pt x="0" y="56"/>
                    <a:pt x="2" y="57"/>
                  </a:cubicBezTo>
                  <a:cubicBezTo>
                    <a:pt x="2" y="57"/>
                    <a:pt x="2" y="57"/>
                    <a:pt x="2" y="57"/>
                  </a:cubicBezTo>
                </a:path>
              </a:pathLst>
            </a:custGeom>
            <a:solidFill>
              <a:srgbClr val="F05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Slíḋe">
              <a:extLst>
                <a:ext uri="{FF2B5EF4-FFF2-40B4-BE49-F238E27FC236}">
                  <a16:creationId xmlns:a16="http://schemas.microsoft.com/office/drawing/2014/main" id="{9751100F-43D9-4E5C-A255-90406B6A3B21}"/>
                </a:ext>
              </a:extLst>
            </p:cNvPr>
            <p:cNvSpPr/>
            <p:nvPr/>
          </p:nvSpPr>
          <p:spPr bwMode="auto">
            <a:xfrm>
              <a:off x="5395914" y="4291013"/>
              <a:ext cx="122238" cy="258763"/>
            </a:xfrm>
            <a:custGeom>
              <a:avLst/>
              <a:gdLst>
                <a:gd name="T0" fmla="*/ 23 w 31"/>
                <a:gd name="T1" fmla="*/ 65 h 66"/>
                <a:gd name="T2" fmla="*/ 26 w 31"/>
                <a:gd name="T3" fmla="*/ 66 h 66"/>
                <a:gd name="T4" fmla="*/ 31 w 31"/>
                <a:gd name="T5" fmla="*/ 61 h 66"/>
                <a:gd name="T6" fmla="*/ 9 w 31"/>
                <a:gd name="T7" fmla="*/ 2 h 66"/>
                <a:gd name="T8" fmla="*/ 2 w 31"/>
                <a:gd name="T9" fmla="*/ 2 h 66"/>
                <a:gd name="T10" fmla="*/ 2 w 31"/>
                <a:gd name="T11" fmla="*/ 8 h 66"/>
                <a:gd name="T12" fmla="*/ 21 w 31"/>
                <a:gd name="T13" fmla="*/ 62 h 66"/>
                <a:gd name="T14" fmla="*/ 23 w 31"/>
                <a:gd name="T15" fmla="*/ 6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66">
                  <a:moveTo>
                    <a:pt x="23" y="65"/>
                  </a:moveTo>
                  <a:cubicBezTo>
                    <a:pt x="24" y="66"/>
                    <a:pt x="25" y="66"/>
                    <a:pt x="26" y="66"/>
                  </a:cubicBezTo>
                  <a:cubicBezTo>
                    <a:pt x="29" y="66"/>
                    <a:pt x="31" y="64"/>
                    <a:pt x="31" y="61"/>
                  </a:cubicBezTo>
                  <a:cubicBezTo>
                    <a:pt x="31" y="60"/>
                    <a:pt x="28" y="24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ubicBezTo>
                    <a:pt x="1" y="3"/>
                    <a:pt x="0" y="6"/>
                    <a:pt x="2" y="8"/>
                  </a:cubicBezTo>
                  <a:cubicBezTo>
                    <a:pt x="19" y="28"/>
                    <a:pt x="21" y="61"/>
                    <a:pt x="21" y="62"/>
                  </a:cubicBezTo>
                  <a:cubicBezTo>
                    <a:pt x="22" y="63"/>
                    <a:pt x="22" y="64"/>
                    <a:pt x="23" y="65"/>
                  </a:cubicBezTo>
                  <a:close/>
                </a:path>
              </a:pathLst>
            </a:custGeom>
            <a:solidFill>
              <a:srgbClr val="F05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ṥḷïḑé">
              <a:extLst>
                <a:ext uri="{FF2B5EF4-FFF2-40B4-BE49-F238E27FC236}">
                  <a16:creationId xmlns:a16="http://schemas.microsoft.com/office/drawing/2014/main" id="{7B46C5F1-5925-435F-89E1-8BE459AF5342}"/>
                </a:ext>
              </a:extLst>
            </p:cNvPr>
            <p:cNvSpPr/>
            <p:nvPr/>
          </p:nvSpPr>
          <p:spPr bwMode="auto">
            <a:xfrm>
              <a:off x="5491164" y="4837113"/>
              <a:ext cx="349250" cy="239713"/>
            </a:xfrm>
            <a:custGeom>
              <a:avLst/>
              <a:gdLst>
                <a:gd name="T0" fmla="*/ 2 w 89"/>
                <a:gd name="T1" fmla="*/ 59 h 61"/>
                <a:gd name="T2" fmla="*/ 8 w 89"/>
                <a:gd name="T3" fmla="*/ 59 h 61"/>
                <a:gd name="T4" fmla="*/ 85 w 89"/>
                <a:gd name="T5" fmla="*/ 10 h 61"/>
                <a:gd name="T6" fmla="*/ 87 w 89"/>
                <a:gd name="T7" fmla="*/ 3 h 61"/>
                <a:gd name="T8" fmla="*/ 81 w 89"/>
                <a:gd name="T9" fmla="*/ 1 h 61"/>
                <a:gd name="T10" fmla="*/ 2 w 89"/>
                <a:gd name="T11" fmla="*/ 52 h 61"/>
                <a:gd name="T12" fmla="*/ 2 w 89"/>
                <a:gd name="T13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61">
                  <a:moveTo>
                    <a:pt x="2" y="59"/>
                  </a:moveTo>
                  <a:cubicBezTo>
                    <a:pt x="4" y="61"/>
                    <a:pt x="7" y="61"/>
                    <a:pt x="8" y="59"/>
                  </a:cubicBezTo>
                  <a:cubicBezTo>
                    <a:pt x="33" y="34"/>
                    <a:pt x="85" y="10"/>
                    <a:pt x="85" y="10"/>
                  </a:cubicBezTo>
                  <a:cubicBezTo>
                    <a:pt x="87" y="9"/>
                    <a:pt x="89" y="6"/>
                    <a:pt x="87" y="3"/>
                  </a:cubicBezTo>
                  <a:cubicBezTo>
                    <a:pt x="86" y="1"/>
                    <a:pt x="84" y="0"/>
                    <a:pt x="81" y="1"/>
                  </a:cubicBezTo>
                  <a:cubicBezTo>
                    <a:pt x="79" y="2"/>
                    <a:pt x="28" y="26"/>
                    <a:pt x="2" y="52"/>
                  </a:cubicBezTo>
                  <a:cubicBezTo>
                    <a:pt x="0" y="54"/>
                    <a:pt x="0" y="57"/>
                    <a:pt x="2" y="59"/>
                  </a:cubicBezTo>
                  <a:close/>
                </a:path>
              </a:pathLst>
            </a:custGeom>
            <a:solidFill>
              <a:srgbClr val="F05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ṥ1íďè">
              <a:extLst>
                <a:ext uri="{FF2B5EF4-FFF2-40B4-BE49-F238E27FC236}">
                  <a16:creationId xmlns:a16="http://schemas.microsoft.com/office/drawing/2014/main" id="{7AEC58A1-AF6A-40DA-A050-A2F54636709B}"/>
                </a:ext>
              </a:extLst>
            </p:cNvPr>
            <p:cNvSpPr/>
            <p:nvPr/>
          </p:nvSpPr>
          <p:spPr bwMode="auto">
            <a:xfrm>
              <a:off x="5200651" y="4829176"/>
              <a:ext cx="168275" cy="247650"/>
            </a:xfrm>
            <a:custGeom>
              <a:avLst/>
              <a:gdLst>
                <a:gd name="T0" fmla="*/ 35 w 43"/>
                <a:gd name="T1" fmla="*/ 62 h 63"/>
                <a:gd name="T2" fmla="*/ 39 w 43"/>
                <a:gd name="T3" fmla="*/ 63 h 63"/>
                <a:gd name="T4" fmla="*/ 42 w 43"/>
                <a:gd name="T5" fmla="*/ 58 h 63"/>
                <a:gd name="T6" fmla="*/ 9 w 43"/>
                <a:gd name="T7" fmla="*/ 1 h 63"/>
                <a:gd name="T8" fmla="*/ 2 w 43"/>
                <a:gd name="T9" fmla="*/ 2 h 63"/>
                <a:gd name="T10" fmla="*/ 3 w 43"/>
                <a:gd name="T11" fmla="*/ 9 h 63"/>
                <a:gd name="T12" fmla="*/ 33 w 43"/>
                <a:gd name="T13" fmla="*/ 59 h 63"/>
                <a:gd name="T14" fmla="*/ 35 w 43"/>
                <a:gd name="T15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63">
                  <a:moveTo>
                    <a:pt x="35" y="62"/>
                  </a:moveTo>
                  <a:cubicBezTo>
                    <a:pt x="36" y="63"/>
                    <a:pt x="37" y="63"/>
                    <a:pt x="39" y="63"/>
                  </a:cubicBezTo>
                  <a:cubicBezTo>
                    <a:pt x="41" y="63"/>
                    <a:pt x="43" y="60"/>
                    <a:pt x="42" y="58"/>
                  </a:cubicBezTo>
                  <a:cubicBezTo>
                    <a:pt x="42" y="57"/>
                    <a:pt x="37" y="24"/>
                    <a:pt x="9" y="1"/>
                  </a:cubicBezTo>
                  <a:cubicBezTo>
                    <a:pt x="7" y="0"/>
                    <a:pt x="4" y="0"/>
                    <a:pt x="2" y="2"/>
                  </a:cubicBezTo>
                  <a:cubicBezTo>
                    <a:pt x="0" y="4"/>
                    <a:pt x="1" y="7"/>
                    <a:pt x="3" y="9"/>
                  </a:cubicBezTo>
                  <a:cubicBezTo>
                    <a:pt x="28" y="29"/>
                    <a:pt x="33" y="59"/>
                    <a:pt x="33" y="59"/>
                  </a:cubicBezTo>
                  <a:cubicBezTo>
                    <a:pt x="33" y="61"/>
                    <a:pt x="34" y="62"/>
                    <a:pt x="35" y="62"/>
                  </a:cubicBezTo>
                  <a:close/>
                </a:path>
              </a:pathLst>
            </a:custGeom>
            <a:solidFill>
              <a:srgbClr val="F05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ïSḻïḋê">
              <a:extLst>
                <a:ext uri="{FF2B5EF4-FFF2-40B4-BE49-F238E27FC236}">
                  <a16:creationId xmlns:a16="http://schemas.microsoft.com/office/drawing/2014/main" id="{EF8164E1-0617-485D-91B9-053CD2CC152B}"/>
                </a:ext>
              </a:extLst>
            </p:cNvPr>
            <p:cNvSpPr/>
            <p:nvPr/>
          </p:nvSpPr>
          <p:spPr bwMode="auto">
            <a:xfrm>
              <a:off x="3187701" y="4064001"/>
              <a:ext cx="1081088" cy="1535113"/>
            </a:xfrm>
            <a:custGeom>
              <a:avLst/>
              <a:gdLst>
                <a:gd name="T0" fmla="*/ 233 w 275"/>
                <a:gd name="T1" fmla="*/ 373 h 391"/>
                <a:gd name="T2" fmla="*/ 271 w 275"/>
                <a:gd name="T3" fmla="*/ 280 h 391"/>
                <a:gd name="T4" fmla="*/ 267 w 275"/>
                <a:gd name="T5" fmla="*/ 254 h 391"/>
                <a:gd name="T6" fmla="*/ 192 w 275"/>
                <a:gd name="T7" fmla="*/ 178 h 391"/>
                <a:gd name="T8" fmla="*/ 174 w 275"/>
                <a:gd name="T9" fmla="*/ 96 h 391"/>
                <a:gd name="T10" fmla="*/ 91 w 275"/>
                <a:gd name="T11" fmla="*/ 40 h 391"/>
                <a:gd name="T12" fmla="*/ 30 w 275"/>
                <a:gd name="T13" fmla="*/ 80 h 391"/>
                <a:gd name="T14" fmla="*/ 42 w 275"/>
                <a:gd name="T15" fmla="*/ 134 h 391"/>
                <a:gd name="T16" fmla="*/ 57 w 275"/>
                <a:gd name="T17" fmla="*/ 210 h 391"/>
                <a:gd name="T18" fmla="*/ 96 w 275"/>
                <a:gd name="T19" fmla="*/ 276 h 391"/>
                <a:gd name="T20" fmla="*/ 107 w 275"/>
                <a:gd name="T21" fmla="*/ 347 h 391"/>
                <a:gd name="T22" fmla="*/ 212 w 275"/>
                <a:gd name="T23" fmla="*/ 381 h 391"/>
                <a:gd name="T24" fmla="*/ 233 w 275"/>
                <a:gd name="T25" fmla="*/ 373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5" h="391">
                  <a:moveTo>
                    <a:pt x="233" y="373"/>
                  </a:moveTo>
                  <a:cubicBezTo>
                    <a:pt x="265" y="355"/>
                    <a:pt x="275" y="319"/>
                    <a:pt x="271" y="280"/>
                  </a:cubicBezTo>
                  <a:cubicBezTo>
                    <a:pt x="270" y="271"/>
                    <a:pt x="269" y="262"/>
                    <a:pt x="267" y="254"/>
                  </a:cubicBezTo>
                  <a:cubicBezTo>
                    <a:pt x="260" y="229"/>
                    <a:pt x="199" y="205"/>
                    <a:pt x="192" y="178"/>
                  </a:cubicBezTo>
                  <a:cubicBezTo>
                    <a:pt x="185" y="150"/>
                    <a:pt x="203" y="129"/>
                    <a:pt x="174" y="96"/>
                  </a:cubicBezTo>
                  <a:cubicBezTo>
                    <a:pt x="155" y="77"/>
                    <a:pt x="128" y="93"/>
                    <a:pt x="91" y="40"/>
                  </a:cubicBezTo>
                  <a:cubicBezTo>
                    <a:pt x="61" y="5"/>
                    <a:pt x="0" y="0"/>
                    <a:pt x="30" y="80"/>
                  </a:cubicBezTo>
                  <a:cubicBezTo>
                    <a:pt x="37" y="104"/>
                    <a:pt x="48" y="112"/>
                    <a:pt x="42" y="134"/>
                  </a:cubicBezTo>
                  <a:cubicBezTo>
                    <a:pt x="36" y="156"/>
                    <a:pt x="19" y="184"/>
                    <a:pt x="57" y="210"/>
                  </a:cubicBezTo>
                  <a:cubicBezTo>
                    <a:pt x="84" y="229"/>
                    <a:pt x="99" y="252"/>
                    <a:pt x="96" y="276"/>
                  </a:cubicBezTo>
                  <a:cubicBezTo>
                    <a:pt x="92" y="299"/>
                    <a:pt x="95" y="326"/>
                    <a:pt x="107" y="347"/>
                  </a:cubicBezTo>
                  <a:cubicBezTo>
                    <a:pt x="127" y="383"/>
                    <a:pt x="174" y="391"/>
                    <a:pt x="212" y="381"/>
                  </a:cubicBezTo>
                  <a:cubicBezTo>
                    <a:pt x="219" y="379"/>
                    <a:pt x="227" y="376"/>
                    <a:pt x="233" y="373"/>
                  </a:cubicBezTo>
                </a:path>
              </a:pathLst>
            </a:custGeom>
            <a:solidFill>
              <a:srgbClr val="790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ŝľiḍè">
              <a:extLst>
                <a:ext uri="{FF2B5EF4-FFF2-40B4-BE49-F238E27FC236}">
                  <a16:creationId xmlns:a16="http://schemas.microsoft.com/office/drawing/2014/main" id="{0D84416D-A595-419A-BBA5-BA402A1522FE}"/>
                </a:ext>
              </a:extLst>
            </p:cNvPr>
            <p:cNvSpPr/>
            <p:nvPr/>
          </p:nvSpPr>
          <p:spPr bwMode="auto">
            <a:xfrm>
              <a:off x="3387726" y="4256088"/>
              <a:ext cx="617538" cy="1169988"/>
            </a:xfrm>
            <a:custGeom>
              <a:avLst/>
              <a:gdLst>
                <a:gd name="T0" fmla="*/ 4 w 157"/>
                <a:gd name="T1" fmla="*/ 1 h 298"/>
                <a:gd name="T2" fmla="*/ 51 w 157"/>
                <a:gd name="T3" fmla="*/ 68 h 298"/>
                <a:gd name="T4" fmla="*/ 70 w 157"/>
                <a:gd name="T5" fmla="*/ 104 h 298"/>
                <a:gd name="T6" fmla="*/ 78 w 157"/>
                <a:gd name="T7" fmla="*/ 123 h 298"/>
                <a:gd name="T8" fmla="*/ 84 w 157"/>
                <a:gd name="T9" fmla="*/ 143 h 298"/>
                <a:gd name="T10" fmla="*/ 112 w 157"/>
                <a:gd name="T11" fmla="*/ 219 h 298"/>
                <a:gd name="T12" fmla="*/ 130 w 157"/>
                <a:gd name="T13" fmla="*/ 254 h 298"/>
                <a:gd name="T14" fmla="*/ 153 w 157"/>
                <a:gd name="T15" fmla="*/ 284 h 298"/>
                <a:gd name="T16" fmla="*/ 153 w 157"/>
                <a:gd name="T17" fmla="*/ 285 h 298"/>
                <a:gd name="T18" fmla="*/ 154 w 157"/>
                <a:gd name="T19" fmla="*/ 295 h 298"/>
                <a:gd name="T20" fmla="*/ 144 w 157"/>
                <a:gd name="T21" fmla="*/ 295 h 298"/>
                <a:gd name="T22" fmla="*/ 144 w 157"/>
                <a:gd name="T23" fmla="*/ 295 h 298"/>
                <a:gd name="T24" fmla="*/ 119 w 157"/>
                <a:gd name="T25" fmla="*/ 261 h 298"/>
                <a:gd name="T26" fmla="*/ 101 w 157"/>
                <a:gd name="T27" fmla="*/ 223 h 298"/>
                <a:gd name="T28" fmla="*/ 75 w 157"/>
                <a:gd name="T29" fmla="*/ 145 h 298"/>
                <a:gd name="T30" fmla="*/ 70 w 157"/>
                <a:gd name="T31" fmla="*/ 126 h 298"/>
                <a:gd name="T32" fmla="*/ 63 w 157"/>
                <a:gd name="T33" fmla="*/ 107 h 298"/>
                <a:gd name="T34" fmla="*/ 45 w 157"/>
                <a:gd name="T35" fmla="*/ 71 h 298"/>
                <a:gd name="T36" fmla="*/ 0 w 157"/>
                <a:gd name="T37" fmla="*/ 3 h 298"/>
                <a:gd name="T38" fmla="*/ 0 w 157"/>
                <a:gd name="T39" fmla="*/ 3 h 298"/>
                <a:gd name="T40" fmla="*/ 1 w 157"/>
                <a:gd name="T41" fmla="*/ 0 h 298"/>
                <a:gd name="T42" fmla="*/ 4 w 157"/>
                <a:gd name="T43" fmla="*/ 1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7" h="298">
                  <a:moveTo>
                    <a:pt x="4" y="1"/>
                  </a:moveTo>
                  <a:cubicBezTo>
                    <a:pt x="21" y="22"/>
                    <a:pt x="36" y="44"/>
                    <a:pt x="51" y="68"/>
                  </a:cubicBezTo>
                  <a:cubicBezTo>
                    <a:pt x="58" y="79"/>
                    <a:pt x="64" y="91"/>
                    <a:pt x="70" y="104"/>
                  </a:cubicBezTo>
                  <a:cubicBezTo>
                    <a:pt x="73" y="110"/>
                    <a:pt x="75" y="117"/>
                    <a:pt x="78" y="123"/>
                  </a:cubicBezTo>
                  <a:cubicBezTo>
                    <a:pt x="80" y="130"/>
                    <a:pt x="81" y="136"/>
                    <a:pt x="84" y="143"/>
                  </a:cubicBezTo>
                  <a:cubicBezTo>
                    <a:pt x="92" y="169"/>
                    <a:pt x="101" y="194"/>
                    <a:pt x="112" y="219"/>
                  </a:cubicBezTo>
                  <a:cubicBezTo>
                    <a:pt x="117" y="231"/>
                    <a:pt x="123" y="243"/>
                    <a:pt x="130" y="254"/>
                  </a:cubicBezTo>
                  <a:cubicBezTo>
                    <a:pt x="136" y="266"/>
                    <a:pt x="144" y="277"/>
                    <a:pt x="153" y="284"/>
                  </a:cubicBezTo>
                  <a:cubicBezTo>
                    <a:pt x="153" y="285"/>
                    <a:pt x="153" y="285"/>
                    <a:pt x="153" y="285"/>
                  </a:cubicBezTo>
                  <a:cubicBezTo>
                    <a:pt x="156" y="287"/>
                    <a:pt x="157" y="292"/>
                    <a:pt x="154" y="295"/>
                  </a:cubicBezTo>
                  <a:cubicBezTo>
                    <a:pt x="152" y="297"/>
                    <a:pt x="147" y="298"/>
                    <a:pt x="144" y="295"/>
                  </a:cubicBezTo>
                  <a:cubicBezTo>
                    <a:pt x="144" y="295"/>
                    <a:pt x="144" y="295"/>
                    <a:pt x="144" y="295"/>
                  </a:cubicBezTo>
                  <a:cubicBezTo>
                    <a:pt x="133" y="285"/>
                    <a:pt x="125" y="273"/>
                    <a:pt x="119" y="261"/>
                  </a:cubicBezTo>
                  <a:cubicBezTo>
                    <a:pt x="112" y="248"/>
                    <a:pt x="106" y="236"/>
                    <a:pt x="101" y="223"/>
                  </a:cubicBezTo>
                  <a:cubicBezTo>
                    <a:pt x="91" y="198"/>
                    <a:pt x="82" y="172"/>
                    <a:pt x="75" y="145"/>
                  </a:cubicBezTo>
                  <a:cubicBezTo>
                    <a:pt x="73" y="139"/>
                    <a:pt x="71" y="132"/>
                    <a:pt x="70" y="126"/>
                  </a:cubicBezTo>
                  <a:cubicBezTo>
                    <a:pt x="68" y="120"/>
                    <a:pt x="65" y="113"/>
                    <a:pt x="63" y="107"/>
                  </a:cubicBezTo>
                  <a:cubicBezTo>
                    <a:pt x="58" y="95"/>
                    <a:pt x="52" y="83"/>
                    <a:pt x="45" y="71"/>
                  </a:cubicBezTo>
                  <a:cubicBezTo>
                    <a:pt x="32" y="48"/>
                    <a:pt x="17" y="2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śḷïďê">
              <a:extLst>
                <a:ext uri="{FF2B5EF4-FFF2-40B4-BE49-F238E27FC236}">
                  <a16:creationId xmlns:a16="http://schemas.microsoft.com/office/drawing/2014/main" id="{838E1055-7A50-4776-93B5-CF4A2B45BBCD}"/>
                </a:ext>
              </a:extLst>
            </p:cNvPr>
            <p:cNvSpPr/>
            <p:nvPr/>
          </p:nvSpPr>
          <p:spPr bwMode="auto">
            <a:xfrm>
              <a:off x="3962401" y="5084763"/>
              <a:ext cx="188913" cy="180975"/>
            </a:xfrm>
            <a:custGeom>
              <a:avLst/>
              <a:gdLst>
                <a:gd name="T0" fmla="*/ 0 w 48"/>
                <a:gd name="T1" fmla="*/ 46 h 46"/>
                <a:gd name="T2" fmla="*/ 5 w 48"/>
                <a:gd name="T3" fmla="*/ 28 h 46"/>
                <a:gd name="T4" fmla="*/ 16 w 48"/>
                <a:gd name="T5" fmla="*/ 15 h 46"/>
                <a:gd name="T6" fmla="*/ 31 w 48"/>
                <a:gd name="T7" fmla="*/ 5 h 46"/>
                <a:gd name="T8" fmla="*/ 48 w 48"/>
                <a:gd name="T9" fmla="*/ 0 h 46"/>
                <a:gd name="T10" fmla="*/ 48 w 48"/>
                <a:gd name="T11" fmla="*/ 1 h 46"/>
                <a:gd name="T12" fmla="*/ 48 w 48"/>
                <a:gd name="T13" fmla="*/ 1 h 46"/>
                <a:gd name="T14" fmla="*/ 48 w 48"/>
                <a:gd name="T15" fmla="*/ 1 h 46"/>
                <a:gd name="T16" fmla="*/ 33 w 48"/>
                <a:gd name="T17" fmla="*/ 8 h 46"/>
                <a:gd name="T18" fmla="*/ 21 w 48"/>
                <a:gd name="T19" fmla="*/ 20 h 46"/>
                <a:gd name="T20" fmla="*/ 12 w 48"/>
                <a:gd name="T21" fmla="*/ 33 h 46"/>
                <a:gd name="T22" fmla="*/ 1 w 48"/>
                <a:gd name="T23" fmla="*/ 46 h 46"/>
                <a:gd name="T24" fmla="*/ 1 w 48"/>
                <a:gd name="T25" fmla="*/ 46 h 46"/>
                <a:gd name="T26" fmla="*/ 0 w 48"/>
                <a:gd name="T27" fmla="*/ 46 h 46"/>
                <a:gd name="T28" fmla="*/ 0 w 48"/>
                <a:gd name="T2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6">
                  <a:moveTo>
                    <a:pt x="0" y="46"/>
                  </a:moveTo>
                  <a:cubicBezTo>
                    <a:pt x="0" y="39"/>
                    <a:pt x="2" y="34"/>
                    <a:pt x="5" y="28"/>
                  </a:cubicBezTo>
                  <a:cubicBezTo>
                    <a:pt x="7" y="23"/>
                    <a:pt x="12" y="19"/>
                    <a:pt x="16" y="15"/>
                  </a:cubicBezTo>
                  <a:cubicBezTo>
                    <a:pt x="21" y="11"/>
                    <a:pt x="26" y="8"/>
                    <a:pt x="31" y="5"/>
                  </a:cubicBezTo>
                  <a:cubicBezTo>
                    <a:pt x="36" y="2"/>
                    <a:pt x="42" y="1"/>
                    <a:pt x="48" y="0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3" y="3"/>
                    <a:pt x="37" y="5"/>
                    <a:pt x="33" y="8"/>
                  </a:cubicBezTo>
                  <a:cubicBezTo>
                    <a:pt x="29" y="12"/>
                    <a:pt x="25" y="15"/>
                    <a:pt x="21" y="20"/>
                  </a:cubicBezTo>
                  <a:cubicBezTo>
                    <a:pt x="18" y="24"/>
                    <a:pt x="15" y="29"/>
                    <a:pt x="12" y="33"/>
                  </a:cubicBezTo>
                  <a:cubicBezTo>
                    <a:pt x="8" y="37"/>
                    <a:pt x="5" y="41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Slíďé">
              <a:extLst>
                <a:ext uri="{FF2B5EF4-FFF2-40B4-BE49-F238E27FC236}">
                  <a16:creationId xmlns:a16="http://schemas.microsoft.com/office/drawing/2014/main" id="{6593D2E6-9B4D-4895-88ED-85C58B423CFD}"/>
                </a:ext>
              </a:extLst>
            </p:cNvPr>
            <p:cNvSpPr/>
            <p:nvPr/>
          </p:nvSpPr>
          <p:spPr bwMode="auto">
            <a:xfrm>
              <a:off x="3640139" y="5284788"/>
              <a:ext cx="200025" cy="66675"/>
            </a:xfrm>
            <a:custGeom>
              <a:avLst/>
              <a:gdLst>
                <a:gd name="T0" fmla="*/ 51 w 51"/>
                <a:gd name="T1" fmla="*/ 9 h 17"/>
                <a:gd name="T2" fmla="*/ 38 w 51"/>
                <a:gd name="T3" fmla="*/ 9 h 17"/>
                <a:gd name="T4" fmla="*/ 25 w 51"/>
                <a:gd name="T5" fmla="*/ 9 h 17"/>
                <a:gd name="T6" fmla="*/ 12 w 51"/>
                <a:gd name="T7" fmla="*/ 12 h 17"/>
                <a:gd name="T8" fmla="*/ 0 w 51"/>
                <a:gd name="T9" fmla="*/ 17 h 17"/>
                <a:gd name="T10" fmla="*/ 0 w 51"/>
                <a:gd name="T11" fmla="*/ 17 h 17"/>
                <a:gd name="T12" fmla="*/ 0 w 51"/>
                <a:gd name="T13" fmla="*/ 17 h 17"/>
                <a:gd name="T14" fmla="*/ 0 w 51"/>
                <a:gd name="T15" fmla="*/ 16 h 17"/>
                <a:gd name="T16" fmla="*/ 11 w 51"/>
                <a:gd name="T17" fmla="*/ 8 h 17"/>
                <a:gd name="T18" fmla="*/ 24 w 51"/>
                <a:gd name="T19" fmla="*/ 3 h 17"/>
                <a:gd name="T20" fmla="*/ 38 w 51"/>
                <a:gd name="T21" fmla="*/ 1 h 17"/>
                <a:gd name="T22" fmla="*/ 51 w 51"/>
                <a:gd name="T23" fmla="*/ 8 h 17"/>
                <a:gd name="T24" fmla="*/ 51 w 51"/>
                <a:gd name="T25" fmla="*/ 9 h 17"/>
                <a:gd name="T26" fmla="*/ 51 w 51"/>
                <a:gd name="T27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17">
                  <a:moveTo>
                    <a:pt x="51" y="9"/>
                  </a:moveTo>
                  <a:cubicBezTo>
                    <a:pt x="46" y="9"/>
                    <a:pt x="42" y="9"/>
                    <a:pt x="38" y="9"/>
                  </a:cubicBezTo>
                  <a:cubicBezTo>
                    <a:pt x="33" y="10"/>
                    <a:pt x="29" y="9"/>
                    <a:pt x="25" y="9"/>
                  </a:cubicBezTo>
                  <a:cubicBezTo>
                    <a:pt x="21" y="10"/>
                    <a:pt x="16" y="10"/>
                    <a:pt x="12" y="12"/>
                  </a:cubicBezTo>
                  <a:cubicBezTo>
                    <a:pt x="8" y="13"/>
                    <a:pt x="4" y="15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13"/>
                    <a:pt x="7" y="10"/>
                    <a:pt x="11" y="8"/>
                  </a:cubicBezTo>
                  <a:cubicBezTo>
                    <a:pt x="15" y="5"/>
                    <a:pt x="19" y="4"/>
                    <a:pt x="24" y="3"/>
                  </a:cubicBezTo>
                  <a:cubicBezTo>
                    <a:pt x="29" y="1"/>
                    <a:pt x="33" y="0"/>
                    <a:pt x="38" y="1"/>
                  </a:cubicBezTo>
                  <a:cubicBezTo>
                    <a:pt x="43" y="2"/>
                    <a:pt x="48" y="4"/>
                    <a:pt x="51" y="8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1" y="9"/>
                    <a:pt x="51" y="9"/>
                    <a:pt x="51" y="9"/>
                  </a:cubicBezTo>
                  <a:close/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šḷiďe">
              <a:extLst>
                <a:ext uri="{FF2B5EF4-FFF2-40B4-BE49-F238E27FC236}">
                  <a16:creationId xmlns:a16="http://schemas.microsoft.com/office/drawing/2014/main" id="{3EAF08E1-F241-4E38-9545-C0ACCC68D378}"/>
                </a:ext>
              </a:extLst>
            </p:cNvPr>
            <p:cNvSpPr/>
            <p:nvPr/>
          </p:nvSpPr>
          <p:spPr bwMode="auto">
            <a:xfrm>
              <a:off x="3702051" y="4506913"/>
              <a:ext cx="138113" cy="157163"/>
            </a:xfrm>
            <a:custGeom>
              <a:avLst/>
              <a:gdLst>
                <a:gd name="T0" fmla="*/ 1 w 35"/>
                <a:gd name="T1" fmla="*/ 40 h 40"/>
                <a:gd name="T2" fmla="*/ 3 w 35"/>
                <a:gd name="T3" fmla="*/ 26 h 40"/>
                <a:gd name="T4" fmla="*/ 12 w 35"/>
                <a:gd name="T5" fmla="*/ 15 h 40"/>
                <a:gd name="T6" fmla="*/ 22 w 35"/>
                <a:gd name="T7" fmla="*/ 6 h 40"/>
                <a:gd name="T8" fmla="*/ 35 w 35"/>
                <a:gd name="T9" fmla="*/ 0 h 40"/>
                <a:gd name="T10" fmla="*/ 35 w 35"/>
                <a:gd name="T11" fmla="*/ 0 h 40"/>
                <a:gd name="T12" fmla="*/ 35 w 35"/>
                <a:gd name="T13" fmla="*/ 1 h 40"/>
                <a:gd name="T14" fmla="*/ 35 w 35"/>
                <a:gd name="T15" fmla="*/ 1 h 40"/>
                <a:gd name="T16" fmla="*/ 25 w 35"/>
                <a:gd name="T17" fmla="*/ 9 h 40"/>
                <a:gd name="T18" fmla="*/ 17 w 35"/>
                <a:gd name="T19" fmla="*/ 19 h 40"/>
                <a:gd name="T20" fmla="*/ 10 w 35"/>
                <a:gd name="T21" fmla="*/ 30 h 40"/>
                <a:gd name="T22" fmla="*/ 2 w 35"/>
                <a:gd name="T23" fmla="*/ 40 h 40"/>
                <a:gd name="T24" fmla="*/ 2 w 35"/>
                <a:gd name="T25" fmla="*/ 40 h 40"/>
                <a:gd name="T26" fmla="*/ 1 w 35"/>
                <a:gd name="T2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40">
                  <a:moveTo>
                    <a:pt x="1" y="40"/>
                  </a:moveTo>
                  <a:cubicBezTo>
                    <a:pt x="0" y="35"/>
                    <a:pt x="1" y="30"/>
                    <a:pt x="3" y="26"/>
                  </a:cubicBezTo>
                  <a:cubicBezTo>
                    <a:pt x="5" y="22"/>
                    <a:pt x="8" y="18"/>
                    <a:pt x="12" y="15"/>
                  </a:cubicBezTo>
                  <a:cubicBezTo>
                    <a:pt x="15" y="11"/>
                    <a:pt x="18" y="8"/>
                    <a:pt x="22" y="6"/>
                  </a:cubicBezTo>
                  <a:cubicBezTo>
                    <a:pt x="26" y="3"/>
                    <a:pt x="31" y="2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2" y="4"/>
                    <a:pt x="28" y="6"/>
                    <a:pt x="25" y="9"/>
                  </a:cubicBezTo>
                  <a:cubicBezTo>
                    <a:pt x="22" y="12"/>
                    <a:pt x="19" y="16"/>
                    <a:pt x="17" y="19"/>
                  </a:cubicBezTo>
                  <a:cubicBezTo>
                    <a:pt x="14" y="23"/>
                    <a:pt x="13" y="27"/>
                    <a:pt x="10" y="30"/>
                  </a:cubicBezTo>
                  <a:cubicBezTo>
                    <a:pt x="8" y="33"/>
                    <a:pt x="5" y="37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1" y="40"/>
                    <a:pt x="1" y="40"/>
                  </a:cubicBezTo>
                  <a:close/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şḷidé">
              <a:extLst>
                <a:ext uri="{FF2B5EF4-FFF2-40B4-BE49-F238E27FC236}">
                  <a16:creationId xmlns:a16="http://schemas.microsoft.com/office/drawing/2014/main" id="{CAFAEF2E-3D7A-4704-B221-68E4258A74C9}"/>
                </a:ext>
              </a:extLst>
            </p:cNvPr>
            <p:cNvSpPr/>
            <p:nvPr/>
          </p:nvSpPr>
          <p:spPr bwMode="auto">
            <a:xfrm>
              <a:off x="3376614" y="4683126"/>
              <a:ext cx="220663" cy="60325"/>
            </a:xfrm>
            <a:custGeom>
              <a:avLst/>
              <a:gdLst>
                <a:gd name="T0" fmla="*/ 55 w 56"/>
                <a:gd name="T1" fmla="*/ 8 h 15"/>
                <a:gd name="T2" fmla="*/ 41 w 56"/>
                <a:gd name="T3" fmla="*/ 9 h 15"/>
                <a:gd name="T4" fmla="*/ 28 w 56"/>
                <a:gd name="T5" fmla="*/ 9 h 15"/>
                <a:gd name="T6" fmla="*/ 14 w 56"/>
                <a:gd name="T7" fmla="*/ 10 h 15"/>
                <a:gd name="T8" fmla="*/ 0 w 56"/>
                <a:gd name="T9" fmla="*/ 15 h 15"/>
                <a:gd name="T10" fmla="*/ 0 w 56"/>
                <a:gd name="T11" fmla="*/ 15 h 15"/>
                <a:gd name="T12" fmla="*/ 0 w 56"/>
                <a:gd name="T13" fmla="*/ 14 h 15"/>
                <a:gd name="T14" fmla="*/ 0 w 56"/>
                <a:gd name="T15" fmla="*/ 14 h 15"/>
                <a:gd name="T16" fmla="*/ 13 w 56"/>
                <a:gd name="T17" fmla="*/ 7 h 15"/>
                <a:gd name="T18" fmla="*/ 27 w 56"/>
                <a:gd name="T19" fmla="*/ 2 h 15"/>
                <a:gd name="T20" fmla="*/ 42 w 56"/>
                <a:gd name="T21" fmla="*/ 1 h 15"/>
                <a:gd name="T22" fmla="*/ 56 w 56"/>
                <a:gd name="T23" fmla="*/ 7 h 15"/>
                <a:gd name="T24" fmla="*/ 56 w 56"/>
                <a:gd name="T25" fmla="*/ 8 h 15"/>
                <a:gd name="T26" fmla="*/ 55 w 56"/>
                <a:gd name="T27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15">
                  <a:moveTo>
                    <a:pt x="55" y="8"/>
                  </a:moveTo>
                  <a:cubicBezTo>
                    <a:pt x="50" y="9"/>
                    <a:pt x="46" y="9"/>
                    <a:pt x="41" y="9"/>
                  </a:cubicBezTo>
                  <a:cubicBezTo>
                    <a:pt x="37" y="9"/>
                    <a:pt x="32" y="8"/>
                    <a:pt x="28" y="9"/>
                  </a:cubicBezTo>
                  <a:cubicBezTo>
                    <a:pt x="23" y="9"/>
                    <a:pt x="18" y="9"/>
                    <a:pt x="14" y="10"/>
                  </a:cubicBezTo>
                  <a:cubicBezTo>
                    <a:pt x="9" y="11"/>
                    <a:pt x="5" y="13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1"/>
                    <a:pt x="8" y="9"/>
                    <a:pt x="13" y="7"/>
                  </a:cubicBezTo>
                  <a:cubicBezTo>
                    <a:pt x="17" y="4"/>
                    <a:pt x="22" y="3"/>
                    <a:pt x="27" y="2"/>
                  </a:cubicBezTo>
                  <a:cubicBezTo>
                    <a:pt x="32" y="1"/>
                    <a:pt x="37" y="0"/>
                    <a:pt x="42" y="1"/>
                  </a:cubicBezTo>
                  <a:cubicBezTo>
                    <a:pt x="47" y="2"/>
                    <a:pt x="52" y="3"/>
                    <a:pt x="56" y="7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5" y="8"/>
                    <a:pt x="55" y="8"/>
                    <a:pt x="55" y="8"/>
                  </a:cubicBezTo>
                  <a:close/>
                </a:path>
              </a:pathLst>
            </a:custGeom>
            <a:solidFill>
              <a:srgbClr val="D13D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şḷíḓé">
              <a:extLst>
                <a:ext uri="{FF2B5EF4-FFF2-40B4-BE49-F238E27FC236}">
                  <a16:creationId xmlns:a16="http://schemas.microsoft.com/office/drawing/2014/main" id="{82AECB56-B6AD-4877-9287-0374EF658FD5}"/>
                </a:ext>
              </a:extLst>
            </p:cNvPr>
            <p:cNvSpPr/>
            <p:nvPr/>
          </p:nvSpPr>
          <p:spPr bwMode="auto">
            <a:xfrm>
              <a:off x="2571751" y="4498976"/>
              <a:ext cx="1284288" cy="1116013"/>
            </a:xfrm>
            <a:custGeom>
              <a:avLst/>
              <a:gdLst>
                <a:gd name="T0" fmla="*/ 309 w 327"/>
                <a:gd name="T1" fmla="*/ 201 h 284"/>
                <a:gd name="T2" fmla="*/ 293 w 327"/>
                <a:gd name="T3" fmla="*/ 173 h 284"/>
                <a:gd name="T4" fmla="*/ 146 w 327"/>
                <a:gd name="T5" fmla="*/ 112 h 284"/>
                <a:gd name="T6" fmla="*/ 42 w 327"/>
                <a:gd name="T7" fmla="*/ 0 h 284"/>
                <a:gd name="T8" fmla="*/ 83 w 327"/>
                <a:gd name="T9" fmla="*/ 165 h 284"/>
                <a:gd name="T10" fmla="*/ 169 w 327"/>
                <a:gd name="T11" fmla="*/ 257 h 284"/>
                <a:gd name="T12" fmla="*/ 269 w 327"/>
                <a:gd name="T13" fmla="*/ 280 h 284"/>
                <a:gd name="T14" fmla="*/ 309 w 327"/>
                <a:gd name="T15" fmla="*/ 20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7" h="284">
                  <a:moveTo>
                    <a:pt x="309" y="201"/>
                  </a:moveTo>
                  <a:cubicBezTo>
                    <a:pt x="305" y="192"/>
                    <a:pt x="299" y="183"/>
                    <a:pt x="293" y="173"/>
                  </a:cubicBezTo>
                  <a:cubicBezTo>
                    <a:pt x="260" y="120"/>
                    <a:pt x="200" y="126"/>
                    <a:pt x="146" y="112"/>
                  </a:cubicBezTo>
                  <a:cubicBezTo>
                    <a:pt x="93" y="98"/>
                    <a:pt x="50" y="29"/>
                    <a:pt x="42" y="0"/>
                  </a:cubicBezTo>
                  <a:cubicBezTo>
                    <a:pt x="0" y="71"/>
                    <a:pt x="33" y="151"/>
                    <a:pt x="83" y="165"/>
                  </a:cubicBezTo>
                  <a:cubicBezTo>
                    <a:pt x="138" y="179"/>
                    <a:pt x="134" y="227"/>
                    <a:pt x="169" y="257"/>
                  </a:cubicBezTo>
                  <a:cubicBezTo>
                    <a:pt x="197" y="281"/>
                    <a:pt x="236" y="284"/>
                    <a:pt x="269" y="280"/>
                  </a:cubicBezTo>
                  <a:cubicBezTo>
                    <a:pt x="306" y="275"/>
                    <a:pt x="327" y="234"/>
                    <a:pt x="309" y="201"/>
                  </a:cubicBezTo>
                  <a:close/>
                </a:path>
              </a:pathLst>
            </a:custGeom>
            <a:solidFill>
              <a:srgbClr val="FFAA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s1íḍè">
              <a:extLst>
                <a:ext uri="{FF2B5EF4-FFF2-40B4-BE49-F238E27FC236}">
                  <a16:creationId xmlns:a16="http://schemas.microsoft.com/office/drawing/2014/main" id="{CE6C7489-57FE-448B-80D2-E243D7A43209}"/>
                </a:ext>
              </a:extLst>
            </p:cNvPr>
            <p:cNvSpPr/>
            <p:nvPr/>
          </p:nvSpPr>
          <p:spPr bwMode="auto">
            <a:xfrm>
              <a:off x="2736851" y="4687888"/>
              <a:ext cx="985838" cy="762000"/>
            </a:xfrm>
            <a:custGeom>
              <a:avLst/>
              <a:gdLst>
                <a:gd name="T0" fmla="*/ 5 w 251"/>
                <a:gd name="T1" fmla="*/ 1 h 194"/>
                <a:gd name="T2" fmla="*/ 22 w 251"/>
                <a:gd name="T3" fmla="*/ 37 h 194"/>
                <a:gd name="T4" fmla="*/ 48 w 251"/>
                <a:gd name="T5" fmla="*/ 65 h 194"/>
                <a:gd name="T6" fmla="*/ 52 w 251"/>
                <a:gd name="T7" fmla="*/ 67 h 194"/>
                <a:gd name="T8" fmla="*/ 56 w 251"/>
                <a:gd name="T9" fmla="*/ 69 h 194"/>
                <a:gd name="T10" fmla="*/ 66 w 251"/>
                <a:gd name="T11" fmla="*/ 72 h 194"/>
                <a:gd name="T12" fmla="*/ 85 w 251"/>
                <a:gd name="T13" fmla="*/ 79 h 194"/>
                <a:gd name="T14" fmla="*/ 120 w 251"/>
                <a:gd name="T15" fmla="*/ 100 h 194"/>
                <a:gd name="T16" fmla="*/ 146 w 251"/>
                <a:gd name="T17" fmla="*/ 132 h 194"/>
                <a:gd name="T18" fmla="*/ 158 w 251"/>
                <a:gd name="T19" fmla="*/ 148 h 194"/>
                <a:gd name="T20" fmla="*/ 172 w 251"/>
                <a:gd name="T21" fmla="*/ 160 h 194"/>
                <a:gd name="T22" fmla="*/ 207 w 251"/>
                <a:gd name="T23" fmla="*/ 175 h 194"/>
                <a:gd name="T24" fmla="*/ 245 w 251"/>
                <a:gd name="T25" fmla="*/ 181 h 194"/>
                <a:gd name="T26" fmla="*/ 245 w 251"/>
                <a:gd name="T27" fmla="*/ 181 h 194"/>
                <a:gd name="T28" fmla="*/ 251 w 251"/>
                <a:gd name="T29" fmla="*/ 188 h 194"/>
                <a:gd name="T30" fmla="*/ 244 w 251"/>
                <a:gd name="T31" fmla="*/ 194 h 194"/>
                <a:gd name="T32" fmla="*/ 244 w 251"/>
                <a:gd name="T33" fmla="*/ 194 h 194"/>
                <a:gd name="T34" fmla="*/ 204 w 251"/>
                <a:gd name="T35" fmla="*/ 186 h 194"/>
                <a:gd name="T36" fmla="*/ 166 w 251"/>
                <a:gd name="T37" fmla="*/ 169 h 194"/>
                <a:gd name="T38" fmla="*/ 150 w 251"/>
                <a:gd name="T39" fmla="*/ 154 h 194"/>
                <a:gd name="T40" fmla="*/ 138 w 251"/>
                <a:gd name="T41" fmla="*/ 138 h 194"/>
                <a:gd name="T42" fmla="*/ 115 w 251"/>
                <a:gd name="T43" fmla="*/ 107 h 194"/>
                <a:gd name="T44" fmla="*/ 82 w 251"/>
                <a:gd name="T45" fmla="*/ 86 h 194"/>
                <a:gd name="T46" fmla="*/ 64 w 251"/>
                <a:gd name="T47" fmla="*/ 79 h 194"/>
                <a:gd name="T48" fmla="*/ 54 w 251"/>
                <a:gd name="T49" fmla="*/ 75 h 194"/>
                <a:gd name="T50" fmla="*/ 49 w 251"/>
                <a:gd name="T51" fmla="*/ 73 h 194"/>
                <a:gd name="T52" fmla="*/ 45 w 251"/>
                <a:gd name="T53" fmla="*/ 70 h 194"/>
                <a:gd name="T54" fmla="*/ 17 w 251"/>
                <a:gd name="T55" fmla="*/ 40 h 194"/>
                <a:gd name="T56" fmla="*/ 1 w 251"/>
                <a:gd name="T57" fmla="*/ 3 h 194"/>
                <a:gd name="T58" fmla="*/ 2 w 251"/>
                <a:gd name="T59" fmla="*/ 0 h 194"/>
                <a:gd name="T60" fmla="*/ 5 w 251"/>
                <a:gd name="T61" fmla="*/ 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51" h="194">
                  <a:moveTo>
                    <a:pt x="5" y="1"/>
                  </a:moveTo>
                  <a:cubicBezTo>
                    <a:pt x="9" y="14"/>
                    <a:pt x="15" y="26"/>
                    <a:pt x="22" y="37"/>
                  </a:cubicBezTo>
                  <a:cubicBezTo>
                    <a:pt x="29" y="48"/>
                    <a:pt x="38" y="58"/>
                    <a:pt x="48" y="65"/>
                  </a:cubicBezTo>
                  <a:cubicBezTo>
                    <a:pt x="49" y="66"/>
                    <a:pt x="51" y="66"/>
                    <a:pt x="52" y="67"/>
                  </a:cubicBezTo>
                  <a:cubicBezTo>
                    <a:pt x="54" y="68"/>
                    <a:pt x="55" y="69"/>
                    <a:pt x="56" y="69"/>
                  </a:cubicBezTo>
                  <a:cubicBezTo>
                    <a:pt x="60" y="70"/>
                    <a:pt x="62" y="72"/>
                    <a:pt x="66" y="72"/>
                  </a:cubicBezTo>
                  <a:cubicBezTo>
                    <a:pt x="72" y="74"/>
                    <a:pt x="79" y="76"/>
                    <a:pt x="85" y="79"/>
                  </a:cubicBezTo>
                  <a:cubicBezTo>
                    <a:pt x="98" y="84"/>
                    <a:pt x="110" y="91"/>
                    <a:pt x="120" y="100"/>
                  </a:cubicBezTo>
                  <a:cubicBezTo>
                    <a:pt x="131" y="110"/>
                    <a:pt x="138" y="122"/>
                    <a:pt x="146" y="132"/>
                  </a:cubicBezTo>
                  <a:cubicBezTo>
                    <a:pt x="149" y="138"/>
                    <a:pt x="153" y="143"/>
                    <a:pt x="158" y="148"/>
                  </a:cubicBezTo>
                  <a:cubicBezTo>
                    <a:pt x="162" y="152"/>
                    <a:pt x="167" y="156"/>
                    <a:pt x="172" y="160"/>
                  </a:cubicBezTo>
                  <a:cubicBezTo>
                    <a:pt x="182" y="167"/>
                    <a:pt x="194" y="172"/>
                    <a:pt x="207" y="175"/>
                  </a:cubicBezTo>
                  <a:cubicBezTo>
                    <a:pt x="219" y="179"/>
                    <a:pt x="232" y="180"/>
                    <a:pt x="245" y="181"/>
                  </a:cubicBezTo>
                  <a:cubicBezTo>
                    <a:pt x="245" y="181"/>
                    <a:pt x="245" y="181"/>
                    <a:pt x="245" y="181"/>
                  </a:cubicBezTo>
                  <a:cubicBezTo>
                    <a:pt x="249" y="182"/>
                    <a:pt x="251" y="185"/>
                    <a:pt x="251" y="188"/>
                  </a:cubicBezTo>
                  <a:cubicBezTo>
                    <a:pt x="251" y="192"/>
                    <a:pt x="248" y="194"/>
                    <a:pt x="244" y="194"/>
                  </a:cubicBezTo>
                  <a:cubicBezTo>
                    <a:pt x="244" y="194"/>
                    <a:pt x="244" y="194"/>
                    <a:pt x="244" y="194"/>
                  </a:cubicBezTo>
                  <a:cubicBezTo>
                    <a:pt x="231" y="192"/>
                    <a:pt x="217" y="190"/>
                    <a:pt x="204" y="186"/>
                  </a:cubicBezTo>
                  <a:cubicBezTo>
                    <a:pt x="190" y="183"/>
                    <a:pt x="177" y="177"/>
                    <a:pt x="166" y="169"/>
                  </a:cubicBezTo>
                  <a:cubicBezTo>
                    <a:pt x="160" y="164"/>
                    <a:pt x="155" y="160"/>
                    <a:pt x="150" y="154"/>
                  </a:cubicBezTo>
                  <a:cubicBezTo>
                    <a:pt x="146" y="149"/>
                    <a:pt x="142" y="143"/>
                    <a:pt x="138" y="138"/>
                  </a:cubicBezTo>
                  <a:cubicBezTo>
                    <a:pt x="130" y="126"/>
                    <a:pt x="124" y="115"/>
                    <a:pt x="115" y="107"/>
                  </a:cubicBezTo>
                  <a:cubicBezTo>
                    <a:pt x="105" y="98"/>
                    <a:pt x="94" y="91"/>
                    <a:pt x="82" y="86"/>
                  </a:cubicBezTo>
                  <a:cubicBezTo>
                    <a:pt x="76" y="83"/>
                    <a:pt x="70" y="81"/>
                    <a:pt x="64" y="79"/>
                  </a:cubicBezTo>
                  <a:cubicBezTo>
                    <a:pt x="61" y="78"/>
                    <a:pt x="57" y="77"/>
                    <a:pt x="54" y="75"/>
                  </a:cubicBezTo>
                  <a:cubicBezTo>
                    <a:pt x="52" y="75"/>
                    <a:pt x="51" y="74"/>
                    <a:pt x="49" y="73"/>
                  </a:cubicBezTo>
                  <a:cubicBezTo>
                    <a:pt x="48" y="72"/>
                    <a:pt x="46" y="71"/>
                    <a:pt x="45" y="70"/>
                  </a:cubicBezTo>
                  <a:cubicBezTo>
                    <a:pt x="33" y="62"/>
                    <a:pt x="24" y="51"/>
                    <a:pt x="17" y="40"/>
                  </a:cubicBezTo>
                  <a:cubicBezTo>
                    <a:pt x="10" y="28"/>
                    <a:pt x="5" y="16"/>
                    <a:pt x="1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0"/>
                    <a:pt x="5" y="1"/>
                  </a:cubicBezTo>
                  <a:close/>
                </a:path>
              </a:pathLst>
            </a:custGeom>
            <a:solidFill>
              <a:srgbClr val="F05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ŝļiḍê">
              <a:extLst>
                <a:ext uri="{FF2B5EF4-FFF2-40B4-BE49-F238E27FC236}">
                  <a16:creationId xmlns:a16="http://schemas.microsoft.com/office/drawing/2014/main" id="{1EF53C2C-28B3-4330-ADCC-AEF97540FCC0}"/>
                </a:ext>
              </a:extLst>
            </p:cNvPr>
            <p:cNvSpPr/>
            <p:nvPr/>
          </p:nvSpPr>
          <p:spPr bwMode="auto">
            <a:xfrm>
              <a:off x="7731126" y="3227388"/>
              <a:ext cx="1462088" cy="2305050"/>
            </a:xfrm>
            <a:custGeom>
              <a:avLst/>
              <a:gdLst>
                <a:gd name="T0" fmla="*/ 103 w 372"/>
                <a:gd name="T1" fmla="*/ 252 h 587"/>
                <a:gd name="T2" fmla="*/ 128 w 372"/>
                <a:gd name="T3" fmla="*/ 145 h 587"/>
                <a:gd name="T4" fmla="*/ 206 w 372"/>
                <a:gd name="T5" fmla="*/ 103 h 587"/>
                <a:gd name="T6" fmla="*/ 322 w 372"/>
                <a:gd name="T7" fmla="*/ 6 h 587"/>
                <a:gd name="T8" fmla="*/ 342 w 372"/>
                <a:gd name="T9" fmla="*/ 99 h 587"/>
                <a:gd name="T10" fmla="*/ 365 w 372"/>
                <a:gd name="T11" fmla="*/ 202 h 587"/>
                <a:gd name="T12" fmla="*/ 358 w 372"/>
                <a:gd name="T13" fmla="*/ 289 h 587"/>
                <a:gd name="T14" fmla="*/ 295 w 372"/>
                <a:gd name="T15" fmla="*/ 359 h 587"/>
                <a:gd name="T16" fmla="*/ 312 w 372"/>
                <a:gd name="T17" fmla="*/ 492 h 587"/>
                <a:gd name="T18" fmla="*/ 123 w 372"/>
                <a:gd name="T19" fmla="*/ 567 h 587"/>
                <a:gd name="T20" fmla="*/ 42 w 372"/>
                <a:gd name="T21" fmla="*/ 399 h 587"/>
                <a:gd name="T22" fmla="*/ 103 w 372"/>
                <a:gd name="T23" fmla="*/ 25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2" h="587">
                  <a:moveTo>
                    <a:pt x="103" y="252"/>
                  </a:moveTo>
                  <a:cubicBezTo>
                    <a:pt x="103" y="252"/>
                    <a:pt x="90" y="182"/>
                    <a:pt x="128" y="145"/>
                  </a:cubicBezTo>
                  <a:cubicBezTo>
                    <a:pt x="158" y="116"/>
                    <a:pt x="176" y="128"/>
                    <a:pt x="206" y="103"/>
                  </a:cubicBezTo>
                  <a:cubicBezTo>
                    <a:pt x="236" y="78"/>
                    <a:pt x="283" y="0"/>
                    <a:pt x="322" y="6"/>
                  </a:cubicBezTo>
                  <a:cubicBezTo>
                    <a:pt x="360" y="11"/>
                    <a:pt x="349" y="68"/>
                    <a:pt x="342" y="99"/>
                  </a:cubicBezTo>
                  <a:cubicBezTo>
                    <a:pt x="334" y="136"/>
                    <a:pt x="357" y="168"/>
                    <a:pt x="365" y="202"/>
                  </a:cubicBezTo>
                  <a:cubicBezTo>
                    <a:pt x="372" y="230"/>
                    <a:pt x="372" y="263"/>
                    <a:pt x="358" y="289"/>
                  </a:cubicBezTo>
                  <a:cubicBezTo>
                    <a:pt x="343" y="317"/>
                    <a:pt x="300" y="326"/>
                    <a:pt x="295" y="359"/>
                  </a:cubicBezTo>
                  <a:cubicBezTo>
                    <a:pt x="290" y="390"/>
                    <a:pt x="346" y="441"/>
                    <a:pt x="312" y="492"/>
                  </a:cubicBezTo>
                  <a:cubicBezTo>
                    <a:pt x="272" y="552"/>
                    <a:pt x="193" y="587"/>
                    <a:pt x="123" y="567"/>
                  </a:cubicBezTo>
                  <a:cubicBezTo>
                    <a:pt x="57" y="548"/>
                    <a:pt x="0" y="462"/>
                    <a:pt x="42" y="399"/>
                  </a:cubicBezTo>
                  <a:cubicBezTo>
                    <a:pt x="76" y="337"/>
                    <a:pt x="119" y="356"/>
                    <a:pt x="103" y="252"/>
                  </a:cubicBezTo>
                  <a:close/>
                </a:path>
              </a:pathLst>
            </a:custGeom>
            <a:solidFill>
              <a:srgbClr val="4AC6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ṥ1idè">
              <a:extLst>
                <a:ext uri="{FF2B5EF4-FFF2-40B4-BE49-F238E27FC236}">
                  <a16:creationId xmlns:a16="http://schemas.microsoft.com/office/drawing/2014/main" id="{6F8BD739-D1DF-41B3-A553-24D5DB684A11}"/>
                </a:ext>
              </a:extLst>
            </p:cNvPr>
            <p:cNvSpPr/>
            <p:nvPr/>
          </p:nvSpPr>
          <p:spPr bwMode="auto">
            <a:xfrm>
              <a:off x="8269289" y="3552826"/>
              <a:ext cx="612775" cy="1795463"/>
            </a:xfrm>
            <a:custGeom>
              <a:avLst/>
              <a:gdLst>
                <a:gd name="T0" fmla="*/ 155 w 156"/>
                <a:gd name="T1" fmla="*/ 4 h 457"/>
                <a:gd name="T2" fmla="*/ 99 w 156"/>
                <a:gd name="T3" fmla="*/ 109 h 457"/>
                <a:gd name="T4" fmla="*/ 52 w 156"/>
                <a:gd name="T5" fmla="*/ 218 h 457"/>
                <a:gd name="T6" fmla="*/ 20 w 156"/>
                <a:gd name="T7" fmla="*/ 332 h 457"/>
                <a:gd name="T8" fmla="*/ 12 w 156"/>
                <a:gd name="T9" fmla="*/ 391 h 457"/>
                <a:gd name="T10" fmla="*/ 15 w 156"/>
                <a:gd name="T11" fmla="*/ 449 h 457"/>
                <a:gd name="T12" fmla="*/ 15 w 156"/>
                <a:gd name="T13" fmla="*/ 449 h 457"/>
                <a:gd name="T14" fmla="*/ 10 w 156"/>
                <a:gd name="T15" fmla="*/ 456 h 457"/>
                <a:gd name="T16" fmla="*/ 3 w 156"/>
                <a:gd name="T17" fmla="*/ 451 h 457"/>
                <a:gd name="T18" fmla="*/ 3 w 156"/>
                <a:gd name="T19" fmla="*/ 451 h 457"/>
                <a:gd name="T20" fmla="*/ 1 w 156"/>
                <a:gd name="T21" fmla="*/ 390 h 457"/>
                <a:gd name="T22" fmla="*/ 9 w 156"/>
                <a:gd name="T23" fmla="*/ 330 h 457"/>
                <a:gd name="T24" fmla="*/ 44 w 156"/>
                <a:gd name="T25" fmla="*/ 215 h 457"/>
                <a:gd name="T26" fmla="*/ 93 w 156"/>
                <a:gd name="T27" fmla="*/ 106 h 457"/>
                <a:gd name="T28" fmla="*/ 151 w 156"/>
                <a:gd name="T29" fmla="*/ 1 h 457"/>
                <a:gd name="T30" fmla="*/ 155 w 156"/>
                <a:gd name="T31" fmla="*/ 1 h 457"/>
                <a:gd name="T32" fmla="*/ 155 w 156"/>
                <a:gd name="T33" fmla="*/ 4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6" h="457">
                  <a:moveTo>
                    <a:pt x="155" y="4"/>
                  </a:moveTo>
                  <a:cubicBezTo>
                    <a:pt x="135" y="38"/>
                    <a:pt x="116" y="73"/>
                    <a:pt x="99" y="109"/>
                  </a:cubicBezTo>
                  <a:cubicBezTo>
                    <a:pt x="81" y="144"/>
                    <a:pt x="66" y="181"/>
                    <a:pt x="52" y="218"/>
                  </a:cubicBezTo>
                  <a:cubicBezTo>
                    <a:pt x="39" y="255"/>
                    <a:pt x="27" y="293"/>
                    <a:pt x="20" y="332"/>
                  </a:cubicBezTo>
                  <a:cubicBezTo>
                    <a:pt x="16" y="351"/>
                    <a:pt x="13" y="371"/>
                    <a:pt x="12" y="391"/>
                  </a:cubicBezTo>
                  <a:cubicBezTo>
                    <a:pt x="11" y="410"/>
                    <a:pt x="12" y="430"/>
                    <a:pt x="15" y="449"/>
                  </a:cubicBezTo>
                  <a:cubicBezTo>
                    <a:pt x="15" y="449"/>
                    <a:pt x="15" y="449"/>
                    <a:pt x="15" y="449"/>
                  </a:cubicBezTo>
                  <a:cubicBezTo>
                    <a:pt x="15" y="452"/>
                    <a:pt x="13" y="456"/>
                    <a:pt x="10" y="456"/>
                  </a:cubicBezTo>
                  <a:cubicBezTo>
                    <a:pt x="6" y="457"/>
                    <a:pt x="3" y="454"/>
                    <a:pt x="3" y="451"/>
                  </a:cubicBezTo>
                  <a:cubicBezTo>
                    <a:pt x="3" y="451"/>
                    <a:pt x="3" y="451"/>
                    <a:pt x="3" y="451"/>
                  </a:cubicBezTo>
                  <a:cubicBezTo>
                    <a:pt x="0" y="430"/>
                    <a:pt x="0" y="410"/>
                    <a:pt x="1" y="390"/>
                  </a:cubicBezTo>
                  <a:cubicBezTo>
                    <a:pt x="2" y="370"/>
                    <a:pt x="5" y="350"/>
                    <a:pt x="9" y="330"/>
                  </a:cubicBezTo>
                  <a:cubicBezTo>
                    <a:pt x="17" y="291"/>
                    <a:pt x="30" y="252"/>
                    <a:pt x="44" y="215"/>
                  </a:cubicBezTo>
                  <a:cubicBezTo>
                    <a:pt x="58" y="178"/>
                    <a:pt x="75" y="141"/>
                    <a:pt x="93" y="106"/>
                  </a:cubicBezTo>
                  <a:cubicBezTo>
                    <a:pt x="111" y="70"/>
                    <a:pt x="130" y="35"/>
                    <a:pt x="151" y="1"/>
                  </a:cubicBezTo>
                  <a:cubicBezTo>
                    <a:pt x="152" y="0"/>
                    <a:pt x="154" y="0"/>
                    <a:pt x="155" y="1"/>
                  </a:cubicBezTo>
                  <a:cubicBezTo>
                    <a:pt x="156" y="1"/>
                    <a:pt x="156" y="3"/>
                    <a:pt x="155" y="4"/>
                  </a:cubicBez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ṣḷíḍè">
              <a:extLst>
                <a:ext uri="{FF2B5EF4-FFF2-40B4-BE49-F238E27FC236}">
                  <a16:creationId xmlns:a16="http://schemas.microsoft.com/office/drawing/2014/main" id="{8A386F65-5B7E-41FA-98D4-0C0D4AEFF77F}"/>
                </a:ext>
              </a:extLst>
            </p:cNvPr>
            <p:cNvSpPr/>
            <p:nvPr/>
          </p:nvSpPr>
          <p:spPr bwMode="auto">
            <a:xfrm>
              <a:off x="8639176" y="4160838"/>
              <a:ext cx="439738" cy="106363"/>
            </a:xfrm>
            <a:custGeom>
              <a:avLst/>
              <a:gdLst>
                <a:gd name="T0" fmla="*/ 0 w 112"/>
                <a:gd name="T1" fmla="*/ 27 h 27"/>
                <a:gd name="T2" fmla="*/ 25 w 112"/>
                <a:gd name="T3" fmla="*/ 10 h 27"/>
                <a:gd name="T4" fmla="*/ 54 w 112"/>
                <a:gd name="T5" fmla="*/ 3 h 27"/>
                <a:gd name="T6" fmla="*/ 83 w 112"/>
                <a:gd name="T7" fmla="*/ 1 h 27"/>
                <a:gd name="T8" fmla="*/ 112 w 112"/>
                <a:gd name="T9" fmla="*/ 4 h 27"/>
                <a:gd name="T10" fmla="*/ 112 w 112"/>
                <a:gd name="T11" fmla="*/ 4 h 27"/>
                <a:gd name="T12" fmla="*/ 112 w 112"/>
                <a:gd name="T13" fmla="*/ 5 h 27"/>
                <a:gd name="T14" fmla="*/ 112 w 112"/>
                <a:gd name="T15" fmla="*/ 5 h 27"/>
                <a:gd name="T16" fmla="*/ 83 w 112"/>
                <a:gd name="T17" fmla="*/ 5 h 27"/>
                <a:gd name="T18" fmla="*/ 55 w 112"/>
                <a:gd name="T19" fmla="*/ 11 h 27"/>
                <a:gd name="T20" fmla="*/ 28 w 112"/>
                <a:gd name="T21" fmla="*/ 20 h 27"/>
                <a:gd name="T22" fmla="*/ 1 w 112"/>
                <a:gd name="T23" fmla="*/ 27 h 27"/>
                <a:gd name="T24" fmla="*/ 1 w 112"/>
                <a:gd name="T25" fmla="*/ 27 h 27"/>
                <a:gd name="T26" fmla="*/ 0 w 112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27">
                  <a:moveTo>
                    <a:pt x="0" y="27"/>
                  </a:moveTo>
                  <a:cubicBezTo>
                    <a:pt x="7" y="20"/>
                    <a:pt x="16" y="15"/>
                    <a:pt x="25" y="10"/>
                  </a:cubicBezTo>
                  <a:cubicBezTo>
                    <a:pt x="34" y="6"/>
                    <a:pt x="44" y="5"/>
                    <a:pt x="54" y="3"/>
                  </a:cubicBezTo>
                  <a:cubicBezTo>
                    <a:pt x="63" y="1"/>
                    <a:pt x="73" y="1"/>
                    <a:pt x="83" y="1"/>
                  </a:cubicBezTo>
                  <a:cubicBezTo>
                    <a:pt x="93" y="0"/>
                    <a:pt x="103" y="2"/>
                    <a:pt x="112" y="4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02" y="4"/>
                    <a:pt x="93" y="4"/>
                    <a:pt x="83" y="5"/>
                  </a:cubicBezTo>
                  <a:cubicBezTo>
                    <a:pt x="74" y="6"/>
                    <a:pt x="64" y="8"/>
                    <a:pt x="55" y="11"/>
                  </a:cubicBezTo>
                  <a:cubicBezTo>
                    <a:pt x="46" y="13"/>
                    <a:pt x="38" y="17"/>
                    <a:pt x="28" y="20"/>
                  </a:cubicBezTo>
                  <a:cubicBezTo>
                    <a:pt x="19" y="22"/>
                    <a:pt x="10" y="25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îṡlidê">
              <a:extLst>
                <a:ext uri="{FF2B5EF4-FFF2-40B4-BE49-F238E27FC236}">
                  <a16:creationId xmlns:a16="http://schemas.microsoft.com/office/drawing/2014/main" id="{2420CE32-9FD5-4563-BB39-27D876104BCE}"/>
                </a:ext>
              </a:extLst>
            </p:cNvPr>
            <p:cNvSpPr/>
            <p:nvPr/>
          </p:nvSpPr>
          <p:spPr bwMode="auto">
            <a:xfrm>
              <a:off x="8264526" y="3917951"/>
              <a:ext cx="153988" cy="255588"/>
            </a:xfrm>
            <a:custGeom>
              <a:avLst/>
              <a:gdLst>
                <a:gd name="T0" fmla="*/ 37 w 39"/>
                <a:gd name="T1" fmla="*/ 65 h 65"/>
                <a:gd name="T2" fmla="*/ 27 w 39"/>
                <a:gd name="T3" fmla="*/ 49 h 65"/>
                <a:gd name="T4" fmla="*/ 20 w 39"/>
                <a:gd name="T5" fmla="*/ 32 h 65"/>
                <a:gd name="T6" fmla="*/ 11 w 39"/>
                <a:gd name="T7" fmla="*/ 15 h 65"/>
                <a:gd name="T8" fmla="*/ 0 w 39"/>
                <a:gd name="T9" fmla="*/ 0 h 65"/>
                <a:gd name="T10" fmla="*/ 0 w 39"/>
                <a:gd name="T11" fmla="*/ 0 h 65"/>
                <a:gd name="T12" fmla="*/ 0 w 39"/>
                <a:gd name="T13" fmla="*/ 0 h 65"/>
                <a:gd name="T14" fmla="*/ 0 w 39"/>
                <a:gd name="T15" fmla="*/ 0 h 65"/>
                <a:gd name="T16" fmla="*/ 15 w 39"/>
                <a:gd name="T17" fmla="*/ 12 h 65"/>
                <a:gd name="T18" fmla="*/ 27 w 39"/>
                <a:gd name="T19" fmla="*/ 28 h 65"/>
                <a:gd name="T20" fmla="*/ 36 w 39"/>
                <a:gd name="T21" fmla="*/ 45 h 65"/>
                <a:gd name="T22" fmla="*/ 38 w 39"/>
                <a:gd name="T23" fmla="*/ 65 h 65"/>
                <a:gd name="T24" fmla="*/ 37 w 39"/>
                <a:gd name="T25" fmla="*/ 65 h 65"/>
                <a:gd name="T26" fmla="*/ 37 w 39"/>
                <a:gd name="T2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65">
                  <a:moveTo>
                    <a:pt x="37" y="65"/>
                  </a:moveTo>
                  <a:cubicBezTo>
                    <a:pt x="33" y="60"/>
                    <a:pt x="30" y="54"/>
                    <a:pt x="27" y="49"/>
                  </a:cubicBezTo>
                  <a:cubicBezTo>
                    <a:pt x="24" y="43"/>
                    <a:pt x="23" y="37"/>
                    <a:pt x="20" y="32"/>
                  </a:cubicBezTo>
                  <a:cubicBezTo>
                    <a:pt x="17" y="26"/>
                    <a:pt x="14" y="21"/>
                    <a:pt x="11" y="15"/>
                  </a:cubicBezTo>
                  <a:cubicBezTo>
                    <a:pt x="8" y="10"/>
                    <a:pt x="4" y="5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3"/>
                    <a:pt x="10" y="8"/>
                    <a:pt x="15" y="12"/>
                  </a:cubicBezTo>
                  <a:cubicBezTo>
                    <a:pt x="19" y="17"/>
                    <a:pt x="23" y="22"/>
                    <a:pt x="27" y="28"/>
                  </a:cubicBezTo>
                  <a:cubicBezTo>
                    <a:pt x="30" y="33"/>
                    <a:pt x="34" y="39"/>
                    <a:pt x="36" y="45"/>
                  </a:cubicBezTo>
                  <a:cubicBezTo>
                    <a:pt x="38" y="51"/>
                    <a:pt x="39" y="58"/>
                    <a:pt x="38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5"/>
                  </a:cubicBez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ṣlîḑê">
              <a:extLst>
                <a:ext uri="{FF2B5EF4-FFF2-40B4-BE49-F238E27FC236}">
                  <a16:creationId xmlns:a16="http://schemas.microsoft.com/office/drawing/2014/main" id="{DDB73C2D-0E1A-4715-BE63-D05A6B63E198}"/>
                </a:ext>
              </a:extLst>
            </p:cNvPr>
            <p:cNvSpPr/>
            <p:nvPr/>
          </p:nvSpPr>
          <p:spPr bwMode="auto">
            <a:xfrm>
              <a:off x="8370889" y="5018088"/>
              <a:ext cx="412750" cy="128588"/>
            </a:xfrm>
            <a:custGeom>
              <a:avLst/>
              <a:gdLst>
                <a:gd name="T0" fmla="*/ 0 w 105"/>
                <a:gd name="T1" fmla="*/ 32 h 33"/>
                <a:gd name="T2" fmla="*/ 23 w 105"/>
                <a:gd name="T3" fmla="*/ 16 h 33"/>
                <a:gd name="T4" fmla="*/ 49 w 105"/>
                <a:gd name="T5" fmla="*/ 6 h 33"/>
                <a:gd name="T6" fmla="*/ 77 w 105"/>
                <a:gd name="T7" fmla="*/ 1 h 33"/>
                <a:gd name="T8" fmla="*/ 105 w 105"/>
                <a:gd name="T9" fmla="*/ 1 h 33"/>
                <a:gd name="T10" fmla="*/ 105 w 105"/>
                <a:gd name="T11" fmla="*/ 1 h 33"/>
                <a:gd name="T12" fmla="*/ 105 w 105"/>
                <a:gd name="T13" fmla="*/ 2 h 33"/>
                <a:gd name="T14" fmla="*/ 105 w 105"/>
                <a:gd name="T15" fmla="*/ 2 h 33"/>
                <a:gd name="T16" fmla="*/ 78 w 105"/>
                <a:gd name="T17" fmla="*/ 6 h 33"/>
                <a:gd name="T18" fmla="*/ 52 w 105"/>
                <a:gd name="T19" fmla="*/ 14 h 33"/>
                <a:gd name="T20" fmla="*/ 27 w 105"/>
                <a:gd name="T21" fmla="*/ 24 h 33"/>
                <a:gd name="T22" fmla="*/ 0 w 105"/>
                <a:gd name="T23" fmla="*/ 33 h 33"/>
                <a:gd name="T24" fmla="*/ 0 w 105"/>
                <a:gd name="T25" fmla="*/ 33 h 33"/>
                <a:gd name="T26" fmla="*/ 0 w 105"/>
                <a:gd name="T27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33">
                  <a:moveTo>
                    <a:pt x="0" y="32"/>
                  </a:moveTo>
                  <a:cubicBezTo>
                    <a:pt x="6" y="25"/>
                    <a:pt x="14" y="20"/>
                    <a:pt x="23" y="16"/>
                  </a:cubicBezTo>
                  <a:cubicBezTo>
                    <a:pt x="31" y="11"/>
                    <a:pt x="40" y="9"/>
                    <a:pt x="49" y="6"/>
                  </a:cubicBezTo>
                  <a:cubicBezTo>
                    <a:pt x="58" y="4"/>
                    <a:pt x="68" y="2"/>
                    <a:pt x="77" y="1"/>
                  </a:cubicBezTo>
                  <a:cubicBezTo>
                    <a:pt x="86" y="0"/>
                    <a:pt x="96" y="0"/>
                    <a:pt x="105" y="1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96" y="3"/>
                    <a:pt x="87" y="4"/>
                    <a:pt x="78" y="6"/>
                  </a:cubicBezTo>
                  <a:cubicBezTo>
                    <a:pt x="69" y="8"/>
                    <a:pt x="60" y="11"/>
                    <a:pt x="52" y="14"/>
                  </a:cubicBezTo>
                  <a:cubicBezTo>
                    <a:pt x="43" y="17"/>
                    <a:pt x="35" y="21"/>
                    <a:pt x="27" y="24"/>
                  </a:cubicBezTo>
                  <a:cubicBezTo>
                    <a:pt x="18" y="28"/>
                    <a:pt x="10" y="31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îṩľíde">
              <a:extLst>
                <a:ext uri="{FF2B5EF4-FFF2-40B4-BE49-F238E27FC236}">
                  <a16:creationId xmlns:a16="http://schemas.microsoft.com/office/drawing/2014/main" id="{A92839A8-B9DB-4FA0-B6B2-7BA67A857DCE}"/>
                </a:ext>
              </a:extLst>
            </p:cNvPr>
            <p:cNvSpPr/>
            <p:nvPr/>
          </p:nvSpPr>
          <p:spPr bwMode="auto">
            <a:xfrm>
              <a:off x="7994651" y="4852988"/>
              <a:ext cx="219075" cy="250825"/>
            </a:xfrm>
            <a:custGeom>
              <a:avLst/>
              <a:gdLst>
                <a:gd name="T0" fmla="*/ 55 w 56"/>
                <a:gd name="T1" fmla="*/ 64 h 64"/>
                <a:gd name="T2" fmla="*/ 42 w 56"/>
                <a:gd name="T3" fmla="*/ 47 h 64"/>
                <a:gd name="T4" fmla="*/ 31 w 56"/>
                <a:gd name="T5" fmla="*/ 29 h 64"/>
                <a:gd name="T6" fmla="*/ 17 w 56"/>
                <a:gd name="T7" fmla="*/ 14 h 64"/>
                <a:gd name="T8" fmla="*/ 0 w 56"/>
                <a:gd name="T9" fmla="*/ 1 h 64"/>
                <a:gd name="T10" fmla="*/ 0 w 56"/>
                <a:gd name="T11" fmla="*/ 1 h 64"/>
                <a:gd name="T12" fmla="*/ 0 w 56"/>
                <a:gd name="T13" fmla="*/ 1 h 64"/>
                <a:gd name="T14" fmla="*/ 1 w 56"/>
                <a:gd name="T15" fmla="*/ 0 h 64"/>
                <a:gd name="T16" fmla="*/ 20 w 56"/>
                <a:gd name="T17" fmla="*/ 10 h 64"/>
                <a:gd name="T18" fmla="*/ 37 w 56"/>
                <a:gd name="T19" fmla="*/ 24 h 64"/>
                <a:gd name="T20" fmla="*/ 50 w 56"/>
                <a:gd name="T21" fmla="*/ 42 h 64"/>
                <a:gd name="T22" fmla="*/ 56 w 56"/>
                <a:gd name="T23" fmla="*/ 64 h 64"/>
                <a:gd name="T24" fmla="*/ 56 w 56"/>
                <a:gd name="T25" fmla="*/ 64 h 64"/>
                <a:gd name="T26" fmla="*/ 55 w 56"/>
                <a:gd name="T2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64">
                  <a:moveTo>
                    <a:pt x="55" y="64"/>
                  </a:moveTo>
                  <a:cubicBezTo>
                    <a:pt x="50" y="58"/>
                    <a:pt x="46" y="53"/>
                    <a:pt x="42" y="47"/>
                  </a:cubicBezTo>
                  <a:cubicBezTo>
                    <a:pt x="38" y="41"/>
                    <a:pt x="35" y="35"/>
                    <a:pt x="31" y="29"/>
                  </a:cubicBezTo>
                  <a:cubicBezTo>
                    <a:pt x="27" y="24"/>
                    <a:pt x="22" y="19"/>
                    <a:pt x="17" y="14"/>
                  </a:cubicBezTo>
                  <a:cubicBezTo>
                    <a:pt x="12" y="9"/>
                    <a:pt x="6" y="5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7" y="3"/>
                    <a:pt x="14" y="6"/>
                    <a:pt x="20" y="10"/>
                  </a:cubicBezTo>
                  <a:cubicBezTo>
                    <a:pt x="26" y="14"/>
                    <a:pt x="32" y="19"/>
                    <a:pt x="37" y="24"/>
                  </a:cubicBezTo>
                  <a:cubicBezTo>
                    <a:pt x="42" y="30"/>
                    <a:pt x="47" y="35"/>
                    <a:pt x="50" y="42"/>
                  </a:cubicBezTo>
                  <a:cubicBezTo>
                    <a:pt x="54" y="49"/>
                    <a:pt x="56" y="56"/>
                    <a:pt x="56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5" y="64"/>
                    <a:pt x="55" y="64"/>
                    <a:pt x="55" y="64"/>
                  </a:cubicBez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ṩľïďé">
              <a:extLst>
                <a:ext uri="{FF2B5EF4-FFF2-40B4-BE49-F238E27FC236}">
                  <a16:creationId xmlns:a16="http://schemas.microsoft.com/office/drawing/2014/main" id="{4052A1A2-3F94-4B95-8678-EB81137080D1}"/>
                </a:ext>
              </a:extLst>
            </p:cNvPr>
            <p:cNvSpPr/>
            <p:nvPr/>
          </p:nvSpPr>
          <p:spPr bwMode="auto">
            <a:xfrm>
              <a:off x="4202114" y="3717926"/>
              <a:ext cx="1217613" cy="1920875"/>
            </a:xfrm>
            <a:custGeom>
              <a:avLst/>
              <a:gdLst>
                <a:gd name="T0" fmla="*/ 224 w 310"/>
                <a:gd name="T1" fmla="*/ 211 h 489"/>
                <a:gd name="T2" fmla="*/ 203 w 310"/>
                <a:gd name="T3" fmla="*/ 121 h 489"/>
                <a:gd name="T4" fmla="*/ 138 w 310"/>
                <a:gd name="T5" fmla="*/ 86 h 489"/>
                <a:gd name="T6" fmla="*/ 42 w 310"/>
                <a:gd name="T7" fmla="*/ 5 h 489"/>
                <a:gd name="T8" fmla="*/ 25 w 310"/>
                <a:gd name="T9" fmla="*/ 83 h 489"/>
                <a:gd name="T10" fmla="*/ 6 w 310"/>
                <a:gd name="T11" fmla="*/ 169 h 489"/>
                <a:gd name="T12" fmla="*/ 11 w 310"/>
                <a:gd name="T13" fmla="*/ 241 h 489"/>
                <a:gd name="T14" fmla="*/ 64 w 310"/>
                <a:gd name="T15" fmla="*/ 299 h 489"/>
                <a:gd name="T16" fmla="*/ 50 w 310"/>
                <a:gd name="T17" fmla="*/ 411 h 489"/>
                <a:gd name="T18" fmla="*/ 208 w 310"/>
                <a:gd name="T19" fmla="*/ 473 h 489"/>
                <a:gd name="T20" fmla="*/ 275 w 310"/>
                <a:gd name="T21" fmla="*/ 333 h 489"/>
                <a:gd name="T22" fmla="*/ 224 w 310"/>
                <a:gd name="T23" fmla="*/ 211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489">
                  <a:moveTo>
                    <a:pt x="224" y="211"/>
                  </a:moveTo>
                  <a:cubicBezTo>
                    <a:pt x="224" y="211"/>
                    <a:pt x="235" y="152"/>
                    <a:pt x="203" y="121"/>
                  </a:cubicBezTo>
                  <a:cubicBezTo>
                    <a:pt x="178" y="97"/>
                    <a:pt x="164" y="107"/>
                    <a:pt x="138" y="86"/>
                  </a:cubicBezTo>
                  <a:cubicBezTo>
                    <a:pt x="113" y="65"/>
                    <a:pt x="74" y="0"/>
                    <a:pt x="42" y="5"/>
                  </a:cubicBezTo>
                  <a:cubicBezTo>
                    <a:pt x="10" y="9"/>
                    <a:pt x="19" y="57"/>
                    <a:pt x="25" y="83"/>
                  </a:cubicBezTo>
                  <a:cubicBezTo>
                    <a:pt x="32" y="114"/>
                    <a:pt x="12" y="140"/>
                    <a:pt x="6" y="169"/>
                  </a:cubicBezTo>
                  <a:cubicBezTo>
                    <a:pt x="0" y="192"/>
                    <a:pt x="0" y="219"/>
                    <a:pt x="11" y="241"/>
                  </a:cubicBezTo>
                  <a:cubicBezTo>
                    <a:pt x="24" y="265"/>
                    <a:pt x="60" y="272"/>
                    <a:pt x="64" y="299"/>
                  </a:cubicBezTo>
                  <a:cubicBezTo>
                    <a:pt x="69" y="326"/>
                    <a:pt x="22" y="368"/>
                    <a:pt x="50" y="411"/>
                  </a:cubicBezTo>
                  <a:cubicBezTo>
                    <a:pt x="83" y="461"/>
                    <a:pt x="149" y="489"/>
                    <a:pt x="208" y="473"/>
                  </a:cubicBezTo>
                  <a:cubicBezTo>
                    <a:pt x="263" y="457"/>
                    <a:pt x="310" y="386"/>
                    <a:pt x="275" y="333"/>
                  </a:cubicBezTo>
                  <a:cubicBezTo>
                    <a:pt x="247" y="281"/>
                    <a:pt x="211" y="297"/>
                    <a:pt x="224" y="211"/>
                  </a:cubicBezTo>
                </a:path>
              </a:pathLst>
            </a:custGeom>
            <a:solidFill>
              <a:srgbClr val="1F4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ŝḻíḋe">
              <a:extLst>
                <a:ext uri="{FF2B5EF4-FFF2-40B4-BE49-F238E27FC236}">
                  <a16:creationId xmlns:a16="http://schemas.microsoft.com/office/drawing/2014/main" id="{3039D0B8-8E91-4CD3-8699-6349F0A33BF1}"/>
                </a:ext>
              </a:extLst>
            </p:cNvPr>
            <p:cNvSpPr/>
            <p:nvPr/>
          </p:nvSpPr>
          <p:spPr bwMode="auto">
            <a:xfrm>
              <a:off x="4460876" y="3989388"/>
              <a:ext cx="511175" cy="1495425"/>
            </a:xfrm>
            <a:custGeom>
              <a:avLst/>
              <a:gdLst>
                <a:gd name="T0" fmla="*/ 0 w 130"/>
                <a:gd name="T1" fmla="*/ 4 h 381"/>
                <a:gd name="T2" fmla="*/ 48 w 130"/>
                <a:gd name="T3" fmla="*/ 91 h 381"/>
                <a:gd name="T4" fmla="*/ 87 w 130"/>
                <a:gd name="T5" fmla="*/ 182 h 381"/>
                <a:gd name="T6" fmla="*/ 113 w 130"/>
                <a:gd name="T7" fmla="*/ 277 h 381"/>
                <a:gd name="T8" fmla="*/ 120 w 130"/>
                <a:gd name="T9" fmla="*/ 326 h 381"/>
                <a:gd name="T10" fmla="*/ 118 w 130"/>
                <a:gd name="T11" fmla="*/ 375 h 381"/>
                <a:gd name="T12" fmla="*/ 118 w 130"/>
                <a:gd name="T13" fmla="*/ 375 h 381"/>
                <a:gd name="T14" fmla="*/ 122 w 130"/>
                <a:gd name="T15" fmla="*/ 381 h 381"/>
                <a:gd name="T16" fmla="*/ 128 w 130"/>
                <a:gd name="T17" fmla="*/ 376 h 381"/>
                <a:gd name="T18" fmla="*/ 128 w 130"/>
                <a:gd name="T19" fmla="*/ 376 h 381"/>
                <a:gd name="T20" fmla="*/ 129 w 130"/>
                <a:gd name="T21" fmla="*/ 326 h 381"/>
                <a:gd name="T22" fmla="*/ 122 w 130"/>
                <a:gd name="T23" fmla="*/ 276 h 381"/>
                <a:gd name="T24" fmla="*/ 93 w 130"/>
                <a:gd name="T25" fmla="*/ 180 h 381"/>
                <a:gd name="T26" fmla="*/ 53 w 130"/>
                <a:gd name="T27" fmla="*/ 89 h 381"/>
                <a:gd name="T28" fmla="*/ 4 w 130"/>
                <a:gd name="T29" fmla="*/ 2 h 381"/>
                <a:gd name="T30" fmla="*/ 1 w 130"/>
                <a:gd name="T31" fmla="*/ 1 h 381"/>
                <a:gd name="T32" fmla="*/ 0 w 130"/>
                <a:gd name="T33" fmla="*/ 4 h 381"/>
                <a:gd name="T34" fmla="*/ 0 w 130"/>
                <a:gd name="T35" fmla="*/ 4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381">
                  <a:moveTo>
                    <a:pt x="0" y="4"/>
                  </a:moveTo>
                  <a:cubicBezTo>
                    <a:pt x="17" y="32"/>
                    <a:pt x="33" y="61"/>
                    <a:pt x="48" y="91"/>
                  </a:cubicBezTo>
                  <a:cubicBezTo>
                    <a:pt x="62" y="121"/>
                    <a:pt x="75" y="151"/>
                    <a:pt x="87" y="182"/>
                  </a:cubicBezTo>
                  <a:cubicBezTo>
                    <a:pt x="98" y="213"/>
                    <a:pt x="107" y="245"/>
                    <a:pt x="113" y="277"/>
                  </a:cubicBezTo>
                  <a:cubicBezTo>
                    <a:pt x="117" y="294"/>
                    <a:pt x="119" y="310"/>
                    <a:pt x="120" y="326"/>
                  </a:cubicBezTo>
                  <a:cubicBezTo>
                    <a:pt x="120" y="342"/>
                    <a:pt x="120" y="359"/>
                    <a:pt x="118" y="375"/>
                  </a:cubicBezTo>
                  <a:cubicBezTo>
                    <a:pt x="118" y="375"/>
                    <a:pt x="118" y="375"/>
                    <a:pt x="118" y="375"/>
                  </a:cubicBezTo>
                  <a:cubicBezTo>
                    <a:pt x="117" y="378"/>
                    <a:pt x="119" y="380"/>
                    <a:pt x="122" y="381"/>
                  </a:cubicBezTo>
                  <a:cubicBezTo>
                    <a:pt x="125" y="381"/>
                    <a:pt x="127" y="379"/>
                    <a:pt x="128" y="376"/>
                  </a:cubicBezTo>
                  <a:cubicBezTo>
                    <a:pt x="128" y="376"/>
                    <a:pt x="128" y="376"/>
                    <a:pt x="128" y="376"/>
                  </a:cubicBezTo>
                  <a:cubicBezTo>
                    <a:pt x="130" y="359"/>
                    <a:pt x="130" y="342"/>
                    <a:pt x="129" y="326"/>
                  </a:cubicBezTo>
                  <a:cubicBezTo>
                    <a:pt x="128" y="309"/>
                    <a:pt x="126" y="292"/>
                    <a:pt x="122" y="276"/>
                  </a:cubicBezTo>
                  <a:cubicBezTo>
                    <a:pt x="115" y="243"/>
                    <a:pt x="105" y="211"/>
                    <a:pt x="93" y="180"/>
                  </a:cubicBezTo>
                  <a:cubicBezTo>
                    <a:pt x="81" y="149"/>
                    <a:pt x="68" y="118"/>
                    <a:pt x="53" y="89"/>
                  </a:cubicBezTo>
                  <a:cubicBezTo>
                    <a:pt x="38" y="59"/>
                    <a:pt x="22" y="30"/>
                    <a:pt x="4" y="2"/>
                  </a:cubicBezTo>
                  <a:cubicBezTo>
                    <a:pt x="3" y="1"/>
                    <a:pt x="2" y="0"/>
                    <a:pt x="1" y="1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5A8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îṩļîḑe">
              <a:extLst>
                <a:ext uri="{FF2B5EF4-FFF2-40B4-BE49-F238E27FC236}">
                  <a16:creationId xmlns:a16="http://schemas.microsoft.com/office/drawing/2014/main" id="{D9DA4F6A-7C3E-4D5B-8535-1AE66C4E6C81}"/>
                </a:ext>
              </a:extLst>
            </p:cNvPr>
            <p:cNvSpPr/>
            <p:nvPr/>
          </p:nvSpPr>
          <p:spPr bwMode="auto">
            <a:xfrm>
              <a:off x="4295776" y="4498976"/>
              <a:ext cx="369888" cy="90488"/>
            </a:xfrm>
            <a:custGeom>
              <a:avLst/>
              <a:gdLst>
                <a:gd name="T0" fmla="*/ 93 w 94"/>
                <a:gd name="T1" fmla="*/ 22 h 23"/>
                <a:gd name="T2" fmla="*/ 73 w 94"/>
                <a:gd name="T3" fmla="*/ 8 h 23"/>
                <a:gd name="T4" fmla="*/ 49 w 94"/>
                <a:gd name="T5" fmla="*/ 2 h 23"/>
                <a:gd name="T6" fmla="*/ 24 w 94"/>
                <a:gd name="T7" fmla="*/ 0 h 23"/>
                <a:gd name="T8" fmla="*/ 0 w 94"/>
                <a:gd name="T9" fmla="*/ 3 h 23"/>
                <a:gd name="T10" fmla="*/ 0 w 94"/>
                <a:gd name="T11" fmla="*/ 3 h 23"/>
                <a:gd name="T12" fmla="*/ 0 w 94"/>
                <a:gd name="T13" fmla="*/ 3 h 23"/>
                <a:gd name="T14" fmla="*/ 0 w 94"/>
                <a:gd name="T15" fmla="*/ 3 h 23"/>
                <a:gd name="T16" fmla="*/ 24 w 94"/>
                <a:gd name="T17" fmla="*/ 4 h 23"/>
                <a:gd name="T18" fmla="*/ 47 w 94"/>
                <a:gd name="T19" fmla="*/ 9 h 23"/>
                <a:gd name="T20" fmla="*/ 70 w 94"/>
                <a:gd name="T21" fmla="*/ 16 h 23"/>
                <a:gd name="T22" fmla="*/ 93 w 94"/>
                <a:gd name="T23" fmla="*/ 23 h 23"/>
                <a:gd name="T24" fmla="*/ 93 w 94"/>
                <a:gd name="T25" fmla="*/ 23 h 23"/>
                <a:gd name="T26" fmla="*/ 94 w 94"/>
                <a:gd name="T27" fmla="*/ 22 h 23"/>
                <a:gd name="T28" fmla="*/ 93 w 94"/>
                <a:gd name="T2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23">
                  <a:moveTo>
                    <a:pt x="93" y="22"/>
                  </a:moveTo>
                  <a:cubicBezTo>
                    <a:pt x="87" y="16"/>
                    <a:pt x="80" y="12"/>
                    <a:pt x="73" y="8"/>
                  </a:cubicBezTo>
                  <a:cubicBezTo>
                    <a:pt x="65" y="5"/>
                    <a:pt x="57" y="4"/>
                    <a:pt x="49" y="2"/>
                  </a:cubicBezTo>
                  <a:cubicBezTo>
                    <a:pt x="41" y="1"/>
                    <a:pt x="33" y="0"/>
                    <a:pt x="24" y="0"/>
                  </a:cubicBezTo>
                  <a:cubicBezTo>
                    <a:pt x="16" y="0"/>
                    <a:pt x="8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" y="3"/>
                    <a:pt x="16" y="3"/>
                    <a:pt x="24" y="4"/>
                  </a:cubicBezTo>
                  <a:cubicBezTo>
                    <a:pt x="32" y="5"/>
                    <a:pt x="40" y="6"/>
                    <a:pt x="47" y="9"/>
                  </a:cubicBezTo>
                  <a:cubicBezTo>
                    <a:pt x="55" y="11"/>
                    <a:pt x="62" y="14"/>
                    <a:pt x="70" y="16"/>
                  </a:cubicBezTo>
                  <a:cubicBezTo>
                    <a:pt x="77" y="18"/>
                    <a:pt x="85" y="21"/>
                    <a:pt x="93" y="23"/>
                  </a:cubicBezTo>
                  <a:cubicBezTo>
                    <a:pt x="93" y="23"/>
                    <a:pt x="93" y="23"/>
                    <a:pt x="93" y="23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3" y="22"/>
                    <a:pt x="93" y="22"/>
                    <a:pt x="93" y="22"/>
                  </a:cubicBezTo>
                </a:path>
              </a:pathLst>
            </a:custGeom>
            <a:solidFill>
              <a:srgbClr val="5A8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šḷîdê">
              <a:extLst>
                <a:ext uri="{FF2B5EF4-FFF2-40B4-BE49-F238E27FC236}">
                  <a16:creationId xmlns:a16="http://schemas.microsoft.com/office/drawing/2014/main" id="{21A51F37-A1F1-4FE9-97FF-3AD64D123FA7}"/>
                </a:ext>
              </a:extLst>
            </p:cNvPr>
            <p:cNvSpPr/>
            <p:nvPr/>
          </p:nvSpPr>
          <p:spPr bwMode="auto">
            <a:xfrm>
              <a:off x="4846639" y="4295776"/>
              <a:ext cx="130175" cy="211138"/>
            </a:xfrm>
            <a:custGeom>
              <a:avLst/>
              <a:gdLst>
                <a:gd name="T0" fmla="*/ 2 w 33"/>
                <a:gd name="T1" fmla="*/ 54 h 54"/>
                <a:gd name="T2" fmla="*/ 10 w 33"/>
                <a:gd name="T3" fmla="*/ 40 h 54"/>
                <a:gd name="T4" fmla="*/ 16 w 33"/>
                <a:gd name="T5" fmla="*/ 26 h 54"/>
                <a:gd name="T6" fmla="*/ 24 w 33"/>
                <a:gd name="T7" fmla="*/ 13 h 54"/>
                <a:gd name="T8" fmla="*/ 33 w 33"/>
                <a:gd name="T9" fmla="*/ 0 h 54"/>
                <a:gd name="T10" fmla="*/ 33 w 33"/>
                <a:gd name="T11" fmla="*/ 0 h 54"/>
                <a:gd name="T12" fmla="*/ 33 w 33"/>
                <a:gd name="T13" fmla="*/ 0 h 54"/>
                <a:gd name="T14" fmla="*/ 33 w 33"/>
                <a:gd name="T15" fmla="*/ 0 h 54"/>
                <a:gd name="T16" fmla="*/ 20 w 33"/>
                <a:gd name="T17" fmla="*/ 10 h 54"/>
                <a:gd name="T18" fmla="*/ 10 w 33"/>
                <a:gd name="T19" fmla="*/ 23 h 54"/>
                <a:gd name="T20" fmla="*/ 3 w 33"/>
                <a:gd name="T21" fmla="*/ 38 h 54"/>
                <a:gd name="T22" fmla="*/ 1 w 33"/>
                <a:gd name="T23" fmla="*/ 54 h 54"/>
                <a:gd name="T24" fmla="*/ 2 w 33"/>
                <a:gd name="T25" fmla="*/ 54 h 54"/>
                <a:gd name="T26" fmla="*/ 2 w 33"/>
                <a:gd name="T27" fmla="*/ 54 h 54"/>
                <a:gd name="T28" fmla="*/ 2 w 33"/>
                <a:gd name="T2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54">
                  <a:moveTo>
                    <a:pt x="2" y="54"/>
                  </a:moveTo>
                  <a:cubicBezTo>
                    <a:pt x="6" y="50"/>
                    <a:pt x="8" y="45"/>
                    <a:pt x="10" y="40"/>
                  </a:cubicBezTo>
                  <a:cubicBezTo>
                    <a:pt x="13" y="36"/>
                    <a:pt x="14" y="31"/>
                    <a:pt x="16" y="26"/>
                  </a:cubicBezTo>
                  <a:cubicBezTo>
                    <a:pt x="18" y="22"/>
                    <a:pt x="21" y="17"/>
                    <a:pt x="24" y="13"/>
                  </a:cubicBezTo>
                  <a:cubicBezTo>
                    <a:pt x="26" y="8"/>
                    <a:pt x="30" y="4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8" y="3"/>
                    <a:pt x="24" y="6"/>
                    <a:pt x="20" y="10"/>
                  </a:cubicBezTo>
                  <a:cubicBezTo>
                    <a:pt x="17" y="14"/>
                    <a:pt x="13" y="19"/>
                    <a:pt x="10" y="23"/>
                  </a:cubicBezTo>
                  <a:cubicBezTo>
                    <a:pt x="8" y="28"/>
                    <a:pt x="4" y="32"/>
                    <a:pt x="3" y="38"/>
                  </a:cubicBezTo>
                  <a:cubicBezTo>
                    <a:pt x="1" y="43"/>
                    <a:pt x="0" y="48"/>
                    <a:pt x="1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</a:path>
              </a:pathLst>
            </a:custGeom>
            <a:solidFill>
              <a:srgbClr val="5A8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ṩḻíḓé">
              <a:extLst>
                <a:ext uri="{FF2B5EF4-FFF2-40B4-BE49-F238E27FC236}">
                  <a16:creationId xmlns:a16="http://schemas.microsoft.com/office/drawing/2014/main" id="{53978870-9D7D-4D3E-BD53-3E0FAD232A2F}"/>
                </a:ext>
              </a:extLst>
            </p:cNvPr>
            <p:cNvSpPr/>
            <p:nvPr/>
          </p:nvSpPr>
          <p:spPr bwMode="auto">
            <a:xfrm>
              <a:off x="4540251" y="5213351"/>
              <a:ext cx="346075" cy="106363"/>
            </a:xfrm>
            <a:custGeom>
              <a:avLst/>
              <a:gdLst>
                <a:gd name="T0" fmla="*/ 88 w 88"/>
                <a:gd name="T1" fmla="*/ 27 h 27"/>
                <a:gd name="T2" fmla="*/ 69 w 88"/>
                <a:gd name="T3" fmla="*/ 12 h 27"/>
                <a:gd name="T4" fmla="*/ 47 w 88"/>
                <a:gd name="T5" fmla="*/ 5 h 27"/>
                <a:gd name="T6" fmla="*/ 24 w 88"/>
                <a:gd name="T7" fmla="*/ 1 h 27"/>
                <a:gd name="T8" fmla="*/ 1 w 88"/>
                <a:gd name="T9" fmla="*/ 0 h 27"/>
                <a:gd name="T10" fmla="*/ 0 w 88"/>
                <a:gd name="T11" fmla="*/ 1 h 27"/>
                <a:gd name="T12" fmla="*/ 1 w 88"/>
                <a:gd name="T13" fmla="*/ 1 h 27"/>
                <a:gd name="T14" fmla="*/ 1 w 88"/>
                <a:gd name="T15" fmla="*/ 1 h 27"/>
                <a:gd name="T16" fmla="*/ 23 w 88"/>
                <a:gd name="T17" fmla="*/ 5 h 27"/>
                <a:gd name="T18" fmla="*/ 45 w 88"/>
                <a:gd name="T19" fmla="*/ 11 h 27"/>
                <a:gd name="T20" fmla="*/ 66 w 88"/>
                <a:gd name="T21" fmla="*/ 20 h 27"/>
                <a:gd name="T22" fmla="*/ 88 w 88"/>
                <a:gd name="T23" fmla="*/ 27 h 27"/>
                <a:gd name="T24" fmla="*/ 88 w 88"/>
                <a:gd name="T2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27">
                  <a:moveTo>
                    <a:pt x="88" y="27"/>
                  </a:moveTo>
                  <a:cubicBezTo>
                    <a:pt x="83" y="21"/>
                    <a:pt x="76" y="16"/>
                    <a:pt x="69" y="12"/>
                  </a:cubicBezTo>
                  <a:cubicBezTo>
                    <a:pt x="62" y="9"/>
                    <a:pt x="55" y="7"/>
                    <a:pt x="47" y="5"/>
                  </a:cubicBezTo>
                  <a:cubicBezTo>
                    <a:pt x="40" y="3"/>
                    <a:pt x="32" y="1"/>
                    <a:pt x="24" y="1"/>
                  </a:cubicBezTo>
                  <a:cubicBezTo>
                    <a:pt x="16" y="0"/>
                    <a:pt x="8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8" y="2"/>
                    <a:pt x="16" y="3"/>
                    <a:pt x="23" y="5"/>
                  </a:cubicBezTo>
                  <a:cubicBezTo>
                    <a:pt x="31" y="6"/>
                    <a:pt x="38" y="8"/>
                    <a:pt x="45" y="11"/>
                  </a:cubicBezTo>
                  <a:cubicBezTo>
                    <a:pt x="52" y="14"/>
                    <a:pt x="59" y="17"/>
                    <a:pt x="66" y="20"/>
                  </a:cubicBezTo>
                  <a:cubicBezTo>
                    <a:pt x="73" y="23"/>
                    <a:pt x="80" y="25"/>
                    <a:pt x="88" y="27"/>
                  </a:cubicBezTo>
                  <a:cubicBezTo>
                    <a:pt x="88" y="27"/>
                    <a:pt x="88" y="27"/>
                    <a:pt x="88" y="27"/>
                  </a:cubicBezTo>
                  <a:close/>
                </a:path>
              </a:pathLst>
            </a:custGeom>
            <a:solidFill>
              <a:srgbClr val="5A8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šľîḓe">
              <a:extLst>
                <a:ext uri="{FF2B5EF4-FFF2-40B4-BE49-F238E27FC236}">
                  <a16:creationId xmlns:a16="http://schemas.microsoft.com/office/drawing/2014/main" id="{1A2A020E-CFA4-4BA6-8981-539B8A680134}"/>
                </a:ext>
              </a:extLst>
            </p:cNvPr>
            <p:cNvSpPr/>
            <p:nvPr/>
          </p:nvSpPr>
          <p:spPr bwMode="auto">
            <a:xfrm>
              <a:off x="5019676" y="5076826"/>
              <a:ext cx="180975" cy="207963"/>
            </a:xfrm>
            <a:custGeom>
              <a:avLst/>
              <a:gdLst>
                <a:gd name="T0" fmla="*/ 0 w 46"/>
                <a:gd name="T1" fmla="*/ 53 h 53"/>
                <a:gd name="T2" fmla="*/ 11 w 46"/>
                <a:gd name="T3" fmla="*/ 39 h 53"/>
                <a:gd name="T4" fmla="*/ 21 w 46"/>
                <a:gd name="T5" fmla="*/ 24 h 53"/>
                <a:gd name="T6" fmla="*/ 32 w 46"/>
                <a:gd name="T7" fmla="*/ 11 h 53"/>
                <a:gd name="T8" fmla="*/ 46 w 46"/>
                <a:gd name="T9" fmla="*/ 1 h 53"/>
                <a:gd name="T10" fmla="*/ 46 w 46"/>
                <a:gd name="T11" fmla="*/ 1 h 53"/>
                <a:gd name="T12" fmla="*/ 46 w 46"/>
                <a:gd name="T13" fmla="*/ 0 h 53"/>
                <a:gd name="T14" fmla="*/ 46 w 46"/>
                <a:gd name="T15" fmla="*/ 0 h 53"/>
                <a:gd name="T16" fmla="*/ 29 w 46"/>
                <a:gd name="T17" fmla="*/ 8 h 53"/>
                <a:gd name="T18" fmla="*/ 15 w 46"/>
                <a:gd name="T19" fmla="*/ 20 h 53"/>
                <a:gd name="T20" fmla="*/ 4 w 46"/>
                <a:gd name="T21" fmla="*/ 34 h 53"/>
                <a:gd name="T22" fmla="*/ 0 w 46"/>
                <a:gd name="T23" fmla="*/ 52 h 53"/>
                <a:gd name="T24" fmla="*/ 0 w 46"/>
                <a:gd name="T25" fmla="*/ 53 h 53"/>
                <a:gd name="T26" fmla="*/ 0 w 46"/>
                <a:gd name="T2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53">
                  <a:moveTo>
                    <a:pt x="0" y="53"/>
                  </a:moveTo>
                  <a:cubicBezTo>
                    <a:pt x="5" y="48"/>
                    <a:pt x="8" y="43"/>
                    <a:pt x="11" y="39"/>
                  </a:cubicBezTo>
                  <a:cubicBezTo>
                    <a:pt x="15" y="34"/>
                    <a:pt x="17" y="29"/>
                    <a:pt x="21" y="24"/>
                  </a:cubicBezTo>
                  <a:cubicBezTo>
                    <a:pt x="24" y="19"/>
                    <a:pt x="28" y="15"/>
                    <a:pt x="32" y="11"/>
                  </a:cubicBezTo>
                  <a:cubicBezTo>
                    <a:pt x="36" y="7"/>
                    <a:pt x="41" y="4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0" y="2"/>
                    <a:pt x="35" y="4"/>
                    <a:pt x="29" y="8"/>
                  </a:cubicBezTo>
                  <a:cubicBezTo>
                    <a:pt x="24" y="11"/>
                    <a:pt x="20" y="15"/>
                    <a:pt x="15" y="20"/>
                  </a:cubicBezTo>
                  <a:cubicBezTo>
                    <a:pt x="11" y="24"/>
                    <a:pt x="7" y="29"/>
                    <a:pt x="4" y="34"/>
                  </a:cubicBezTo>
                  <a:cubicBezTo>
                    <a:pt x="2" y="40"/>
                    <a:pt x="0" y="46"/>
                    <a:pt x="0" y="5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lose/>
                </a:path>
              </a:pathLst>
            </a:custGeom>
            <a:solidFill>
              <a:srgbClr val="5A8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şľîḍè">
              <a:extLst>
                <a:ext uri="{FF2B5EF4-FFF2-40B4-BE49-F238E27FC236}">
                  <a16:creationId xmlns:a16="http://schemas.microsoft.com/office/drawing/2014/main" id="{E69AC24D-A3BB-4468-9E44-C92CA371C1CE}"/>
                </a:ext>
              </a:extLst>
            </p:cNvPr>
            <p:cNvSpPr/>
            <p:nvPr/>
          </p:nvSpPr>
          <p:spPr bwMode="auto">
            <a:xfrm>
              <a:off x="8154989" y="4098926"/>
              <a:ext cx="1414463" cy="1527175"/>
            </a:xfrm>
            <a:custGeom>
              <a:avLst/>
              <a:gdLst>
                <a:gd name="T0" fmla="*/ 110 w 360"/>
                <a:gd name="T1" fmla="*/ 186 h 389"/>
                <a:gd name="T2" fmla="*/ 163 w 360"/>
                <a:gd name="T3" fmla="*/ 126 h 389"/>
                <a:gd name="T4" fmla="*/ 319 w 360"/>
                <a:gd name="T5" fmla="*/ 0 h 389"/>
                <a:gd name="T6" fmla="*/ 341 w 360"/>
                <a:gd name="T7" fmla="*/ 112 h 389"/>
                <a:gd name="T8" fmla="*/ 254 w 360"/>
                <a:gd name="T9" fmla="*/ 212 h 389"/>
                <a:gd name="T10" fmla="*/ 102 w 360"/>
                <a:gd name="T11" fmla="*/ 375 h 389"/>
                <a:gd name="T12" fmla="*/ 2 w 360"/>
                <a:gd name="T13" fmla="*/ 282 h 389"/>
                <a:gd name="T14" fmla="*/ 51 w 360"/>
                <a:gd name="T15" fmla="*/ 216 h 389"/>
                <a:gd name="T16" fmla="*/ 92 w 360"/>
                <a:gd name="T17" fmla="*/ 201 h 389"/>
                <a:gd name="T18" fmla="*/ 110 w 360"/>
                <a:gd name="T19" fmla="*/ 186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389">
                  <a:moveTo>
                    <a:pt x="110" y="186"/>
                  </a:moveTo>
                  <a:cubicBezTo>
                    <a:pt x="128" y="166"/>
                    <a:pt x="139" y="140"/>
                    <a:pt x="163" y="126"/>
                  </a:cubicBezTo>
                  <a:cubicBezTo>
                    <a:pt x="201" y="105"/>
                    <a:pt x="284" y="91"/>
                    <a:pt x="319" y="0"/>
                  </a:cubicBezTo>
                  <a:cubicBezTo>
                    <a:pt x="340" y="38"/>
                    <a:pt x="360" y="58"/>
                    <a:pt x="341" y="112"/>
                  </a:cubicBezTo>
                  <a:cubicBezTo>
                    <a:pt x="328" y="139"/>
                    <a:pt x="271" y="170"/>
                    <a:pt x="254" y="212"/>
                  </a:cubicBezTo>
                  <a:cubicBezTo>
                    <a:pt x="238" y="254"/>
                    <a:pt x="220" y="358"/>
                    <a:pt x="102" y="375"/>
                  </a:cubicBezTo>
                  <a:cubicBezTo>
                    <a:pt x="13" y="389"/>
                    <a:pt x="0" y="313"/>
                    <a:pt x="2" y="282"/>
                  </a:cubicBezTo>
                  <a:cubicBezTo>
                    <a:pt x="3" y="255"/>
                    <a:pt x="27" y="226"/>
                    <a:pt x="51" y="216"/>
                  </a:cubicBezTo>
                  <a:cubicBezTo>
                    <a:pt x="65" y="210"/>
                    <a:pt x="79" y="209"/>
                    <a:pt x="92" y="201"/>
                  </a:cubicBezTo>
                  <a:cubicBezTo>
                    <a:pt x="99" y="197"/>
                    <a:pt x="105" y="192"/>
                    <a:pt x="110" y="186"/>
                  </a:cubicBezTo>
                  <a:close/>
                </a:path>
              </a:pathLst>
            </a:custGeom>
            <a:solidFill>
              <a:srgbClr val="006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šľiďe">
              <a:extLst>
                <a:ext uri="{FF2B5EF4-FFF2-40B4-BE49-F238E27FC236}">
                  <a16:creationId xmlns:a16="http://schemas.microsoft.com/office/drawing/2014/main" id="{BAD5E9E7-AA5B-4971-9BAA-41D3E53936A3}"/>
                </a:ext>
              </a:extLst>
            </p:cNvPr>
            <p:cNvSpPr/>
            <p:nvPr/>
          </p:nvSpPr>
          <p:spPr bwMode="auto">
            <a:xfrm>
              <a:off x="8375651" y="4400551"/>
              <a:ext cx="985838" cy="993775"/>
            </a:xfrm>
            <a:custGeom>
              <a:avLst/>
              <a:gdLst>
                <a:gd name="T0" fmla="*/ 8 w 251"/>
                <a:gd name="T1" fmla="*/ 234 h 253"/>
                <a:gd name="T2" fmla="*/ 26 w 251"/>
                <a:gd name="T3" fmla="*/ 226 h 253"/>
                <a:gd name="T4" fmla="*/ 44 w 251"/>
                <a:gd name="T5" fmla="*/ 215 h 253"/>
                <a:gd name="T6" fmla="*/ 74 w 251"/>
                <a:gd name="T7" fmla="*/ 187 h 253"/>
                <a:gd name="T8" fmla="*/ 85 w 251"/>
                <a:gd name="T9" fmla="*/ 171 h 253"/>
                <a:gd name="T10" fmla="*/ 88 w 251"/>
                <a:gd name="T11" fmla="*/ 166 h 253"/>
                <a:gd name="T12" fmla="*/ 90 w 251"/>
                <a:gd name="T13" fmla="*/ 162 h 253"/>
                <a:gd name="T14" fmla="*/ 95 w 251"/>
                <a:gd name="T15" fmla="*/ 152 h 253"/>
                <a:gd name="T16" fmla="*/ 116 w 251"/>
                <a:gd name="T17" fmla="*/ 113 h 253"/>
                <a:gd name="T18" fmla="*/ 145 w 251"/>
                <a:gd name="T19" fmla="*/ 80 h 253"/>
                <a:gd name="T20" fmla="*/ 182 w 251"/>
                <a:gd name="T21" fmla="*/ 55 h 253"/>
                <a:gd name="T22" fmla="*/ 218 w 251"/>
                <a:gd name="T23" fmla="*/ 32 h 253"/>
                <a:gd name="T24" fmla="*/ 233 w 251"/>
                <a:gd name="T25" fmla="*/ 18 h 253"/>
                <a:gd name="T26" fmla="*/ 246 w 251"/>
                <a:gd name="T27" fmla="*/ 1 h 253"/>
                <a:gd name="T28" fmla="*/ 246 w 251"/>
                <a:gd name="T29" fmla="*/ 1 h 253"/>
                <a:gd name="T30" fmla="*/ 249 w 251"/>
                <a:gd name="T31" fmla="*/ 1 h 253"/>
                <a:gd name="T32" fmla="*/ 250 w 251"/>
                <a:gd name="T33" fmla="*/ 4 h 253"/>
                <a:gd name="T34" fmla="*/ 237 w 251"/>
                <a:gd name="T35" fmla="*/ 22 h 253"/>
                <a:gd name="T36" fmla="*/ 222 w 251"/>
                <a:gd name="T37" fmla="*/ 37 h 253"/>
                <a:gd name="T38" fmla="*/ 186 w 251"/>
                <a:gd name="T39" fmla="*/ 62 h 253"/>
                <a:gd name="T40" fmla="*/ 151 w 251"/>
                <a:gd name="T41" fmla="*/ 87 h 253"/>
                <a:gd name="T42" fmla="*/ 125 w 251"/>
                <a:gd name="T43" fmla="*/ 119 h 253"/>
                <a:gd name="T44" fmla="*/ 107 w 251"/>
                <a:gd name="T45" fmla="*/ 157 h 253"/>
                <a:gd name="T46" fmla="*/ 103 w 251"/>
                <a:gd name="T47" fmla="*/ 167 h 253"/>
                <a:gd name="T48" fmla="*/ 100 w 251"/>
                <a:gd name="T49" fmla="*/ 173 h 253"/>
                <a:gd name="T50" fmla="*/ 98 w 251"/>
                <a:gd name="T51" fmla="*/ 178 h 253"/>
                <a:gd name="T52" fmla="*/ 86 w 251"/>
                <a:gd name="T53" fmla="*/ 197 h 253"/>
                <a:gd name="T54" fmla="*/ 54 w 251"/>
                <a:gd name="T55" fmla="*/ 229 h 253"/>
                <a:gd name="T56" fmla="*/ 35 w 251"/>
                <a:gd name="T57" fmla="*/ 241 h 253"/>
                <a:gd name="T58" fmla="*/ 14 w 251"/>
                <a:gd name="T59" fmla="*/ 251 h 253"/>
                <a:gd name="T60" fmla="*/ 2 w 251"/>
                <a:gd name="T61" fmla="*/ 246 h 253"/>
                <a:gd name="T62" fmla="*/ 7 w 251"/>
                <a:gd name="T63" fmla="*/ 234 h 253"/>
                <a:gd name="T64" fmla="*/ 8 w 251"/>
                <a:gd name="T65" fmla="*/ 234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1" h="253">
                  <a:moveTo>
                    <a:pt x="8" y="234"/>
                  </a:moveTo>
                  <a:cubicBezTo>
                    <a:pt x="14" y="232"/>
                    <a:pt x="20" y="229"/>
                    <a:pt x="26" y="226"/>
                  </a:cubicBezTo>
                  <a:cubicBezTo>
                    <a:pt x="32" y="223"/>
                    <a:pt x="38" y="219"/>
                    <a:pt x="44" y="215"/>
                  </a:cubicBezTo>
                  <a:cubicBezTo>
                    <a:pt x="55" y="207"/>
                    <a:pt x="65" y="198"/>
                    <a:pt x="74" y="187"/>
                  </a:cubicBezTo>
                  <a:cubicBezTo>
                    <a:pt x="78" y="182"/>
                    <a:pt x="82" y="177"/>
                    <a:pt x="85" y="171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90" y="162"/>
                    <a:pt x="90" y="162"/>
                    <a:pt x="90" y="162"/>
                  </a:cubicBezTo>
                  <a:cubicBezTo>
                    <a:pt x="92" y="158"/>
                    <a:pt x="93" y="156"/>
                    <a:pt x="95" y="152"/>
                  </a:cubicBezTo>
                  <a:cubicBezTo>
                    <a:pt x="101" y="139"/>
                    <a:pt x="107" y="126"/>
                    <a:pt x="116" y="113"/>
                  </a:cubicBezTo>
                  <a:cubicBezTo>
                    <a:pt x="124" y="101"/>
                    <a:pt x="134" y="89"/>
                    <a:pt x="145" y="80"/>
                  </a:cubicBezTo>
                  <a:cubicBezTo>
                    <a:pt x="156" y="70"/>
                    <a:pt x="169" y="63"/>
                    <a:pt x="182" y="55"/>
                  </a:cubicBezTo>
                  <a:cubicBezTo>
                    <a:pt x="194" y="48"/>
                    <a:pt x="206" y="41"/>
                    <a:pt x="218" y="32"/>
                  </a:cubicBezTo>
                  <a:cubicBezTo>
                    <a:pt x="223" y="28"/>
                    <a:pt x="229" y="23"/>
                    <a:pt x="233" y="18"/>
                  </a:cubicBezTo>
                  <a:cubicBezTo>
                    <a:pt x="238" y="13"/>
                    <a:pt x="242" y="7"/>
                    <a:pt x="246" y="1"/>
                  </a:cubicBezTo>
                  <a:cubicBezTo>
                    <a:pt x="246" y="1"/>
                    <a:pt x="246" y="1"/>
                    <a:pt x="246" y="1"/>
                  </a:cubicBezTo>
                  <a:cubicBezTo>
                    <a:pt x="247" y="0"/>
                    <a:pt x="248" y="0"/>
                    <a:pt x="249" y="1"/>
                  </a:cubicBezTo>
                  <a:cubicBezTo>
                    <a:pt x="250" y="1"/>
                    <a:pt x="251" y="3"/>
                    <a:pt x="250" y="4"/>
                  </a:cubicBezTo>
                  <a:cubicBezTo>
                    <a:pt x="246" y="10"/>
                    <a:pt x="242" y="16"/>
                    <a:pt x="237" y="22"/>
                  </a:cubicBezTo>
                  <a:cubicBezTo>
                    <a:pt x="233" y="27"/>
                    <a:pt x="227" y="33"/>
                    <a:pt x="222" y="37"/>
                  </a:cubicBezTo>
                  <a:cubicBezTo>
                    <a:pt x="210" y="47"/>
                    <a:pt x="198" y="54"/>
                    <a:pt x="186" y="62"/>
                  </a:cubicBezTo>
                  <a:cubicBezTo>
                    <a:pt x="174" y="70"/>
                    <a:pt x="161" y="78"/>
                    <a:pt x="151" y="87"/>
                  </a:cubicBezTo>
                  <a:cubicBezTo>
                    <a:pt x="141" y="96"/>
                    <a:pt x="133" y="107"/>
                    <a:pt x="125" y="119"/>
                  </a:cubicBezTo>
                  <a:cubicBezTo>
                    <a:pt x="118" y="131"/>
                    <a:pt x="112" y="144"/>
                    <a:pt x="107" y="157"/>
                  </a:cubicBezTo>
                  <a:cubicBezTo>
                    <a:pt x="106" y="160"/>
                    <a:pt x="104" y="164"/>
                    <a:pt x="103" y="167"/>
                  </a:cubicBezTo>
                  <a:cubicBezTo>
                    <a:pt x="100" y="173"/>
                    <a:pt x="100" y="173"/>
                    <a:pt x="100" y="173"/>
                  </a:cubicBezTo>
                  <a:cubicBezTo>
                    <a:pt x="98" y="178"/>
                    <a:pt x="98" y="178"/>
                    <a:pt x="98" y="178"/>
                  </a:cubicBezTo>
                  <a:cubicBezTo>
                    <a:pt x="94" y="184"/>
                    <a:pt x="90" y="191"/>
                    <a:pt x="86" y="197"/>
                  </a:cubicBezTo>
                  <a:cubicBezTo>
                    <a:pt x="77" y="209"/>
                    <a:pt x="66" y="220"/>
                    <a:pt x="54" y="229"/>
                  </a:cubicBezTo>
                  <a:cubicBezTo>
                    <a:pt x="48" y="234"/>
                    <a:pt x="41" y="238"/>
                    <a:pt x="35" y="241"/>
                  </a:cubicBezTo>
                  <a:cubicBezTo>
                    <a:pt x="28" y="245"/>
                    <a:pt x="22" y="249"/>
                    <a:pt x="14" y="251"/>
                  </a:cubicBezTo>
                  <a:cubicBezTo>
                    <a:pt x="9" y="253"/>
                    <a:pt x="3" y="251"/>
                    <a:pt x="2" y="246"/>
                  </a:cubicBezTo>
                  <a:cubicBezTo>
                    <a:pt x="0" y="241"/>
                    <a:pt x="2" y="236"/>
                    <a:pt x="7" y="234"/>
                  </a:cubicBezTo>
                  <a:cubicBezTo>
                    <a:pt x="8" y="234"/>
                    <a:pt x="8" y="234"/>
                    <a:pt x="8" y="234"/>
                  </a:cubicBezTo>
                  <a:close/>
                </a:path>
              </a:pathLst>
            </a:custGeom>
            <a:solidFill>
              <a:srgbClr val="00A5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ṧḻíde">
              <a:extLst>
                <a:ext uri="{FF2B5EF4-FFF2-40B4-BE49-F238E27FC236}">
                  <a16:creationId xmlns:a16="http://schemas.microsoft.com/office/drawing/2014/main" id="{ABB86BC0-46B3-4BC1-9A27-F279FAE057BB}"/>
                </a:ext>
              </a:extLst>
            </p:cNvPr>
            <p:cNvSpPr/>
            <p:nvPr/>
          </p:nvSpPr>
          <p:spPr bwMode="auto">
            <a:xfrm>
              <a:off x="3368676" y="3321051"/>
              <a:ext cx="5076825" cy="2281238"/>
            </a:xfrm>
            <a:custGeom>
              <a:avLst/>
              <a:gdLst>
                <a:gd name="T0" fmla="*/ 3198 w 3198"/>
                <a:gd name="T1" fmla="*/ 215 h 1437"/>
                <a:gd name="T2" fmla="*/ 488 w 3198"/>
                <a:gd name="T3" fmla="*/ 1437 h 1437"/>
                <a:gd name="T4" fmla="*/ 0 w 3198"/>
                <a:gd name="T5" fmla="*/ 1437 h 1437"/>
                <a:gd name="T6" fmla="*/ 3198 w 3198"/>
                <a:gd name="T7" fmla="*/ 0 h 1437"/>
                <a:gd name="T8" fmla="*/ 3198 w 3198"/>
                <a:gd name="T9" fmla="*/ 215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98" h="1437">
                  <a:moveTo>
                    <a:pt x="3198" y="215"/>
                  </a:moveTo>
                  <a:lnTo>
                    <a:pt x="488" y="1437"/>
                  </a:lnTo>
                  <a:lnTo>
                    <a:pt x="0" y="1437"/>
                  </a:lnTo>
                  <a:lnTo>
                    <a:pt x="3198" y="0"/>
                  </a:lnTo>
                  <a:lnTo>
                    <a:pt x="3198" y="215"/>
                  </a:lnTo>
                  <a:close/>
                </a:path>
              </a:pathLst>
            </a:custGeom>
            <a:solidFill>
              <a:srgbClr val="FF6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šľîdé">
              <a:extLst>
                <a:ext uri="{FF2B5EF4-FFF2-40B4-BE49-F238E27FC236}">
                  <a16:creationId xmlns:a16="http://schemas.microsoft.com/office/drawing/2014/main" id="{8F5FE795-062E-4B97-823D-284A2C9D9529}"/>
                </a:ext>
              </a:extLst>
            </p:cNvPr>
            <p:cNvSpPr/>
            <p:nvPr/>
          </p:nvSpPr>
          <p:spPr bwMode="auto">
            <a:xfrm>
              <a:off x="3368676" y="3321051"/>
              <a:ext cx="5076825" cy="2281238"/>
            </a:xfrm>
            <a:custGeom>
              <a:avLst/>
              <a:gdLst>
                <a:gd name="T0" fmla="*/ 3198 w 3198"/>
                <a:gd name="T1" fmla="*/ 215 h 1437"/>
                <a:gd name="T2" fmla="*/ 488 w 3198"/>
                <a:gd name="T3" fmla="*/ 1437 h 1437"/>
                <a:gd name="T4" fmla="*/ 0 w 3198"/>
                <a:gd name="T5" fmla="*/ 1437 h 1437"/>
                <a:gd name="T6" fmla="*/ 3198 w 3198"/>
                <a:gd name="T7" fmla="*/ 0 h 1437"/>
                <a:gd name="T8" fmla="*/ 3198 w 3198"/>
                <a:gd name="T9" fmla="*/ 215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98" h="1437">
                  <a:moveTo>
                    <a:pt x="3198" y="215"/>
                  </a:moveTo>
                  <a:lnTo>
                    <a:pt x="488" y="1437"/>
                  </a:lnTo>
                  <a:lnTo>
                    <a:pt x="0" y="1437"/>
                  </a:lnTo>
                  <a:lnTo>
                    <a:pt x="3198" y="0"/>
                  </a:lnTo>
                  <a:lnTo>
                    <a:pt x="3198" y="2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$1iḋè">
              <a:extLst>
                <a:ext uri="{FF2B5EF4-FFF2-40B4-BE49-F238E27FC236}">
                  <a16:creationId xmlns:a16="http://schemas.microsoft.com/office/drawing/2014/main" id="{D7254D02-6EA8-45D3-829E-CF5FBA9C4695}"/>
                </a:ext>
              </a:extLst>
            </p:cNvPr>
            <p:cNvSpPr/>
            <p:nvPr/>
          </p:nvSpPr>
          <p:spPr bwMode="auto">
            <a:xfrm>
              <a:off x="7726364" y="4051301"/>
              <a:ext cx="708025" cy="1550988"/>
            </a:xfrm>
            <a:custGeom>
              <a:avLst/>
              <a:gdLst>
                <a:gd name="T0" fmla="*/ 446 w 446"/>
                <a:gd name="T1" fmla="*/ 0 h 977"/>
                <a:gd name="T2" fmla="*/ 446 w 446"/>
                <a:gd name="T3" fmla="*/ 977 h 977"/>
                <a:gd name="T4" fmla="*/ 0 w 446"/>
                <a:gd name="T5" fmla="*/ 977 h 977"/>
                <a:gd name="T6" fmla="*/ 0 w 446"/>
                <a:gd name="T7" fmla="*/ 205 h 977"/>
                <a:gd name="T8" fmla="*/ 446 w 446"/>
                <a:gd name="T9" fmla="*/ 0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977">
                  <a:moveTo>
                    <a:pt x="446" y="0"/>
                  </a:moveTo>
                  <a:lnTo>
                    <a:pt x="446" y="977"/>
                  </a:lnTo>
                  <a:lnTo>
                    <a:pt x="0" y="977"/>
                  </a:lnTo>
                  <a:lnTo>
                    <a:pt x="0" y="205"/>
                  </a:lnTo>
                  <a:lnTo>
                    <a:pt x="446" y="0"/>
                  </a:lnTo>
                  <a:close/>
                </a:path>
              </a:pathLst>
            </a:custGeom>
            <a:solidFill>
              <a:srgbClr val="FF6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îSḷîďé">
              <a:extLst>
                <a:ext uri="{FF2B5EF4-FFF2-40B4-BE49-F238E27FC236}">
                  <a16:creationId xmlns:a16="http://schemas.microsoft.com/office/drawing/2014/main" id="{F7D4EB53-7601-4A02-8DF7-E0E5095A6077}"/>
                </a:ext>
              </a:extLst>
            </p:cNvPr>
            <p:cNvSpPr/>
            <p:nvPr/>
          </p:nvSpPr>
          <p:spPr bwMode="auto">
            <a:xfrm>
              <a:off x="6692901" y="4498976"/>
              <a:ext cx="708025" cy="1103313"/>
            </a:xfrm>
            <a:custGeom>
              <a:avLst/>
              <a:gdLst>
                <a:gd name="T0" fmla="*/ 446 w 446"/>
                <a:gd name="T1" fmla="*/ 0 h 695"/>
                <a:gd name="T2" fmla="*/ 446 w 446"/>
                <a:gd name="T3" fmla="*/ 695 h 695"/>
                <a:gd name="T4" fmla="*/ 0 w 446"/>
                <a:gd name="T5" fmla="*/ 695 h 695"/>
                <a:gd name="T6" fmla="*/ 0 w 446"/>
                <a:gd name="T7" fmla="*/ 206 h 695"/>
                <a:gd name="T8" fmla="*/ 446 w 446"/>
                <a:gd name="T9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695">
                  <a:moveTo>
                    <a:pt x="446" y="0"/>
                  </a:moveTo>
                  <a:lnTo>
                    <a:pt x="446" y="695"/>
                  </a:lnTo>
                  <a:lnTo>
                    <a:pt x="0" y="695"/>
                  </a:lnTo>
                  <a:lnTo>
                    <a:pt x="0" y="206"/>
                  </a:lnTo>
                  <a:lnTo>
                    <a:pt x="446" y="0"/>
                  </a:lnTo>
                  <a:close/>
                </a:path>
              </a:pathLst>
            </a:custGeom>
            <a:solidFill>
              <a:srgbClr val="FF6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ṥľíḑe">
              <a:extLst>
                <a:ext uri="{FF2B5EF4-FFF2-40B4-BE49-F238E27FC236}">
                  <a16:creationId xmlns:a16="http://schemas.microsoft.com/office/drawing/2014/main" id="{FC12A4C5-808D-4F96-8E5C-2862344FB0E1}"/>
                </a:ext>
              </a:extLst>
            </p:cNvPr>
            <p:cNvSpPr/>
            <p:nvPr/>
          </p:nvSpPr>
          <p:spPr bwMode="auto">
            <a:xfrm>
              <a:off x="4625976" y="5340351"/>
              <a:ext cx="708025" cy="261938"/>
            </a:xfrm>
            <a:custGeom>
              <a:avLst/>
              <a:gdLst>
                <a:gd name="T0" fmla="*/ 446 w 446"/>
                <a:gd name="T1" fmla="*/ 0 h 165"/>
                <a:gd name="T2" fmla="*/ 446 w 446"/>
                <a:gd name="T3" fmla="*/ 165 h 165"/>
                <a:gd name="T4" fmla="*/ 0 w 446"/>
                <a:gd name="T5" fmla="*/ 165 h 165"/>
                <a:gd name="T6" fmla="*/ 446 w 446"/>
                <a:gd name="T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6" h="165">
                  <a:moveTo>
                    <a:pt x="446" y="0"/>
                  </a:moveTo>
                  <a:lnTo>
                    <a:pt x="446" y="165"/>
                  </a:lnTo>
                  <a:lnTo>
                    <a:pt x="0" y="165"/>
                  </a:lnTo>
                  <a:lnTo>
                    <a:pt x="446" y="0"/>
                  </a:lnTo>
                  <a:close/>
                </a:path>
              </a:pathLst>
            </a:custGeom>
            <a:solidFill>
              <a:srgbClr val="FF6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ṣľïdê">
              <a:extLst>
                <a:ext uri="{FF2B5EF4-FFF2-40B4-BE49-F238E27FC236}">
                  <a16:creationId xmlns:a16="http://schemas.microsoft.com/office/drawing/2014/main" id="{20CE067C-A0D8-45C0-B760-671562FFFC14}"/>
                </a:ext>
              </a:extLst>
            </p:cNvPr>
            <p:cNvSpPr/>
            <p:nvPr/>
          </p:nvSpPr>
          <p:spPr bwMode="auto">
            <a:xfrm>
              <a:off x="9283701" y="3848101"/>
              <a:ext cx="200025" cy="274638"/>
            </a:xfrm>
            <a:custGeom>
              <a:avLst/>
              <a:gdLst>
                <a:gd name="T0" fmla="*/ 1 w 51"/>
                <a:gd name="T1" fmla="*/ 70 h 70"/>
                <a:gd name="T2" fmla="*/ 21 w 51"/>
                <a:gd name="T3" fmla="*/ 10 h 70"/>
                <a:gd name="T4" fmla="*/ 1 w 51"/>
                <a:gd name="T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70">
                  <a:moveTo>
                    <a:pt x="1" y="70"/>
                  </a:moveTo>
                  <a:cubicBezTo>
                    <a:pt x="1" y="70"/>
                    <a:pt x="0" y="21"/>
                    <a:pt x="21" y="10"/>
                  </a:cubicBezTo>
                  <a:cubicBezTo>
                    <a:pt x="42" y="0"/>
                    <a:pt x="51" y="31"/>
                    <a:pt x="1" y="70"/>
                  </a:cubicBezTo>
                  <a:close/>
                </a:path>
              </a:pathLst>
            </a:custGeom>
            <a:solidFill>
              <a:srgbClr val="006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ṥḷíḋê">
              <a:extLst>
                <a:ext uri="{FF2B5EF4-FFF2-40B4-BE49-F238E27FC236}">
                  <a16:creationId xmlns:a16="http://schemas.microsoft.com/office/drawing/2014/main" id="{16C9FE0B-B141-4827-BFAE-4184E79A3AED}"/>
                </a:ext>
              </a:extLst>
            </p:cNvPr>
            <p:cNvSpPr/>
            <p:nvPr/>
          </p:nvSpPr>
          <p:spPr bwMode="auto">
            <a:xfrm>
              <a:off x="9140826" y="3513138"/>
              <a:ext cx="220663" cy="346075"/>
            </a:xfrm>
            <a:custGeom>
              <a:avLst/>
              <a:gdLst>
                <a:gd name="T0" fmla="*/ 18 w 56"/>
                <a:gd name="T1" fmla="*/ 88 h 88"/>
                <a:gd name="T2" fmla="*/ 18 w 56"/>
                <a:gd name="T3" fmla="*/ 18 h 88"/>
                <a:gd name="T4" fmla="*/ 18 w 56"/>
                <a:gd name="T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88">
                  <a:moveTo>
                    <a:pt x="18" y="88"/>
                  </a:moveTo>
                  <a:cubicBezTo>
                    <a:pt x="18" y="88"/>
                    <a:pt x="0" y="37"/>
                    <a:pt x="18" y="18"/>
                  </a:cubicBezTo>
                  <a:cubicBezTo>
                    <a:pt x="36" y="0"/>
                    <a:pt x="56" y="30"/>
                    <a:pt x="18" y="88"/>
                  </a:cubicBezTo>
                  <a:close/>
                </a:path>
              </a:pathLst>
            </a:custGeom>
            <a:solidFill>
              <a:srgbClr val="006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śḻïďè">
              <a:extLst>
                <a:ext uri="{FF2B5EF4-FFF2-40B4-BE49-F238E27FC236}">
                  <a16:creationId xmlns:a16="http://schemas.microsoft.com/office/drawing/2014/main" id="{6757A3D6-FFE7-438B-A354-59E1F7965C7A}"/>
                </a:ext>
              </a:extLst>
            </p:cNvPr>
            <p:cNvSpPr/>
            <p:nvPr/>
          </p:nvSpPr>
          <p:spPr bwMode="auto">
            <a:xfrm>
              <a:off x="7172326" y="3160713"/>
              <a:ext cx="196850" cy="349250"/>
            </a:xfrm>
            <a:custGeom>
              <a:avLst/>
              <a:gdLst>
                <a:gd name="T0" fmla="*/ 15 w 50"/>
                <a:gd name="T1" fmla="*/ 89 h 89"/>
                <a:gd name="T2" fmla="*/ 40 w 50"/>
                <a:gd name="T3" fmla="*/ 24 h 89"/>
                <a:gd name="T4" fmla="*/ 15 w 50"/>
                <a:gd name="T5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0" h="89">
                  <a:moveTo>
                    <a:pt x="15" y="89"/>
                  </a:moveTo>
                  <a:cubicBezTo>
                    <a:pt x="15" y="89"/>
                    <a:pt x="50" y="48"/>
                    <a:pt x="40" y="24"/>
                  </a:cubicBezTo>
                  <a:cubicBezTo>
                    <a:pt x="29" y="0"/>
                    <a:pt x="0" y="21"/>
                    <a:pt x="15" y="89"/>
                  </a:cubicBezTo>
                  <a:close/>
                </a:path>
              </a:pathLst>
            </a:custGeom>
            <a:solidFill>
              <a:srgbClr val="E24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šļïḋê">
              <a:extLst>
                <a:ext uri="{FF2B5EF4-FFF2-40B4-BE49-F238E27FC236}">
                  <a16:creationId xmlns:a16="http://schemas.microsoft.com/office/drawing/2014/main" id="{1F8CDFB1-AC61-412F-8A55-CB02D73A1370}"/>
                </a:ext>
              </a:extLst>
            </p:cNvPr>
            <p:cNvSpPr/>
            <p:nvPr/>
          </p:nvSpPr>
          <p:spPr bwMode="auto">
            <a:xfrm>
              <a:off x="7369176" y="3025776"/>
              <a:ext cx="114300" cy="201613"/>
            </a:xfrm>
            <a:custGeom>
              <a:avLst/>
              <a:gdLst>
                <a:gd name="T0" fmla="*/ 9 w 29"/>
                <a:gd name="T1" fmla="*/ 51 h 51"/>
                <a:gd name="T2" fmla="*/ 23 w 29"/>
                <a:gd name="T3" fmla="*/ 14 h 51"/>
                <a:gd name="T4" fmla="*/ 9 w 29"/>
                <a:gd name="T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51">
                  <a:moveTo>
                    <a:pt x="9" y="51"/>
                  </a:moveTo>
                  <a:cubicBezTo>
                    <a:pt x="9" y="51"/>
                    <a:pt x="29" y="27"/>
                    <a:pt x="23" y="14"/>
                  </a:cubicBezTo>
                  <a:cubicBezTo>
                    <a:pt x="17" y="0"/>
                    <a:pt x="0" y="12"/>
                    <a:pt x="9" y="51"/>
                  </a:cubicBezTo>
                  <a:close/>
                </a:path>
              </a:pathLst>
            </a:custGeom>
            <a:solidFill>
              <a:srgbClr val="E24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ṣḻiďé">
              <a:extLst>
                <a:ext uri="{FF2B5EF4-FFF2-40B4-BE49-F238E27FC236}">
                  <a16:creationId xmlns:a16="http://schemas.microsoft.com/office/drawing/2014/main" id="{CAA9112B-652B-4674-A1AA-91667763791B}"/>
                </a:ext>
              </a:extLst>
            </p:cNvPr>
            <p:cNvSpPr/>
            <p:nvPr/>
          </p:nvSpPr>
          <p:spPr bwMode="auto">
            <a:xfrm>
              <a:off x="4968876" y="3619501"/>
              <a:ext cx="223838" cy="341313"/>
            </a:xfrm>
            <a:custGeom>
              <a:avLst/>
              <a:gdLst>
                <a:gd name="T0" fmla="*/ 41 w 57"/>
                <a:gd name="T1" fmla="*/ 87 h 87"/>
                <a:gd name="T2" fmla="*/ 38 w 57"/>
                <a:gd name="T3" fmla="*/ 17 h 87"/>
                <a:gd name="T4" fmla="*/ 41 w 57"/>
                <a:gd name="T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87">
                  <a:moveTo>
                    <a:pt x="41" y="87"/>
                  </a:moveTo>
                  <a:cubicBezTo>
                    <a:pt x="41" y="87"/>
                    <a:pt x="57" y="35"/>
                    <a:pt x="38" y="17"/>
                  </a:cubicBezTo>
                  <a:cubicBezTo>
                    <a:pt x="18" y="0"/>
                    <a:pt x="0" y="31"/>
                    <a:pt x="41" y="87"/>
                  </a:cubicBezTo>
                  <a:close/>
                </a:path>
              </a:pathLst>
            </a:custGeom>
            <a:solidFill>
              <a:srgbClr val="4AC6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Sľidè">
              <a:extLst>
                <a:ext uri="{FF2B5EF4-FFF2-40B4-BE49-F238E27FC236}">
                  <a16:creationId xmlns:a16="http://schemas.microsoft.com/office/drawing/2014/main" id="{06B6EF3A-F78A-4AD0-AEB3-24AFA0B867F4}"/>
                </a:ext>
              </a:extLst>
            </p:cNvPr>
            <p:cNvSpPr/>
            <p:nvPr/>
          </p:nvSpPr>
          <p:spPr bwMode="auto">
            <a:xfrm>
              <a:off x="8520114" y="3003551"/>
              <a:ext cx="220663" cy="298450"/>
            </a:xfrm>
            <a:custGeom>
              <a:avLst/>
              <a:gdLst>
                <a:gd name="T0" fmla="*/ 0 w 56"/>
                <a:gd name="T1" fmla="*/ 76 h 76"/>
                <a:gd name="T2" fmla="*/ 24 w 56"/>
                <a:gd name="T3" fmla="*/ 11 h 76"/>
                <a:gd name="T4" fmla="*/ 0 w 56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76">
                  <a:moveTo>
                    <a:pt x="0" y="76"/>
                  </a:moveTo>
                  <a:cubicBezTo>
                    <a:pt x="0" y="76"/>
                    <a:pt x="0" y="22"/>
                    <a:pt x="24" y="11"/>
                  </a:cubicBezTo>
                  <a:cubicBezTo>
                    <a:pt x="47" y="0"/>
                    <a:pt x="56" y="35"/>
                    <a:pt x="0" y="76"/>
                  </a:cubicBezTo>
                  <a:close/>
                </a:path>
              </a:pathLst>
            </a:custGeom>
            <a:solidFill>
              <a:srgbClr val="4AC6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š1iḍê">
              <a:extLst>
                <a:ext uri="{FF2B5EF4-FFF2-40B4-BE49-F238E27FC236}">
                  <a16:creationId xmlns:a16="http://schemas.microsoft.com/office/drawing/2014/main" id="{0AF65F15-4C97-48D8-A6FD-1A2764299BE9}"/>
                </a:ext>
              </a:extLst>
            </p:cNvPr>
            <p:cNvSpPr/>
            <p:nvPr/>
          </p:nvSpPr>
          <p:spPr bwMode="auto">
            <a:xfrm>
              <a:off x="3014664" y="4283076"/>
              <a:ext cx="268288" cy="228600"/>
            </a:xfrm>
            <a:custGeom>
              <a:avLst/>
              <a:gdLst>
                <a:gd name="T0" fmla="*/ 68 w 68"/>
                <a:gd name="T1" fmla="*/ 58 h 58"/>
                <a:gd name="T2" fmla="*/ 26 w 68"/>
                <a:gd name="T3" fmla="*/ 3 h 58"/>
                <a:gd name="T4" fmla="*/ 68 w 68"/>
                <a:gd name="T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8" h="58">
                  <a:moveTo>
                    <a:pt x="68" y="58"/>
                  </a:moveTo>
                  <a:cubicBezTo>
                    <a:pt x="68" y="58"/>
                    <a:pt x="52" y="7"/>
                    <a:pt x="26" y="3"/>
                  </a:cubicBezTo>
                  <a:cubicBezTo>
                    <a:pt x="0" y="0"/>
                    <a:pt x="2" y="36"/>
                    <a:pt x="68" y="58"/>
                  </a:cubicBezTo>
                  <a:close/>
                </a:path>
              </a:pathLst>
            </a:custGeom>
            <a:solidFill>
              <a:srgbClr val="790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ṩḻîďé">
              <a:extLst>
                <a:ext uri="{FF2B5EF4-FFF2-40B4-BE49-F238E27FC236}">
                  <a16:creationId xmlns:a16="http://schemas.microsoft.com/office/drawing/2014/main" id="{74FA31EE-B720-46FE-BF1C-DB7502BFD6C5}"/>
                </a:ext>
              </a:extLst>
            </p:cNvPr>
            <p:cNvSpPr/>
            <p:nvPr/>
          </p:nvSpPr>
          <p:spPr bwMode="auto">
            <a:xfrm>
              <a:off x="3038476" y="4562476"/>
              <a:ext cx="177800" cy="207963"/>
            </a:xfrm>
            <a:custGeom>
              <a:avLst/>
              <a:gdLst>
                <a:gd name="T0" fmla="*/ 45 w 45"/>
                <a:gd name="T1" fmla="*/ 53 h 53"/>
                <a:gd name="T2" fmla="*/ 22 w 45"/>
                <a:gd name="T3" fmla="*/ 6 h 53"/>
                <a:gd name="T4" fmla="*/ 45 w 45"/>
                <a:gd name="T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" h="53">
                  <a:moveTo>
                    <a:pt x="45" y="53"/>
                  </a:moveTo>
                  <a:cubicBezTo>
                    <a:pt x="45" y="53"/>
                    <a:pt x="40" y="13"/>
                    <a:pt x="22" y="6"/>
                  </a:cubicBezTo>
                  <a:cubicBezTo>
                    <a:pt x="3" y="0"/>
                    <a:pt x="0" y="27"/>
                    <a:pt x="45" y="53"/>
                  </a:cubicBezTo>
                  <a:close/>
                </a:path>
              </a:pathLst>
            </a:custGeom>
            <a:solidFill>
              <a:srgbClr val="790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ŝļiḋé">
              <a:extLst>
                <a:ext uri="{FF2B5EF4-FFF2-40B4-BE49-F238E27FC236}">
                  <a16:creationId xmlns:a16="http://schemas.microsoft.com/office/drawing/2014/main" id="{7FB23AA2-9A96-4BED-A687-4964F864AA9E}"/>
                </a:ext>
              </a:extLst>
            </p:cNvPr>
            <p:cNvSpPr/>
            <p:nvPr/>
          </p:nvSpPr>
          <p:spPr bwMode="auto">
            <a:xfrm>
              <a:off x="9380539" y="3525838"/>
              <a:ext cx="173038" cy="203200"/>
            </a:xfrm>
            <a:custGeom>
              <a:avLst/>
              <a:gdLst>
                <a:gd name="T0" fmla="*/ 0 w 44"/>
                <a:gd name="T1" fmla="*/ 52 h 52"/>
                <a:gd name="T2" fmla="*/ 22 w 44"/>
                <a:gd name="T3" fmla="*/ 6 h 52"/>
                <a:gd name="T4" fmla="*/ 0 w 44"/>
                <a:gd name="T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52">
                  <a:moveTo>
                    <a:pt x="0" y="52"/>
                  </a:moveTo>
                  <a:cubicBezTo>
                    <a:pt x="0" y="52"/>
                    <a:pt x="4" y="13"/>
                    <a:pt x="22" y="6"/>
                  </a:cubicBezTo>
                  <a:cubicBezTo>
                    <a:pt x="40" y="0"/>
                    <a:pt x="44" y="26"/>
                    <a:pt x="0" y="52"/>
                  </a:cubicBezTo>
                  <a:close/>
                </a:path>
              </a:pathLst>
            </a:custGeom>
            <a:solidFill>
              <a:srgbClr val="006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ṥľîḍé">
              <a:extLst>
                <a:ext uri="{FF2B5EF4-FFF2-40B4-BE49-F238E27FC236}">
                  <a16:creationId xmlns:a16="http://schemas.microsoft.com/office/drawing/2014/main" id="{6F42B9E7-01ED-4368-BE94-774B5DF50741}"/>
                </a:ext>
              </a:extLst>
            </p:cNvPr>
            <p:cNvSpPr/>
            <p:nvPr/>
          </p:nvSpPr>
          <p:spPr bwMode="auto">
            <a:xfrm>
              <a:off x="8532814" y="3305176"/>
              <a:ext cx="173038" cy="204788"/>
            </a:xfrm>
            <a:custGeom>
              <a:avLst/>
              <a:gdLst>
                <a:gd name="T0" fmla="*/ 0 w 44"/>
                <a:gd name="T1" fmla="*/ 52 h 52"/>
                <a:gd name="T2" fmla="*/ 23 w 44"/>
                <a:gd name="T3" fmla="*/ 6 h 52"/>
                <a:gd name="T4" fmla="*/ 0 w 44"/>
                <a:gd name="T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52">
                  <a:moveTo>
                    <a:pt x="0" y="52"/>
                  </a:moveTo>
                  <a:cubicBezTo>
                    <a:pt x="0" y="52"/>
                    <a:pt x="5" y="13"/>
                    <a:pt x="23" y="6"/>
                  </a:cubicBezTo>
                  <a:cubicBezTo>
                    <a:pt x="41" y="0"/>
                    <a:pt x="44" y="26"/>
                    <a:pt x="0" y="52"/>
                  </a:cubicBezTo>
                  <a:close/>
                </a:path>
              </a:pathLst>
            </a:custGeom>
            <a:solidFill>
              <a:srgbClr val="4AC6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ṣļiḍe">
              <a:extLst>
                <a:ext uri="{FF2B5EF4-FFF2-40B4-BE49-F238E27FC236}">
                  <a16:creationId xmlns:a16="http://schemas.microsoft.com/office/drawing/2014/main" id="{DD99996E-4B94-4E8F-BEE9-8DF3C493AE5D}"/>
                </a:ext>
              </a:extLst>
            </p:cNvPr>
            <p:cNvSpPr/>
            <p:nvPr/>
          </p:nvSpPr>
          <p:spPr bwMode="auto">
            <a:xfrm>
              <a:off x="2724151" y="5191126"/>
              <a:ext cx="258763" cy="157163"/>
            </a:xfrm>
            <a:custGeom>
              <a:avLst/>
              <a:gdLst>
                <a:gd name="T0" fmla="*/ 66 w 66"/>
                <a:gd name="T1" fmla="*/ 21 h 40"/>
                <a:gd name="T2" fmla="*/ 16 w 66"/>
                <a:gd name="T3" fmla="*/ 10 h 40"/>
                <a:gd name="T4" fmla="*/ 66 w 66"/>
                <a:gd name="T5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40">
                  <a:moveTo>
                    <a:pt x="66" y="21"/>
                  </a:moveTo>
                  <a:cubicBezTo>
                    <a:pt x="66" y="21"/>
                    <a:pt x="32" y="0"/>
                    <a:pt x="16" y="10"/>
                  </a:cubicBezTo>
                  <a:cubicBezTo>
                    <a:pt x="0" y="21"/>
                    <a:pt x="18" y="40"/>
                    <a:pt x="66" y="21"/>
                  </a:cubicBezTo>
                  <a:close/>
                </a:path>
              </a:pathLst>
            </a:custGeom>
            <a:solidFill>
              <a:srgbClr val="FFAA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ṥlíďe">
              <a:extLst>
                <a:ext uri="{FF2B5EF4-FFF2-40B4-BE49-F238E27FC236}">
                  <a16:creationId xmlns:a16="http://schemas.microsoft.com/office/drawing/2014/main" id="{927EE3B6-B499-48BF-BBA9-31DC30CD98A9}"/>
                </a:ext>
              </a:extLst>
            </p:cNvPr>
            <p:cNvSpPr/>
            <p:nvPr/>
          </p:nvSpPr>
          <p:spPr bwMode="auto">
            <a:xfrm>
              <a:off x="7246939" y="4133851"/>
              <a:ext cx="681038" cy="1492250"/>
            </a:xfrm>
            <a:custGeom>
              <a:avLst/>
              <a:gdLst>
                <a:gd name="T0" fmla="*/ 126 w 173"/>
                <a:gd name="T1" fmla="*/ 377 h 380"/>
                <a:gd name="T2" fmla="*/ 82 w 173"/>
                <a:gd name="T3" fmla="*/ 345 h 380"/>
                <a:gd name="T4" fmla="*/ 44 w 173"/>
                <a:gd name="T5" fmla="*/ 233 h 380"/>
                <a:gd name="T6" fmla="*/ 46 w 173"/>
                <a:gd name="T7" fmla="*/ 137 h 380"/>
                <a:gd name="T8" fmla="*/ 57 w 173"/>
                <a:gd name="T9" fmla="*/ 0 h 380"/>
                <a:gd name="T10" fmla="*/ 67 w 173"/>
                <a:gd name="T11" fmla="*/ 35 h 380"/>
                <a:gd name="T12" fmla="*/ 96 w 173"/>
                <a:gd name="T13" fmla="*/ 91 h 380"/>
                <a:gd name="T14" fmla="*/ 146 w 173"/>
                <a:gd name="T15" fmla="*/ 168 h 380"/>
                <a:gd name="T16" fmla="*/ 165 w 173"/>
                <a:gd name="T17" fmla="*/ 296 h 380"/>
                <a:gd name="T18" fmla="*/ 126 w 173"/>
                <a:gd name="T19" fmla="*/ 37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3" h="380">
                  <a:moveTo>
                    <a:pt x="126" y="377"/>
                  </a:moveTo>
                  <a:cubicBezTo>
                    <a:pt x="124" y="380"/>
                    <a:pt x="85" y="347"/>
                    <a:pt x="82" y="345"/>
                  </a:cubicBezTo>
                  <a:cubicBezTo>
                    <a:pt x="51" y="315"/>
                    <a:pt x="41" y="275"/>
                    <a:pt x="44" y="233"/>
                  </a:cubicBezTo>
                  <a:cubicBezTo>
                    <a:pt x="46" y="202"/>
                    <a:pt x="60" y="168"/>
                    <a:pt x="46" y="137"/>
                  </a:cubicBezTo>
                  <a:cubicBezTo>
                    <a:pt x="33" y="106"/>
                    <a:pt x="0" y="54"/>
                    <a:pt x="57" y="0"/>
                  </a:cubicBezTo>
                  <a:cubicBezTo>
                    <a:pt x="57" y="0"/>
                    <a:pt x="66" y="32"/>
                    <a:pt x="67" y="35"/>
                  </a:cubicBezTo>
                  <a:cubicBezTo>
                    <a:pt x="72" y="58"/>
                    <a:pt x="81" y="73"/>
                    <a:pt x="96" y="91"/>
                  </a:cubicBezTo>
                  <a:cubicBezTo>
                    <a:pt x="115" y="115"/>
                    <a:pt x="133" y="140"/>
                    <a:pt x="146" y="168"/>
                  </a:cubicBezTo>
                  <a:cubicBezTo>
                    <a:pt x="164" y="208"/>
                    <a:pt x="173" y="252"/>
                    <a:pt x="165" y="296"/>
                  </a:cubicBezTo>
                  <a:cubicBezTo>
                    <a:pt x="155" y="341"/>
                    <a:pt x="126" y="377"/>
                    <a:pt x="126" y="377"/>
                  </a:cubicBezTo>
                  <a:close/>
                </a:path>
              </a:pathLst>
            </a:custGeom>
            <a:solidFill>
              <a:srgbClr val="1F4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Sľïḍê">
              <a:extLst>
                <a:ext uri="{FF2B5EF4-FFF2-40B4-BE49-F238E27FC236}">
                  <a16:creationId xmlns:a16="http://schemas.microsoft.com/office/drawing/2014/main" id="{8AF44B83-8F1A-4053-82AE-0CF701AFDE83}"/>
                </a:ext>
              </a:extLst>
            </p:cNvPr>
            <p:cNvSpPr/>
            <p:nvPr/>
          </p:nvSpPr>
          <p:spPr bwMode="auto">
            <a:xfrm>
              <a:off x="7456489" y="4362451"/>
              <a:ext cx="266700" cy="1074738"/>
            </a:xfrm>
            <a:custGeom>
              <a:avLst/>
              <a:gdLst>
                <a:gd name="T0" fmla="*/ 5 w 68"/>
                <a:gd name="T1" fmla="*/ 2 h 274"/>
                <a:gd name="T2" fmla="*/ 22 w 68"/>
                <a:gd name="T3" fmla="*/ 67 h 274"/>
                <a:gd name="T4" fmla="*/ 49 w 68"/>
                <a:gd name="T5" fmla="*/ 129 h 274"/>
                <a:gd name="T6" fmla="*/ 59 w 68"/>
                <a:gd name="T7" fmla="*/ 163 h 274"/>
                <a:gd name="T8" fmla="*/ 64 w 68"/>
                <a:gd name="T9" fmla="*/ 197 h 274"/>
                <a:gd name="T10" fmla="*/ 68 w 68"/>
                <a:gd name="T11" fmla="*/ 265 h 274"/>
                <a:gd name="T12" fmla="*/ 60 w 68"/>
                <a:gd name="T13" fmla="*/ 274 h 274"/>
                <a:gd name="T14" fmla="*/ 52 w 68"/>
                <a:gd name="T15" fmla="*/ 266 h 274"/>
                <a:gd name="T16" fmla="*/ 52 w 68"/>
                <a:gd name="T17" fmla="*/ 265 h 274"/>
                <a:gd name="T18" fmla="*/ 50 w 68"/>
                <a:gd name="T19" fmla="*/ 198 h 274"/>
                <a:gd name="T20" fmla="*/ 47 w 68"/>
                <a:gd name="T21" fmla="*/ 165 h 274"/>
                <a:gd name="T22" fmla="*/ 39 w 68"/>
                <a:gd name="T23" fmla="*/ 133 h 274"/>
                <a:gd name="T24" fmla="*/ 15 w 68"/>
                <a:gd name="T25" fmla="*/ 70 h 274"/>
                <a:gd name="T26" fmla="*/ 0 w 68"/>
                <a:gd name="T27" fmla="*/ 2 h 274"/>
                <a:gd name="T28" fmla="*/ 3 w 68"/>
                <a:gd name="T29" fmla="*/ 0 h 274"/>
                <a:gd name="T30" fmla="*/ 5 w 68"/>
                <a:gd name="T31" fmla="*/ 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8" h="274">
                  <a:moveTo>
                    <a:pt x="5" y="2"/>
                  </a:moveTo>
                  <a:cubicBezTo>
                    <a:pt x="6" y="24"/>
                    <a:pt x="13" y="46"/>
                    <a:pt x="22" y="67"/>
                  </a:cubicBezTo>
                  <a:cubicBezTo>
                    <a:pt x="31" y="87"/>
                    <a:pt x="41" y="108"/>
                    <a:pt x="49" y="129"/>
                  </a:cubicBezTo>
                  <a:cubicBezTo>
                    <a:pt x="53" y="140"/>
                    <a:pt x="56" y="151"/>
                    <a:pt x="59" y="163"/>
                  </a:cubicBezTo>
                  <a:cubicBezTo>
                    <a:pt x="61" y="174"/>
                    <a:pt x="63" y="186"/>
                    <a:pt x="64" y="197"/>
                  </a:cubicBezTo>
                  <a:cubicBezTo>
                    <a:pt x="66" y="220"/>
                    <a:pt x="68" y="243"/>
                    <a:pt x="68" y="265"/>
                  </a:cubicBezTo>
                  <a:cubicBezTo>
                    <a:pt x="68" y="270"/>
                    <a:pt x="65" y="274"/>
                    <a:pt x="60" y="274"/>
                  </a:cubicBezTo>
                  <a:cubicBezTo>
                    <a:pt x="56" y="274"/>
                    <a:pt x="52" y="270"/>
                    <a:pt x="52" y="266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52" y="243"/>
                    <a:pt x="52" y="221"/>
                    <a:pt x="50" y="198"/>
                  </a:cubicBezTo>
                  <a:cubicBezTo>
                    <a:pt x="50" y="187"/>
                    <a:pt x="49" y="176"/>
                    <a:pt x="47" y="165"/>
                  </a:cubicBezTo>
                  <a:cubicBezTo>
                    <a:pt x="45" y="154"/>
                    <a:pt x="42" y="143"/>
                    <a:pt x="39" y="133"/>
                  </a:cubicBezTo>
                  <a:cubicBezTo>
                    <a:pt x="32" y="112"/>
                    <a:pt x="23" y="91"/>
                    <a:pt x="15" y="70"/>
                  </a:cubicBezTo>
                  <a:cubicBezTo>
                    <a:pt x="6" y="48"/>
                    <a:pt x="0" y="25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rgbClr val="5A8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ŝḷíḋe">
              <a:extLst>
                <a:ext uri="{FF2B5EF4-FFF2-40B4-BE49-F238E27FC236}">
                  <a16:creationId xmlns:a16="http://schemas.microsoft.com/office/drawing/2014/main" id="{D265D8A0-1127-4B08-8684-DAE8E9AF5857}"/>
                </a:ext>
              </a:extLst>
            </p:cNvPr>
            <p:cNvSpPr/>
            <p:nvPr/>
          </p:nvSpPr>
          <p:spPr bwMode="auto">
            <a:xfrm>
              <a:off x="7640639" y="2794001"/>
              <a:ext cx="774700" cy="915988"/>
            </a:xfrm>
            <a:custGeom>
              <a:avLst/>
              <a:gdLst>
                <a:gd name="T0" fmla="*/ 165 w 197"/>
                <a:gd name="T1" fmla="*/ 149 h 233"/>
                <a:gd name="T2" fmla="*/ 165 w 197"/>
                <a:gd name="T3" fmla="*/ 55 h 233"/>
                <a:gd name="T4" fmla="*/ 152 w 197"/>
                <a:gd name="T5" fmla="*/ 33 h 233"/>
                <a:gd name="T6" fmla="*/ 87 w 197"/>
                <a:gd name="T7" fmla="*/ 0 h 233"/>
                <a:gd name="T8" fmla="*/ 9 w 197"/>
                <a:gd name="T9" fmla="*/ 41 h 233"/>
                <a:gd name="T10" fmla="*/ 32 w 197"/>
                <a:gd name="T11" fmla="*/ 206 h 233"/>
                <a:gd name="T12" fmla="*/ 8 w 197"/>
                <a:gd name="T13" fmla="*/ 233 h 233"/>
                <a:gd name="T14" fmla="*/ 52 w 197"/>
                <a:gd name="T15" fmla="*/ 217 h 233"/>
                <a:gd name="T16" fmla="*/ 46 w 197"/>
                <a:gd name="T17" fmla="*/ 125 h 233"/>
                <a:gd name="T18" fmla="*/ 62 w 197"/>
                <a:gd name="T19" fmla="*/ 50 h 233"/>
                <a:gd name="T20" fmla="*/ 126 w 197"/>
                <a:gd name="T21" fmla="*/ 67 h 233"/>
                <a:gd name="T22" fmla="*/ 151 w 197"/>
                <a:gd name="T23" fmla="*/ 151 h 233"/>
                <a:gd name="T24" fmla="*/ 152 w 197"/>
                <a:gd name="T25" fmla="*/ 166 h 233"/>
                <a:gd name="T26" fmla="*/ 197 w 197"/>
                <a:gd name="T27" fmla="*/ 162 h 233"/>
                <a:gd name="T28" fmla="*/ 165 w 197"/>
                <a:gd name="T29" fmla="*/ 14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7" h="233">
                  <a:moveTo>
                    <a:pt x="165" y="149"/>
                  </a:moveTo>
                  <a:cubicBezTo>
                    <a:pt x="165" y="149"/>
                    <a:pt x="167" y="85"/>
                    <a:pt x="165" y="55"/>
                  </a:cubicBezTo>
                  <a:cubicBezTo>
                    <a:pt x="164" y="47"/>
                    <a:pt x="160" y="39"/>
                    <a:pt x="152" y="33"/>
                  </a:cubicBezTo>
                  <a:cubicBezTo>
                    <a:pt x="119" y="10"/>
                    <a:pt x="87" y="0"/>
                    <a:pt x="87" y="0"/>
                  </a:cubicBezTo>
                  <a:cubicBezTo>
                    <a:pt x="87" y="0"/>
                    <a:pt x="22" y="11"/>
                    <a:pt x="9" y="41"/>
                  </a:cubicBezTo>
                  <a:cubicBezTo>
                    <a:pt x="8" y="61"/>
                    <a:pt x="0" y="133"/>
                    <a:pt x="32" y="206"/>
                  </a:cubicBezTo>
                  <a:cubicBezTo>
                    <a:pt x="26" y="214"/>
                    <a:pt x="11" y="224"/>
                    <a:pt x="8" y="233"/>
                  </a:cubicBezTo>
                  <a:cubicBezTo>
                    <a:pt x="52" y="217"/>
                    <a:pt x="52" y="217"/>
                    <a:pt x="52" y="217"/>
                  </a:cubicBezTo>
                  <a:cubicBezTo>
                    <a:pt x="52" y="217"/>
                    <a:pt x="41" y="142"/>
                    <a:pt x="46" y="125"/>
                  </a:cubicBezTo>
                  <a:cubicBezTo>
                    <a:pt x="48" y="109"/>
                    <a:pt x="62" y="50"/>
                    <a:pt x="62" y="5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2" y="166"/>
                    <a:pt x="152" y="166"/>
                    <a:pt x="152" y="166"/>
                  </a:cubicBezTo>
                  <a:cubicBezTo>
                    <a:pt x="197" y="162"/>
                    <a:pt x="197" y="162"/>
                    <a:pt x="197" y="162"/>
                  </a:cubicBezTo>
                  <a:cubicBezTo>
                    <a:pt x="184" y="154"/>
                    <a:pt x="165" y="149"/>
                    <a:pt x="165" y="149"/>
                  </a:cubicBezTo>
                </a:path>
              </a:pathLst>
            </a:custGeom>
            <a:solidFill>
              <a:srgbClr val="9A84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iŝḻîḑè">
              <a:extLst>
                <a:ext uri="{FF2B5EF4-FFF2-40B4-BE49-F238E27FC236}">
                  <a16:creationId xmlns:a16="http://schemas.microsoft.com/office/drawing/2014/main" id="{0644B4C7-8F22-4B95-AB1F-CEFE3999052F}"/>
                </a:ext>
              </a:extLst>
            </p:cNvPr>
            <p:cNvSpPr/>
            <p:nvPr/>
          </p:nvSpPr>
          <p:spPr bwMode="auto">
            <a:xfrm>
              <a:off x="7907339" y="2951163"/>
              <a:ext cx="306388" cy="263525"/>
            </a:xfrm>
            <a:custGeom>
              <a:avLst/>
              <a:gdLst>
                <a:gd name="T0" fmla="*/ 76 w 78"/>
                <a:gd name="T1" fmla="*/ 63 h 67"/>
                <a:gd name="T2" fmla="*/ 78 w 78"/>
                <a:gd name="T3" fmla="*/ 66 h 67"/>
                <a:gd name="T4" fmla="*/ 77 w 78"/>
                <a:gd name="T5" fmla="*/ 62 h 67"/>
                <a:gd name="T6" fmla="*/ 73 w 78"/>
                <a:gd name="T7" fmla="*/ 51 h 67"/>
                <a:gd name="T8" fmla="*/ 74 w 78"/>
                <a:gd name="T9" fmla="*/ 55 h 67"/>
                <a:gd name="T10" fmla="*/ 75 w 78"/>
                <a:gd name="T11" fmla="*/ 55 h 67"/>
                <a:gd name="T12" fmla="*/ 73 w 78"/>
                <a:gd name="T13" fmla="*/ 50 h 67"/>
                <a:gd name="T14" fmla="*/ 69 w 78"/>
                <a:gd name="T15" fmla="*/ 39 h 67"/>
                <a:gd name="T16" fmla="*/ 71 w 78"/>
                <a:gd name="T17" fmla="*/ 44 h 67"/>
                <a:gd name="T18" fmla="*/ 71 w 78"/>
                <a:gd name="T19" fmla="*/ 43 h 67"/>
                <a:gd name="T20" fmla="*/ 69 w 78"/>
                <a:gd name="T21" fmla="*/ 39 h 67"/>
                <a:gd name="T22" fmla="*/ 67 w 78"/>
                <a:gd name="T23" fmla="*/ 32 h 67"/>
                <a:gd name="T24" fmla="*/ 67 w 78"/>
                <a:gd name="T25" fmla="*/ 30 h 67"/>
                <a:gd name="T26" fmla="*/ 58 w 78"/>
                <a:gd name="T27" fmla="*/ 18 h 67"/>
                <a:gd name="T28" fmla="*/ 61 w 78"/>
                <a:gd name="T29" fmla="*/ 21 h 67"/>
                <a:gd name="T30" fmla="*/ 62 w 78"/>
                <a:gd name="T31" fmla="*/ 21 h 67"/>
                <a:gd name="T32" fmla="*/ 59 w 78"/>
                <a:gd name="T33" fmla="*/ 17 h 67"/>
                <a:gd name="T34" fmla="*/ 47 w 78"/>
                <a:gd name="T35" fmla="*/ 13 h 67"/>
                <a:gd name="T36" fmla="*/ 51 w 78"/>
                <a:gd name="T37" fmla="*/ 15 h 67"/>
                <a:gd name="T38" fmla="*/ 52 w 78"/>
                <a:gd name="T39" fmla="*/ 15 h 67"/>
                <a:gd name="T40" fmla="*/ 47 w 78"/>
                <a:gd name="T41" fmla="*/ 13 h 67"/>
                <a:gd name="T42" fmla="*/ 35 w 78"/>
                <a:gd name="T43" fmla="*/ 10 h 67"/>
                <a:gd name="T44" fmla="*/ 39 w 78"/>
                <a:gd name="T45" fmla="*/ 11 h 67"/>
                <a:gd name="T46" fmla="*/ 40 w 78"/>
                <a:gd name="T47" fmla="*/ 11 h 67"/>
                <a:gd name="T48" fmla="*/ 36 w 78"/>
                <a:gd name="T49" fmla="*/ 9 h 67"/>
                <a:gd name="T50" fmla="*/ 23 w 78"/>
                <a:gd name="T51" fmla="*/ 6 h 67"/>
                <a:gd name="T52" fmla="*/ 28 w 78"/>
                <a:gd name="T53" fmla="*/ 8 h 67"/>
                <a:gd name="T54" fmla="*/ 28 w 78"/>
                <a:gd name="T55" fmla="*/ 8 h 67"/>
                <a:gd name="T56" fmla="*/ 24 w 78"/>
                <a:gd name="T57" fmla="*/ 6 h 67"/>
                <a:gd name="T58" fmla="*/ 12 w 78"/>
                <a:gd name="T59" fmla="*/ 3 h 67"/>
                <a:gd name="T60" fmla="*/ 16 w 78"/>
                <a:gd name="T61" fmla="*/ 5 h 67"/>
                <a:gd name="T62" fmla="*/ 17 w 78"/>
                <a:gd name="T63" fmla="*/ 5 h 67"/>
                <a:gd name="T64" fmla="*/ 12 w 78"/>
                <a:gd name="T65" fmla="*/ 3 h 67"/>
                <a:gd name="T66" fmla="*/ 0 w 78"/>
                <a:gd name="T67" fmla="*/ 1 h 67"/>
                <a:gd name="T68" fmla="*/ 4 w 78"/>
                <a:gd name="T69" fmla="*/ 2 h 67"/>
                <a:gd name="T70" fmla="*/ 5 w 78"/>
                <a:gd name="T71" fmla="*/ 2 h 67"/>
                <a:gd name="T72" fmla="*/ 0 w 78"/>
                <a:gd name="T7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8" h="67">
                  <a:moveTo>
                    <a:pt x="77" y="62"/>
                  </a:moveTo>
                  <a:cubicBezTo>
                    <a:pt x="76" y="63"/>
                    <a:pt x="76" y="63"/>
                    <a:pt x="76" y="63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8" y="66"/>
                    <a:pt x="78" y="66"/>
                    <a:pt x="78" y="66"/>
                  </a:cubicBezTo>
                  <a:cubicBezTo>
                    <a:pt x="78" y="65"/>
                    <a:pt x="78" y="64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moveTo>
                    <a:pt x="73" y="50"/>
                  </a:moveTo>
                  <a:cubicBezTo>
                    <a:pt x="73" y="51"/>
                    <a:pt x="73" y="51"/>
                    <a:pt x="73" y="51"/>
                  </a:cubicBezTo>
                  <a:cubicBezTo>
                    <a:pt x="73" y="52"/>
                    <a:pt x="74" y="54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3"/>
                    <a:pt x="74" y="52"/>
                    <a:pt x="74" y="51"/>
                  </a:cubicBezTo>
                  <a:cubicBezTo>
                    <a:pt x="73" y="50"/>
                    <a:pt x="73" y="50"/>
                    <a:pt x="73" y="50"/>
                  </a:cubicBezTo>
                  <a:moveTo>
                    <a:pt x="69" y="39"/>
                  </a:moveTo>
                  <a:cubicBezTo>
                    <a:pt x="69" y="39"/>
                    <a:pt x="69" y="39"/>
                    <a:pt x="69" y="39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0" y="40"/>
                    <a:pt x="70" y="39"/>
                  </a:cubicBezTo>
                  <a:cubicBezTo>
                    <a:pt x="69" y="39"/>
                    <a:pt x="69" y="39"/>
                    <a:pt x="69" y="39"/>
                  </a:cubicBezTo>
                  <a:moveTo>
                    <a:pt x="67" y="30"/>
                  </a:moveTo>
                  <a:cubicBezTo>
                    <a:pt x="67" y="32"/>
                    <a:pt x="67" y="32"/>
                    <a:pt x="67" y="32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31"/>
                    <a:pt x="67" y="30"/>
                    <a:pt x="67" y="30"/>
                  </a:cubicBezTo>
                  <a:moveTo>
                    <a:pt x="59" y="17"/>
                  </a:move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9" y="19"/>
                    <a:pt x="60" y="20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1" y="19"/>
                    <a:pt x="60" y="18"/>
                    <a:pt x="59" y="17"/>
                  </a:cubicBezTo>
                  <a:moveTo>
                    <a:pt x="47" y="13"/>
                  </a:moveTo>
                  <a:cubicBezTo>
                    <a:pt x="47" y="13"/>
                    <a:pt x="47" y="13"/>
                    <a:pt x="47" y="13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8" y="14"/>
                    <a:pt x="50" y="1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0" y="14"/>
                    <a:pt x="49" y="13"/>
                    <a:pt x="47" y="13"/>
                  </a:cubicBezTo>
                  <a:moveTo>
                    <a:pt x="36" y="9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7" y="11"/>
                    <a:pt x="38" y="11"/>
                    <a:pt x="39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38" y="10"/>
                    <a:pt x="37" y="10"/>
                    <a:pt x="36" y="9"/>
                  </a:cubicBezTo>
                  <a:moveTo>
                    <a:pt x="24" y="6"/>
                  </a:moveTo>
                  <a:cubicBezTo>
                    <a:pt x="23" y="6"/>
                    <a:pt x="23" y="6"/>
                    <a:pt x="23" y="6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5" y="7"/>
                    <a:pt x="26" y="8"/>
                    <a:pt x="28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25" y="6"/>
                    <a:pt x="24" y="6"/>
                  </a:cubicBezTo>
                  <a:moveTo>
                    <a:pt x="12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5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4" y="3"/>
                    <a:pt x="12" y="3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2" y="1"/>
                    <a:pt x="0" y="0"/>
                  </a:cubicBezTo>
                </a:path>
              </a:pathLst>
            </a:custGeom>
            <a:solidFill>
              <a:srgbClr val="7B64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ṩľîḋê">
              <a:extLst>
                <a:ext uri="{FF2B5EF4-FFF2-40B4-BE49-F238E27FC236}">
                  <a16:creationId xmlns:a16="http://schemas.microsoft.com/office/drawing/2014/main" id="{AF284B35-A62B-40DF-B348-A27B4981866F}"/>
                </a:ext>
              </a:extLst>
            </p:cNvPr>
            <p:cNvSpPr/>
            <p:nvPr/>
          </p:nvSpPr>
          <p:spPr bwMode="auto">
            <a:xfrm>
              <a:off x="7864476" y="2944813"/>
              <a:ext cx="15875" cy="11113"/>
            </a:xfrm>
            <a:custGeom>
              <a:avLst/>
              <a:gdLst>
                <a:gd name="T0" fmla="*/ 1 w 4"/>
                <a:gd name="T1" fmla="*/ 0 h 3"/>
                <a:gd name="T2" fmla="*/ 1 w 4"/>
                <a:gd name="T3" fmla="*/ 1 h 3"/>
                <a:gd name="T4" fmla="*/ 0 w 4"/>
                <a:gd name="T5" fmla="*/ 3 h 3"/>
                <a:gd name="T6" fmla="*/ 0 w 4"/>
                <a:gd name="T7" fmla="*/ 3 h 3"/>
                <a:gd name="T8" fmla="*/ 1 w 4"/>
                <a:gd name="T9" fmla="*/ 3 h 3"/>
                <a:gd name="T10" fmla="*/ 1 w 4"/>
                <a:gd name="T11" fmla="*/ 3 h 3"/>
                <a:gd name="T12" fmla="*/ 2 w 4"/>
                <a:gd name="T13" fmla="*/ 1 h 3"/>
                <a:gd name="T14" fmla="*/ 3 w 4"/>
                <a:gd name="T15" fmla="*/ 2 h 3"/>
                <a:gd name="T16" fmla="*/ 4 w 4"/>
                <a:gd name="T17" fmla="*/ 1 h 3"/>
                <a:gd name="T18" fmla="*/ 4 w 4"/>
                <a:gd name="T19" fmla="*/ 1 h 3"/>
                <a:gd name="T20" fmla="*/ 2 w 4"/>
                <a:gd name="T21" fmla="*/ 0 h 3"/>
                <a:gd name="T22" fmla="*/ 1 w 4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3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7B64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ṩ1ïdè">
              <a:extLst>
                <a:ext uri="{FF2B5EF4-FFF2-40B4-BE49-F238E27FC236}">
                  <a16:creationId xmlns:a16="http://schemas.microsoft.com/office/drawing/2014/main" id="{91350D5B-72D2-42F2-8CE2-F14D2386B3AD}"/>
                </a:ext>
              </a:extLst>
            </p:cNvPr>
            <p:cNvSpPr/>
            <p:nvPr/>
          </p:nvSpPr>
          <p:spPr bwMode="auto">
            <a:xfrm>
              <a:off x="7770814" y="2982913"/>
              <a:ext cx="85725" cy="484188"/>
            </a:xfrm>
            <a:custGeom>
              <a:avLst/>
              <a:gdLst>
                <a:gd name="T0" fmla="*/ 5 w 22"/>
                <a:gd name="T1" fmla="*/ 119 h 123"/>
                <a:gd name="T2" fmla="*/ 6 w 22"/>
                <a:gd name="T3" fmla="*/ 123 h 123"/>
                <a:gd name="T4" fmla="*/ 4 w 22"/>
                <a:gd name="T5" fmla="*/ 106 h 123"/>
                <a:gd name="T6" fmla="*/ 4 w 22"/>
                <a:gd name="T7" fmla="*/ 111 h 123"/>
                <a:gd name="T8" fmla="*/ 4 w 22"/>
                <a:gd name="T9" fmla="*/ 111 h 123"/>
                <a:gd name="T10" fmla="*/ 4 w 22"/>
                <a:gd name="T11" fmla="*/ 106 h 123"/>
                <a:gd name="T12" fmla="*/ 2 w 22"/>
                <a:gd name="T13" fmla="*/ 94 h 123"/>
                <a:gd name="T14" fmla="*/ 2 w 22"/>
                <a:gd name="T15" fmla="*/ 99 h 123"/>
                <a:gd name="T16" fmla="*/ 3 w 22"/>
                <a:gd name="T17" fmla="*/ 99 h 123"/>
                <a:gd name="T18" fmla="*/ 2 w 22"/>
                <a:gd name="T19" fmla="*/ 94 h 123"/>
                <a:gd name="T20" fmla="*/ 1 w 22"/>
                <a:gd name="T21" fmla="*/ 82 h 123"/>
                <a:gd name="T22" fmla="*/ 1 w 22"/>
                <a:gd name="T23" fmla="*/ 86 h 123"/>
                <a:gd name="T24" fmla="*/ 1 w 22"/>
                <a:gd name="T25" fmla="*/ 87 h 123"/>
                <a:gd name="T26" fmla="*/ 1 w 22"/>
                <a:gd name="T27" fmla="*/ 82 h 123"/>
                <a:gd name="T28" fmla="*/ 0 w 22"/>
                <a:gd name="T29" fmla="*/ 70 h 123"/>
                <a:gd name="T30" fmla="*/ 0 w 22"/>
                <a:gd name="T31" fmla="*/ 74 h 123"/>
                <a:gd name="T32" fmla="*/ 0 w 22"/>
                <a:gd name="T33" fmla="*/ 75 h 123"/>
                <a:gd name="T34" fmla="*/ 1 w 22"/>
                <a:gd name="T35" fmla="*/ 71 h 123"/>
                <a:gd name="T36" fmla="*/ 0 w 22"/>
                <a:gd name="T37" fmla="*/ 70 h 123"/>
                <a:gd name="T38" fmla="*/ 2 w 22"/>
                <a:gd name="T39" fmla="*/ 58 h 123"/>
                <a:gd name="T40" fmla="*/ 2 w 22"/>
                <a:gd name="T41" fmla="*/ 63 h 123"/>
                <a:gd name="T42" fmla="*/ 2 w 22"/>
                <a:gd name="T43" fmla="*/ 62 h 123"/>
                <a:gd name="T44" fmla="*/ 3 w 22"/>
                <a:gd name="T45" fmla="*/ 58 h 123"/>
                <a:gd name="T46" fmla="*/ 5 w 22"/>
                <a:gd name="T47" fmla="*/ 46 h 123"/>
                <a:gd name="T48" fmla="*/ 4 w 22"/>
                <a:gd name="T49" fmla="*/ 51 h 123"/>
                <a:gd name="T50" fmla="*/ 5 w 22"/>
                <a:gd name="T51" fmla="*/ 50 h 123"/>
                <a:gd name="T52" fmla="*/ 5 w 22"/>
                <a:gd name="T53" fmla="*/ 46 h 123"/>
                <a:gd name="T54" fmla="*/ 8 w 22"/>
                <a:gd name="T55" fmla="*/ 34 h 123"/>
                <a:gd name="T56" fmla="*/ 7 w 22"/>
                <a:gd name="T57" fmla="*/ 39 h 123"/>
                <a:gd name="T58" fmla="*/ 8 w 22"/>
                <a:gd name="T59" fmla="*/ 39 h 123"/>
                <a:gd name="T60" fmla="*/ 9 w 22"/>
                <a:gd name="T61" fmla="*/ 34 h 123"/>
                <a:gd name="T62" fmla="*/ 12 w 22"/>
                <a:gd name="T63" fmla="*/ 23 h 123"/>
                <a:gd name="T64" fmla="*/ 11 w 22"/>
                <a:gd name="T65" fmla="*/ 27 h 123"/>
                <a:gd name="T66" fmla="*/ 12 w 22"/>
                <a:gd name="T67" fmla="*/ 27 h 123"/>
                <a:gd name="T68" fmla="*/ 13 w 22"/>
                <a:gd name="T69" fmla="*/ 22 h 123"/>
                <a:gd name="T70" fmla="*/ 16 w 22"/>
                <a:gd name="T71" fmla="*/ 11 h 123"/>
                <a:gd name="T72" fmla="*/ 15 w 22"/>
                <a:gd name="T73" fmla="*/ 16 h 123"/>
                <a:gd name="T74" fmla="*/ 16 w 22"/>
                <a:gd name="T75" fmla="*/ 15 h 123"/>
                <a:gd name="T76" fmla="*/ 17 w 22"/>
                <a:gd name="T77" fmla="*/ 11 h 123"/>
                <a:gd name="T78" fmla="*/ 21 w 22"/>
                <a:gd name="T79" fmla="*/ 0 h 123"/>
                <a:gd name="T80" fmla="*/ 19 w 22"/>
                <a:gd name="T81" fmla="*/ 4 h 123"/>
                <a:gd name="T82" fmla="*/ 20 w 22"/>
                <a:gd name="T83" fmla="*/ 4 h 123"/>
                <a:gd name="T84" fmla="*/ 21 w 22"/>
                <a:gd name="T8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" h="123">
                  <a:moveTo>
                    <a:pt x="5" y="118"/>
                  </a:moveTo>
                  <a:cubicBezTo>
                    <a:pt x="5" y="119"/>
                    <a:pt x="5" y="119"/>
                    <a:pt x="5" y="119"/>
                  </a:cubicBezTo>
                  <a:cubicBezTo>
                    <a:pt x="5" y="120"/>
                    <a:pt x="6" y="121"/>
                    <a:pt x="6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5" y="118"/>
                    <a:pt x="5" y="118"/>
                    <a:pt x="5" y="118"/>
                  </a:cubicBezTo>
                  <a:moveTo>
                    <a:pt x="4" y="106"/>
                  </a:moveTo>
                  <a:cubicBezTo>
                    <a:pt x="3" y="107"/>
                    <a:pt x="3" y="107"/>
                    <a:pt x="3" y="107"/>
                  </a:cubicBezTo>
                  <a:cubicBezTo>
                    <a:pt x="3" y="108"/>
                    <a:pt x="4" y="109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4" y="106"/>
                    <a:pt x="4" y="106"/>
                    <a:pt x="4" y="106"/>
                  </a:cubicBezTo>
                  <a:cubicBezTo>
                    <a:pt x="4" y="106"/>
                    <a:pt x="4" y="106"/>
                    <a:pt x="4" y="106"/>
                  </a:cubicBezTo>
                  <a:moveTo>
                    <a:pt x="2" y="94"/>
                  </a:moveTo>
                  <a:cubicBezTo>
                    <a:pt x="2" y="95"/>
                    <a:pt x="2" y="95"/>
                    <a:pt x="2" y="95"/>
                  </a:cubicBezTo>
                  <a:cubicBezTo>
                    <a:pt x="2" y="96"/>
                    <a:pt x="2" y="97"/>
                    <a:pt x="2" y="99"/>
                  </a:cubicBezTo>
                  <a:cubicBezTo>
                    <a:pt x="3" y="99"/>
                    <a:pt x="3" y="99"/>
                    <a:pt x="3" y="99"/>
                  </a:cubicBezTo>
                  <a:cubicBezTo>
                    <a:pt x="3" y="99"/>
                    <a:pt x="3" y="99"/>
                    <a:pt x="3" y="99"/>
                  </a:cubicBezTo>
                  <a:cubicBezTo>
                    <a:pt x="3" y="99"/>
                    <a:pt x="3" y="99"/>
                    <a:pt x="3" y="99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2" y="94"/>
                    <a:pt x="2" y="94"/>
                    <a:pt x="2" y="94"/>
                  </a:cubicBezTo>
                  <a:moveTo>
                    <a:pt x="1" y="82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4"/>
                    <a:pt x="1" y="85"/>
                    <a:pt x="1" y="86"/>
                  </a:cubicBezTo>
                  <a:cubicBezTo>
                    <a:pt x="1" y="87"/>
                    <a:pt x="1" y="87"/>
                    <a:pt x="1" y="87"/>
                  </a:cubicBezTo>
                  <a:cubicBezTo>
                    <a:pt x="1" y="87"/>
                    <a:pt x="1" y="87"/>
                    <a:pt x="1" y="87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1" y="82"/>
                    <a:pt x="1" y="82"/>
                    <a:pt x="1" y="82"/>
                  </a:cubicBezTo>
                  <a:moveTo>
                    <a:pt x="0" y="70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2"/>
                    <a:pt x="0" y="73"/>
                    <a:pt x="0" y="7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1" y="73"/>
                    <a:pt x="1" y="72"/>
                    <a:pt x="1" y="71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0" y="70"/>
                    <a:pt x="0" y="70"/>
                    <a:pt x="0" y="70"/>
                  </a:cubicBezTo>
                  <a:moveTo>
                    <a:pt x="3" y="58"/>
                  </a:moveTo>
                  <a:cubicBezTo>
                    <a:pt x="2" y="58"/>
                    <a:pt x="2" y="58"/>
                    <a:pt x="2" y="58"/>
                  </a:cubicBezTo>
                  <a:cubicBezTo>
                    <a:pt x="2" y="59"/>
                    <a:pt x="2" y="61"/>
                    <a:pt x="1" y="62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3" y="61"/>
                    <a:pt x="3" y="60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moveTo>
                    <a:pt x="5" y="46"/>
                  </a:moveTo>
                  <a:cubicBezTo>
                    <a:pt x="5" y="46"/>
                    <a:pt x="5" y="46"/>
                    <a:pt x="5" y="46"/>
                  </a:cubicBezTo>
                  <a:cubicBezTo>
                    <a:pt x="5" y="47"/>
                    <a:pt x="4" y="49"/>
                    <a:pt x="4" y="50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49"/>
                    <a:pt x="6" y="48"/>
                    <a:pt x="6" y="46"/>
                  </a:cubicBezTo>
                  <a:cubicBezTo>
                    <a:pt x="5" y="46"/>
                    <a:pt x="5" y="46"/>
                    <a:pt x="5" y="46"/>
                  </a:cubicBezTo>
                  <a:moveTo>
                    <a:pt x="9" y="34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8" y="36"/>
                    <a:pt x="7" y="37"/>
                    <a:pt x="7" y="38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7"/>
                    <a:pt x="9" y="36"/>
                    <a:pt x="9" y="35"/>
                  </a:cubicBezTo>
                  <a:cubicBezTo>
                    <a:pt x="9" y="34"/>
                    <a:pt x="9" y="34"/>
                    <a:pt x="9" y="34"/>
                  </a:cubicBezTo>
                  <a:moveTo>
                    <a:pt x="13" y="22"/>
                  </a:moveTo>
                  <a:cubicBezTo>
                    <a:pt x="12" y="23"/>
                    <a:pt x="12" y="23"/>
                    <a:pt x="12" y="23"/>
                  </a:cubicBezTo>
                  <a:cubicBezTo>
                    <a:pt x="11" y="24"/>
                    <a:pt x="11" y="25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6"/>
                    <a:pt x="12" y="24"/>
                    <a:pt x="13" y="23"/>
                  </a:cubicBezTo>
                  <a:cubicBezTo>
                    <a:pt x="13" y="22"/>
                    <a:pt x="13" y="22"/>
                    <a:pt x="13" y="22"/>
                  </a:cubicBezTo>
                  <a:moveTo>
                    <a:pt x="17" y="11"/>
                  </a:moveTo>
                  <a:cubicBezTo>
                    <a:pt x="16" y="11"/>
                    <a:pt x="16" y="11"/>
                    <a:pt x="16" y="11"/>
                  </a:cubicBezTo>
                  <a:cubicBezTo>
                    <a:pt x="16" y="12"/>
                    <a:pt x="15" y="14"/>
                    <a:pt x="15" y="15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4"/>
                    <a:pt x="17" y="13"/>
                    <a:pt x="17" y="12"/>
                  </a:cubicBezTo>
                  <a:cubicBezTo>
                    <a:pt x="17" y="11"/>
                    <a:pt x="17" y="11"/>
                    <a:pt x="17" y="11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0" y="1"/>
                    <a:pt x="20" y="2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3"/>
                    <a:pt x="21" y="1"/>
                    <a:pt x="22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7B64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ṡḻíďe">
              <a:extLst>
                <a:ext uri="{FF2B5EF4-FFF2-40B4-BE49-F238E27FC236}">
                  <a16:creationId xmlns:a16="http://schemas.microsoft.com/office/drawing/2014/main" id="{588C5A1E-5CBA-4AD8-8907-19F3B4663FBC}"/>
                </a:ext>
              </a:extLst>
            </p:cNvPr>
            <p:cNvSpPr/>
            <p:nvPr/>
          </p:nvSpPr>
          <p:spPr bwMode="auto">
            <a:xfrm>
              <a:off x="7883526" y="2990851"/>
              <a:ext cx="404813" cy="420688"/>
            </a:xfrm>
            <a:custGeom>
              <a:avLst/>
              <a:gdLst>
                <a:gd name="T0" fmla="*/ 93 w 103"/>
                <a:gd name="T1" fmla="*/ 92 h 107"/>
                <a:gd name="T2" fmla="*/ 92 w 103"/>
                <a:gd name="T3" fmla="*/ 92 h 107"/>
                <a:gd name="T4" fmla="*/ 91 w 103"/>
                <a:gd name="T5" fmla="*/ 88 h 107"/>
                <a:gd name="T6" fmla="*/ 92 w 103"/>
                <a:gd name="T7" fmla="*/ 87 h 107"/>
                <a:gd name="T8" fmla="*/ 92 w 103"/>
                <a:gd name="T9" fmla="*/ 88 h 107"/>
                <a:gd name="T10" fmla="*/ 93 w 103"/>
                <a:gd name="T11" fmla="*/ 92 h 107"/>
                <a:gd name="T12" fmla="*/ 93 w 103"/>
                <a:gd name="T13" fmla="*/ 92 h 107"/>
                <a:gd name="T14" fmla="*/ 93 w 103"/>
                <a:gd name="T15" fmla="*/ 92 h 107"/>
                <a:gd name="T16" fmla="*/ 90 w 103"/>
                <a:gd name="T17" fmla="*/ 80 h 107"/>
                <a:gd name="T18" fmla="*/ 89 w 103"/>
                <a:gd name="T19" fmla="*/ 80 h 107"/>
                <a:gd name="T20" fmla="*/ 88 w 103"/>
                <a:gd name="T21" fmla="*/ 76 h 107"/>
                <a:gd name="T22" fmla="*/ 89 w 103"/>
                <a:gd name="T23" fmla="*/ 76 h 107"/>
                <a:gd name="T24" fmla="*/ 89 w 103"/>
                <a:gd name="T25" fmla="*/ 76 h 107"/>
                <a:gd name="T26" fmla="*/ 90 w 103"/>
                <a:gd name="T27" fmla="*/ 80 h 107"/>
                <a:gd name="T28" fmla="*/ 90 w 103"/>
                <a:gd name="T29" fmla="*/ 80 h 107"/>
                <a:gd name="T30" fmla="*/ 90 w 103"/>
                <a:gd name="T31" fmla="*/ 80 h 107"/>
                <a:gd name="T32" fmla="*/ 87 w 103"/>
                <a:gd name="T33" fmla="*/ 69 h 107"/>
                <a:gd name="T34" fmla="*/ 86 w 103"/>
                <a:gd name="T35" fmla="*/ 68 h 107"/>
                <a:gd name="T36" fmla="*/ 85 w 103"/>
                <a:gd name="T37" fmla="*/ 64 h 107"/>
                <a:gd name="T38" fmla="*/ 86 w 103"/>
                <a:gd name="T39" fmla="*/ 64 h 107"/>
                <a:gd name="T40" fmla="*/ 86 w 103"/>
                <a:gd name="T41" fmla="*/ 64 h 107"/>
                <a:gd name="T42" fmla="*/ 87 w 103"/>
                <a:gd name="T43" fmla="*/ 68 h 107"/>
                <a:gd name="T44" fmla="*/ 87 w 103"/>
                <a:gd name="T45" fmla="*/ 69 h 107"/>
                <a:gd name="T46" fmla="*/ 87 w 103"/>
                <a:gd name="T47" fmla="*/ 69 h 107"/>
                <a:gd name="T48" fmla="*/ 0 w 103"/>
                <a:gd name="T49" fmla="*/ 0 h 107"/>
                <a:gd name="T50" fmla="*/ 64 w 103"/>
                <a:gd name="T51" fmla="*/ 17 h 107"/>
                <a:gd name="T52" fmla="*/ 89 w 103"/>
                <a:gd name="T53" fmla="*/ 101 h 107"/>
                <a:gd name="T54" fmla="*/ 90 w 103"/>
                <a:gd name="T55" fmla="*/ 107 h 107"/>
                <a:gd name="T56" fmla="*/ 103 w 103"/>
                <a:gd name="T57" fmla="*/ 99 h 107"/>
                <a:gd name="T58" fmla="*/ 84 w 103"/>
                <a:gd name="T59" fmla="*/ 57 h 107"/>
                <a:gd name="T60" fmla="*/ 84 w 103"/>
                <a:gd name="T61" fmla="*/ 57 h 107"/>
                <a:gd name="T62" fmla="*/ 84 w 103"/>
                <a:gd name="T63" fmla="*/ 57 h 107"/>
                <a:gd name="T64" fmla="*/ 83 w 103"/>
                <a:gd name="T65" fmla="*/ 57 h 107"/>
                <a:gd name="T66" fmla="*/ 82 w 103"/>
                <a:gd name="T67" fmla="*/ 53 h 107"/>
                <a:gd name="T68" fmla="*/ 82 w 103"/>
                <a:gd name="T69" fmla="*/ 53 h 107"/>
                <a:gd name="T70" fmla="*/ 77 w 103"/>
                <a:gd name="T71" fmla="*/ 33 h 107"/>
                <a:gd name="T72" fmla="*/ 76 w 103"/>
                <a:gd name="T73" fmla="*/ 33 h 107"/>
                <a:gd name="T74" fmla="*/ 75 w 103"/>
                <a:gd name="T75" fmla="*/ 29 h 107"/>
                <a:gd name="T76" fmla="*/ 75 w 103"/>
                <a:gd name="T77" fmla="*/ 29 h 107"/>
                <a:gd name="T78" fmla="*/ 73 w 103"/>
                <a:gd name="T79" fmla="*/ 22 h 107"/>
                <a:gd name="T80" fmla="*/ 73 w 103"/>
                <a:gd name="T81" fmla="*/ 22 h 107"/>
                <a:gd name="T82" fmla="*/ 73 w 103"/>
                <a:gd name="T83" fmla="*/ 22 h 107"/>
                <a:gd name="T84" fmla="*/ 72 w 103"/>
                <a:gd name="T85" fmla="*/ 22 h 107"/>
                <a:gd name="T86" fmla="*/ 71 w 103"/>
                <a:gd name="T87" fmla="*/ 18 h 107"/>
                <a:gd name="T88" fmla="*/ 71 w 103"/>
                <a:gd name="T89" fmla="*/ 17 h 107"/>
                <a:gd name="T90" fmla="*/ 72 w 103"/>
                <a:gd name="T91" fmla="*/ 18 h 107"/>
                <a:gd name="T92" fmla="*/ 73 w 103"/>
                <a:gd name="T93" fmla="*/ 20 h 107"/>
                <a:gd name="T94" fmla="*/ 71 w 103"/>
                <a:gd name="T95" fmla="*/ 13 h 107"/>
                <a:gd name="T96" fmla="*/ 0 w 103"/>
                <a:gd name="T9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3" h="107">
                  <a:moveTo>
                    <a:pt x="93" y="92"/>
                  </a:moveTo>
                  <a:cubicBezTo>
                    <a:pt x="92" y="92"/>
                    <a:pt x="92" y="92"/>
                    <a:pt x="92" y="92"/>
                  </a:cubicBezTo>
                  <a:cubicBezTo>
                    <a:pt x="92" y="91"/>
                    <a:pt x="92" y="89"/>
                    <a:pt x="91" y="88"/>
                  </a:cubicBezTo>
                  <a:cubicBezTo>
                    <a:pt x="92" y="87"/>
                    <a:pt x="92" y="87"/>
                    <a:pt x="92" y="87"/>
                  </a:cubicBezTo>
                  <a:cubicBezTo>
                    <a:pt x="92" y="88"/>
                    <a:pt x="92" y="88"/>
                    <a:pt x="92" y="88"/>
                  </a:cubicBezTo>
                  <a:cubicBezTo>
                    <a:pt x="93" y="89"/>
                    <a:pt x="93" y="90"/>
                    <a:pt x="93" y="92"/>
                  </a:cubicBezTo>
                  <a:cubicBezTo>
                    <a:pt x="93" y="92"/>
                    <a:pt x="93" y="92"/>
                    <a:pt x="93" y="92"/>
                  </a:cubicBezTo>
                  <a:cubicBezTo>
                    <a:pt x="93" y="92"/>
                    <a:pt x="93" y="92"/>
                    <a:pt x="93" y="92"/>
                  </a:cubicBezTo>
                  <a:moveTo>
                    <a:pt x="90" y="80"/>
                  </a:moveTo>
                  <a:cubicBezTo>
                    <a:pt x="89" y="80"/>
                    <a:pt x="89" y="80"/>
                    <a:pt x="89" y="80"/>
                  </a:cubicBezTo>
                  <a:cubicBezTo>
                    <a:pt x="89" y="79"/>
                    <a:pt x="89" y="77"/>
                    <a:pt x="88" y="76"/>
                  </a:cubicBezTo>
                  <a:cubicBezTo>
                    <a:pt x="89" y="76"/>
                    <a:pt x="89" y="76"/>
                    <a:pt x="89" y="76"/>
                  </a:cubicBezTo>
                  <a:cubicBezTo>
                    <a:pt x="89" y="76"/>
                    <a:pt x="89" y="76"/>
                    <a:pt x="89" y="76"/>
                  </a:cubicBezTo>
                  <a:cubicBezTo>
                    <a:pt x="90" y="77"/>
                    <a:pt x="90" y="79"/>
                    <a:pt x="90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80"/>
                    <a:pt x="90" y="80"/>
                    <a:pt x="90" y="80"/>
                  </a:cubicBezTo>
                  <a:moveTo>
                    <a:pt x="87" y="69"/>
                  </a:moveTo>
                  <a:cubicBezTo>
                    <a:pt x="86" y="68"/>
                    <a:pt x="86" y="68"/>
                    <a:pt x="86" y="68"/>
                  </a:cubicBezTo>
                  <a:cubicBezTo>
                    <a:pt x="86" y="67"/>
                    <a:pt x="86" y="66"/>
                    <a:pt x="85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7" y="65"/>
                    <a:pt x="87" y="67"/>
                    <a:pt x="87" y="68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7" y="69"/>
                    <a:pt x="87" y="69"/>
                    <a:pt x="87" y="69"/>
                  </a:cubicBezTo>
                  <a:moveTo>
                    <a:pt x="0" y="0"/>
                  </a:moveTo>
                  <a:cubicBezTo>
                    <a:pt x="64" y="17"/>
                    <a:pt x="64" y="17"/>
                    <a:pt x="64" y="17"/>
                  </a:cubicBezTo>
                  <a:cubicBezTo>
                    <a:pt x="89" y="101"/>
                    <a:pt x="89" y="101"/>
                    <a:pt x="89" y="101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5" y="106"/>
                    <a:pt x="99" y="103"/>
                    <a:pt x="103" y="99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5"/>
                    <a:pt x="83" y="54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76" y="32"/>
                    <a:pt x="75" y="31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1"/>
                    <a:pt x="71" y="19"/>
                    <a:pt x="71" y="18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8"/>
                    <a:pt x="72" y="19"/>
                    <a:pt x="73" y="20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B64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ṧlîḑé">
              <a:extLst>
                <a:ext uri="{FF2B5EF4-FFF2-40B4-BE49-F238E27FC236}">
                  <a16:creationId xmlns:a16="http://schemas.microsoft.com/office/drawing/2014/main" id="{5A6E6063-33BD-4716-BC59-3961714AD1F5}"/>
                </a:ext>
              </a:extLst>
            </p:cNvPr>
            <p:cNvSpPr/>
            <p:nvPr/>
          </p:nvSpPr>
          <p:spPr bwMode="auto">
            <a:xfrm>
              <a:off x="8162926" y="3057526"/>
              <a:ext cx="87313" cy="295275"/>
            </a:xfrm>
            <a:custGeom>
              <a:avLst/>
              <a:gdLst>
                <a:gd name="T0" fmla="*/ 21 w 22"/>
                <a:gd name="T1" fmla="*/ 70 h 75"/>
                <a:gd name="T2" fmla="*/ 20 w 22"/>
                <a:gd name="T3" fmla="*/ 71 h 75"/>
                <a:gd name="T4" fmla="*/ 21 w 22"/>
                <a:gd name="T5" fmla="*/ 75 h 75"/>
                <a:gd name="T6" fmla="*/ 22 w 22"/>
                <a:gd name="T7" fmla="*/ 75 h 75"/>
                <a:gd name="T8" fmla="*/ 22 w 22"/>
                <a:gd name="T9" fmla="*/ 75 h 75"/>
                <a:gd name="T10" fmla="*/ 22 w 22"/>
                <a:gd name="T11" fmla="*/ 75 h 75"/>
                <a:gd name="T12" fmla="*/ 21 w 22"/>
                <a:gd name="T13" fmla="*/ 71 h 75"/>
                <a:gd name="T14" fmla="*/ 21 w 22"/>
                <a:gd name="T15" fmla="*/ 70 h 75"/>
                <a:gd name="T16" fmla="*/ 18 w 22"/>
                <a:gd name="T17" fmla="*/ 59 h 75"/>
                <a:gd name="T18" fmla="*/ 17 w 22"/>
                <a:gd name="T19" fmla="*/ 59 h 75"/>
                <a:gd name="T20" fmla="*/ 18 w 22"/>
                <a:gd name="T21" fmla="*/ 63 h 75"/>
                <a:gd name="T22" fmla="*/ 19 w 22"/>
                <a:gd name="T23" fmla="*/ 63 h 75"/>
                <a:gd name="T24" fmla="*/ 19 w 22"/>
                <a:gd name="T25" fmla="*/ 63 h 75"/>
                <a:gd name="T26" fmla="*/ 19 w 22"/>
                <a:gd name="T27" fmla="*/ 63 h 75"/>
                <a:gd name="T28" fmla="*/ 18 w 22"/>
                <a:gd name="T29" fmla="*/ 59 h 75"/>
                <a:gd name="T30" fmla="*/ 18 w 22"/>
                <a:gd name="T31" fmla="*/ 59 h 75"/>
                <a:gd name="T32" fmla="*/ 15 w 22"/>
                <a:gd name="T33" fmla="*/ 47 h 75"/>
                <a:gd name="T34" fmla="*/ 14 w 22"/>
                <a:gd name="T35" fmla="*/ 47 h 75"/>
                <a:gd name="T36" fmla="*/ 15 w 22"/>
                <a:gd name="T37" fmla="*/ 51 h 75"/>
                <a:gd name="T38" fmla="*/ 16 w 22"/>
                <a:gd name="T39" fmla="*/ 52 h 75"/>
                <a:gd name="T40" fmla="*/ 16 w 22"/>
                <a:gd name="T41" fmla="*/ 52 h 75"/>
                <a:gd name="T42" fmla="*/ 16 w 22"/>
                <a:gd name="T43" fmla="*/ 51 h 75"/>
                <a:gd name="T44" fmla="*/ 15 w 22"/>
                <a:gd name="T45" fmla="*/ 47 h 75"/>
                <a:gd name="T46" fmla="*/ 15 w 22"/>
                <a:gd name="T47" fmla="*/ 47 h 75"/>
                <a:gd name="T48" fmla="*/ 11 w 22"/>
                <a:gd name="T49" fmla="*/ 36 h 75"/>
                <a:gd name="T50" fmla="*/ 11 w 22"/>
                <a:gd name="T51" fmla="*/ 36 h 75"/>
                <a:gd name="T52" fmla="*/ 12 w 22"/>
                <a:gd name="T53" fmla="*/ 40 h 75"/>
                <a:gd name="T54" fmla="*/ 13 w 22"/>
                <a:gd name="T55" fmla="*/ 40 h 75"/>
                <a:gd name="T56" fmla="*/ 13 w 22"/>
                <a:gd name="T57" fmla="*/ 40 h 75"/>
                <a:gd name="T58" fmla="*/ 13 w 22"/>
                <a:gd name="T59" fmla="*/ 40 h 75"/>
                <a:gd name="T60" fmla="*/ 11 w 22"/>
                <a:gd name="T61" fmla="*/ 36 h 75"/>
                <a:gd name="T62" fmla="*/ 4 w 22"/>
                <a:gd name="T63" fmla="*/ 12 h 75"/>
                <a:gd name="T64" fmla="*/ 4 w 22"/>
                <a:gd name="T65" fmla="*/ 12 h 75"/>
                <a:gd name="T66" fmla="*/ 5 w 22"/>
                <a:gd name="T67" fmla="*/ 16 h 75"/>
                <a:gd name="T68" fmla="*/ 6 w 22"/>
                <a:gd name="T69" fmla="*/ 16 h 75"/>
                <a:gd name="T70" fmla="*/ 4 w 22"/>
                <a:gd name="T71" fmla="*/ 12 h 75"/>
                <a:gd name="T72" fmla="*/ 0 w 22"/>
                <a:gd name="T73" fmla="*/ 0 h 75"/>
                <a:gd name="T74" fmla="*/ 0 w 22"/>
                <a:gd name="T75" fmla="*/ 1 h 75"/>
                <a:gd name="T76" fmla="*/ 1 w 22"/>
                <a:gd name="T77" fmla="*/ 5 h 75"/>
                <a:gd name="T78" fmla="*/ 2 w 22"/>
                <a:gd name="T79" fmla="*/ 5 h 75"/>
                <a:gd name="T80" fmla="*/ 2 w 22"/>
                <a:gd name="T81" fmla="*/ 5 h 75"/>
                <a:gd name="T82" fmla="*/ 2 w 22"/>
                <a:gd name="T83" fmla="*/ 5 h 75"/>
                <a:gd name="T84" fmla="*/ 2 w 22"/>
                <a:gd name="T85" fmla="*/ 3 h 75"/>
                <a:gd name="T86" fmla="*/ 1 w 22"/>
                <a:gd name="T87" fmla="*/ 1 h 75"/>
                <a:gd name="T88" fmla="*/ 0 w 22"/>
                <a:gd name="T8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" h="75">
                  <a:moveTo>
                    <a:pt x="21" y="70"/>
                  </a:moveTo>
                  <a:cubicBezTo>
                    <a:pt x="20" y="71"/>
                    <a:pt x="20" y="71"/>
                    <a:pt x="20" y="71"/>
                  </a:cubicBezTo>
                  <a:cubicBezTo>
                    <a:pt x="21" y="72"/>
                    <a:pt x="21" y="74"/>
                    <a:pt x="21" y="7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3"/>
                    <a:pt x="22" y="72"/>
                    <a:pt x="21" y="71"/>
                  </a:cubicBezTo>
                  <a:cubicBezTo>
                    <a:pt x="21" y="70"/>
                    <a:pt x="21" y="70"/>
                    <a:pt x="21" y="70"/>
                  </a:cubicBezTo>
                  <a:moveTo>
                    <a:pt x="18" y="59"/>
                  </a:moveTo>
                  <a:cubicBezTo>
                    <a:pt x="17" y="59"/>
                    <a:pt x="17" y="59"/>
                    <a:pt x="17" y="59"/>
                  </a:cubicBezTo>
                  <a:cubicBezTo>
                    <a:pt x="18" y="60"/>
                    <a:pt x="18" y="62"/>
                    <a:pt x="18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9" y="62"/>
                    <a:pt x="19" y="60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moveTo>
                    <a:pt x="15" y="47"/>
                  </a:moveTo>
                  <a:cubicBezTo>
                    <a:pt x="14" y="47"/>
                    <a:pt x="14" y="47"/>
                    <a:pt x="14" y="47"/>
                  </a:cubicBezTo>
                  <a:cubicBezTo>
                    <a:pt x="15" y="49"/>
                    <a:pt x="15" y="50"/>
                    <a:pt x="15" y="51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0"/>
                    <a:pt x="16" y="48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moveTo>
                    <a:pt x="11" y="36"/>
                  </a:moveTo>
                  <a:cubicBezTo>
                    <a:pt x="11" y="36"/>
                    <a:pt x="11" y="36"/>
                    <a:pt x="11" y="36"/>
                  </a:cubicBezTo>
                  <a:cubicBezTo>
                    <a:pt x="12" y="37"/>
                    <a:pt x="12" y="38"/>
                    <a:pt x="1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1" y="36"/>
                    <a:pt x="11" y="36"/>
                    <a:pt x="11" y="36"/>
                  </a:cubicBezTo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4"/>
                    <a:pt x="5" y="15"/>
                    <a:pt x="5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4" y="12"/>
                    <a:pt x="4" y="12"/>
                    <a:pt x="4" y="12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24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ṥľídé">
              <a:extLst>
                <a:ext uri="{FF2B5EF4-FFF2-40B4-BE49-F238E27FC236}">
                  <a16:creationId xmlns:a16="http://schemas.microsoft.com/office/drawing/2014/main" id="{AD53966B-EE49-4D4C-8106-4F8816CC8FAE}"/>
                </a:ext>
              </a:extLst>
            </p:cNvPr>
            <p:cNvSpPr/>
            <p:nvPr/>
          </p:nvSpPr>
          <p:spPr bwMode="auto">
            <a:xfrm>
              <a:off x="8234364" y="3379788"/>
              <a:ext cx="180975" cy="66675"/>
            </a:xfrm>
            <a:custGeom>
              <a:avLst/>
              <a:gdLst>
                <a:gd name="T0" fmla="*/ 14 w 46"/>
                <a:gd name="T1" fmla="*/ 0 h 17"/>
                <a:gd name="T2" fmla="*/ 0 w 46"/>
                <a:gd name="T3" fmla="*/ 2 h 17"/>
                <a:gd name="T4" fmla="*/ 1 w 46"/>
                <a:gd name="T5" fmla="*/ 17 h 17"/>
                <a:gd name="T6" fmla="*/ 46 w 46"/>
                <a:gd name="T7" fmla="*/ 13 h 17"/>
                <a:gd name="T8" fmla="*/ 14 w 46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7">
                  <a:moveTo>
                    <a:pt x="14" y="0"/>
                  </a:moveTo>
                  <a:cubicBezTo>
                    <a:pt x="3" y="5"/>
                    <a:pt x="0" y="2"/>
                    <a:pt x="0" y="2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33" y="5"/>
                    <a:pt x="14" y="0"/>
                    <a:pt x="14" y="0"/>
                  </a:cubicBezTo>
                  <a:close/>
                </a:path>
              </a:pathLst>
            </a:custGeom>
            <a:solidFill>
              <a:srgbClr val="3C24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šḻïḍè">
              <a:extLst>
                <a:ext uri="{FF2B5EF4-FFF2-40B4-BE49-F238E27FC236}">
                  <a16:creationId xmlns:a16="http://schemas.microsoft.com/office/drawing/2014/main" id="{3BAF764C-CC75-4922-83D1-BECA40BE981B}"/>
                </a:ext>
              </a:extLst>
            </p:cNvPr>
            <p:cNvSpPr/>
            <p:nvPr/>
          </p:nvSpPr>
          <p:spPr bwMode="auto">
            <a:xfrm>
              <a:off x="7102476" y="2868613"/>
              <a:ext cx="176213" cy="114300"/>
            </a:xfrm>
            <a:custGeom>
              <a:avLst/>
              <a:gdLst>
                <a:gd name="T0" fmla="*/ 39 w 45"/>
                <a:gd name="T1" fmla="*/ 0 h 29"/>
                <a:gd name="T2" fmla="*/ 24 w 45"/>
                <a:gd name="T3" fmla="*/ 2 h 29"/>
                <a:gd name="T4" fmla="*/ 8 w 45"/>
                <a:gd name="T5" fmla="*/ 8 h 29"/>
                <a:gd name="T6" fmla="*/ 22 w 45"/>
                <a:gd name="T7" fmla="*/ 9 h 29"/>
                <a:gd name="T8" fmla="*/ 0 w 45"/>
                <a:gd name="T9" fmla="*/ 25 h 29"/>
                <a:gd name="T10" fmla="*/ 20 w 45"/>
                <a:gd name="T11" fmla="*/ 26 h 29"/>
                <a:gd name="T12" fmla="*/ 44 w 45"/>
                <a:gd name="T13" fmla="*/ 11 h 29"/>
                <a:gd name="T14" fmla="*/ 39 w 45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9">
                  <a:moveTo>
                    <a:pt x="39" y="0"/>
                  </a:moveTo>
                  <a:cubicBezTo>
                    <a:pt x="39" y="0"/>
                    <a:pt x="31" y="2"/>
                    <a:pt x="24" y="2"/>
                  </a:cubicBezTo>
                  <a:cubicBezTo>
                    <a:pt x="16" y="3"/>
                    <a:pt x="8" y="8"/>
                    <a:pt x="8" y="8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12" y="29"/>
                    <a:pt x="20" y="26"/>
                  </a:cubicBezTo>
                  <a:cubicBezTo>
                    <a:pt x="27" y="23"/>
                    <a:pt x="44" y="11"/>
                    <a:pt x="44" y="11"/>
                  </a:cubicBezTo>
                  <a:cubicBezTo>
                    <a:pt x="44" y="11"/>
                    <a:pt x="45" y="4"/>
                    <a:pt x="39" y="0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ŝḷîḑê">
              <a:extLst>
                <a:ext uri="{FF2B5EF4-FFF2-40B4-BE49-F238E27FC236}">
                  <a16:creationId xmlns:a16="http://schemas.microsoft.com/office/drawing/2014/main" id="{EB8CCAE9-4475-4D00-9288-28738D19E9C7}"/>
                </a:ext>
              </a:extLst>
            </p:cNvPr>
            <p:cNvSpPr/>
            <p:nvPr/>
          </p:nvSpPr>
          <p:spPr bwMode="auto">
            <a:xfrm>
              <a:off x="8151814" y="2354263"/>
              <a:ext cx="82550" cy="119063"/>
            </a:xfrm>
            <a:custGeom>
              <a:avLst/>
              <a:gdLst>
                <a:gd name="T0" fmla="*/ 1 w 21"/>
                <a:gd name="T1" fmla="*/ 18 h 30"/>
                <a:gd name="T2" fmla="*/ 21 w 21"/>
                <a:gd name="T3" fmla="*/ 0 h 30"/>
                <a:gd name="T4" fmla="*/ 16 w 21"/>
                <a:gd name="T5" fmla="*/ 10 h 30"/>
                <a:gd name="T6" fmla="*/ 21 w 21"/>
                <a:gd name="T7" fmla="*/ 7 h 30"/>
                <a:gd name="T8" fmla="*/ 21 w 21"/>
                <a:gd name="T9" fmla="*/ 27 h 30"/>
                <a:gd name="T10" fmla="*/ 8 w 21"/>
                <a:gd name="T11" fmla="*/ 30 h 30"/>
                <a:gd name="T12" fmla="*/ 1 w 21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0">
                  <a:moveTo>
                    <a:pt x="1" y="18"/>
                  </a:moveTo>
                  <a:cubicBezTo>
                    <a:pt x="1" y="18"/>
                    <a:pt x="7" y="5"/>
                    <a:pt x="21" y="0"/>
                  </a:cubicBezTo>
                  <a:cubicBezTo>
                    <a:pt x="20" y="4"/>
                    <a:pt x="16" y="10"/>
                    <a:pt x="16" y="10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0" y="26"/>
                    <a:pt x="1" y="18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śļídê">
              <a:extLst>
                <a:ext uri="{FF2B5EF4-FFF2-40B4-BE49-F238E27FC236}">
                  <a16:creationId xmlns:a16="http://schemas.microsoft.com/office/drawing/2014/main" id="{D1F61CE0-7137-4AF1-A36C-F359EAE86FA3}"/>
                </a:ext>
              </a:extLst>
            </p:cNvPr>
            <p:cNvSpPr/>
            <p:nvPr/>
          </p:nvSpPr>
          <p:spPr bwMode="auto">
            <a:xfrm>
              <a:off x="7337426" y="1765301"/>
              <a:ext cx="569913" cy="346075"/>
            </a:xfrm>
            <a:custGeom>
              <a:avLst/>
              <a:gdLst>
                <a:gd name="T0" fmla="*/ 137 w 145"/>
                <a:gd name="T1" fmla="*/ 0 h 88"/>
                <a:gd name="T2" fmla="*/ 0 w 145"/>
                <a:gd name="T3" fmla="*/ 70 h 88"/>
                <a:gd name="T4" fmla="*/ 145 w 145"/>
                <a:gd name="T5" fmla="*/ 75 h 88"/>
                <a:gd name="T6" fmla="*/ 137 w 145"/>
                <a:gd name="T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5" h="88">
                  <a:moveTo>
                    <a:pt x="137" y="0"/>
                  </a:moveTo>
                  <a:cubicBezTo>
                    <a:pt x="137" y="0"/>
                    <a:pt x="84" y="47"/>
                    <a:pt x="0" y="70"/>
                  </a:cubicBezTo>
                  <a:cubicBezTo>
                    <a:pt x="40" y="78"/>
                    <a:pt x="90" y="88"/>
                    <a:pt x="145" y="75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0EA7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ŝḻîḑê">
              <a:extLst>
                <a:ext uri="{FF2B5EF4-FFF2-40B4-BE49-F238E27FC236}">
                  <a16:creationId xmlns:a16="http://schemas.microsoft.com/office/drawing/2014/main" id="{3F062726-C6C9-4D50-B377-A91E8797FC5D}"/>
                </a:ext>
              </a:extLst>
            </p:cNvPr>
            <p:cNvSpPr/>
            <p:nvPr/>
          </p:nvSpPr>
          <p:spPr bwMode="auto">
            <a:xfrm>
              <a:off x="7793039" y="1911351"/>
              <a:ext cx="114300" cy="149225"/>
            </a:xfrm>
            <a:custGeom>
              <a:avLst/>
              <a:gdLst>
                <a:gd name="T0" fmla="*/ 15 w 29"/>
                <a:gd name="T1" fmla="*/ 2 h 38"/>
                <a:gd name="T2" fmla="*/ 0 w 29"/>
                <a:gd name="T3" fmla="*/ 18 h 38"/>
                <a:gd name="T4" fmla="*/ 29 w 29"/>
                <a:gd name="T5" fmla="*/ 38 h 38"/>
                <a:gd name="T6" fmla="*/ 25 w 29"/>
                <a:gd name="T7" fmla="*/ 0 h 38"/>
                <a:gd name="T8" fmla="*/ 15 w 29"/>
                <a:gd name="T9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8">
                  <a:moveTo>
                    <a:pt x="15" y="2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6" y="34"/>
                    <a:pt x="29" y="38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15" y="2"/>
                  </a:lnTo>
                  <a:close/>
                </a:path>
              </a:pathLst>
            </a:custGeom>
            <a:solidFill>
              <a:srgbClr val="1B82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ṥḻîḓé">
              <a:extLst>
                <a:ext uri="{FF2B5EF4-FFF2-40B4-BE49-F238E27FC236}">
                  <a16:creationId xmlns:a16="http://schemas.microsoft.com/office/drawing/2014/main" id="{38566F1E-11DC-454C-8AC5-C7D1AE0A3A90}"/>
                </a:ext>
              </a:extLst>
            </p:cNvPr>
            <p:cNvSpPr/>
            <p:nvPr/>
          </p:nvSpPr>
          <p:spPr bwMode="auto">
            <a:xfrm>
              <a:off x="7742239" y="1562101"/>
              <a:ext cx="514350" cy="419100"/>
            </a:xfrm>
            <a:custGeom>
              <a:avLst/>
              <a:gdLst>
                <a:gd name="T0" fmla="*/ 131 w 131"/>
                <a:gd name="T1" fmla="*/ 0 h 107"/>
                <a:gd name="T2" fmla="*/ 8 w 131"/>
                <a:gd name="T3" fmla="*/ 35 h 107"/>
                <a:gd name="T4" fmla="*/ 13 w 131"/>
                <a:gd name="T5" fmla="*/ 107 h 107"/>
                <a:gd name="T6" fmla="*/ 128 w 131"/>
                <a:gd name="T7" fmla="*/ 88 h 107"/>
                <a:gd name="T8" fmla="*/ 131 w 131"/>
                <a:gd name="T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107">
                  <a:moveTo>
                    <a:pt x="131" y="0"/>
                  </a:moveTo>
                  <a:cubicBezTo>
                    <a:pt x="131" y="0"/>
                    <a:pt x="51" y="14"/>
                    <a:pt x="8" y="35"/>
                  </a:cubicBezTo>
                  <a:cubicBezTo>
                    <a:pt x="0" y="40"/>
                    <a:pt x="13" y="107"/>
                    <a:pt x="13" y="107"/>
                  </a:cubicBezTo>
                  <a:cubicBezTo>
                    <a:pt x="13" y="107"/>
                    <a:pt x="69" y="88"/>
                    <a:pt x="128" y="88"/>
                  </a:cubicBezTo>
                  <a:lnTo>
                    <a:pt x="131" y="0"/>
                  </a:lnTo>
                  <a:close/>
                </a:path>
              </a:pathLst>
            </a:custGeom>
            <a:solidFill>
              <a:srgbClr val="40B1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ṣľíḍe">
              <a:extLst>
                <a:ext uri="{FF2B5EF4-FFF2-40B4-BE49-F238E27FC236}">
                  <a16:creationId xmlns:a16="http://schemas.microsoft.com/office/drawing/2014/main" id="{504D867C-151D-4FA6-8747-360869A5537D}"/>
                </a:ext>
              </a:extLst>
            </p:cNvPr>
            <p:cNvSpPr/>
            <p:nvPr/>
          </p:nvSpPr>
          <p:spPr bwMode="auto">
            <a:xfrm>
              <a:off x="7254876" y="2425701"/>
              <a:ext cx="935038" cy="533400"/>
            </a:xfrm>
            <a:custGeom>
              <a:avLst/>
              <a:gdLst>
                <a:gd name="T0" fmla="*/ 0 w 238"/>
                <a:gd name="T1" fmla="*/ 113 h 136"/>
                <a:gd name="T2" fmla="*/ 6 w 238"/>
                <a:gd name="T3" fmla="*/ 126 h 136"/>
                <a:gd name="T4" fmla="*/ 87 w 238"/>
                <a:gd name="T5" fmla="*/ 68 h 136"/>
                <a:gd name="T6" fmla="*/ 107 w 238"/>
                <a:gd name="T7" fmla="*/ 135 h 136"/>
                <a:gd name="T8" fmla="*/ 185 w 238"/>
                <a:gd name="T9" fmla="*/ 94 h 136"/>
                <a:gd name="T10" fmla="*/ 149 w 238"/>
                <a:gd name="T11" fmla="*/ 45 h 136"/>
                <a:gd name="T12" fmla="*/ 236 w 238"/>
                <a:gd name="T13" fmla="*/ 12 h 136"/>
                <a:gd name="T14" fmla="*/ 229 w 238"/>
                <a:gd name="T15" fmla="*/ 0 h 136"/>
                <a:gd name="T16" fmla="*/ 194 w 238"/>
                <a:gd name="T17" fmla="*/ 19 h 136"/>
                <a:gd name="T18" fmla="*/ 131 w 238"/>
                <a:gd name="T19" fmla="*/ 8 h 136"/>
                <a:gd name="T20" fmla="*/ 76 w 238"/>
                <a:gd name="T21" fmla="*/ 29 h 136"/>
                <a:gd name="T22" fmla="*/ 38 w 238"/>
                <a:gd name="T23" fmla="*/ 81 h 136"/>
                <a:gd name="T24" fmla="*/ 0 w 238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8" h="136">
                  <a:moveTo>
                    <a:pt x="0" y="113"/>
                  </a:moveTo>
                  <a:cubicBezTo>
                    <a:pt x="0" y="113"/>
                    <a:pt x="0" y="121"/>
                    <a:pt x="6" y="126"/>
                  </a:cubicBezTo>
                  <a:cubicBezTo>
                    <a:pt x="6" y="126"/>
                    <a:pt x="64" y="96"/>
                    <a:pt x="87" y="68"/>
                  </a:cubicBezTo>
                  <a:cubicBezTo>
                    <a:pt x="91" y="77"/>
                    <a:pt x="105" y="119"/>
                    <a:pt x="107" y="135"/>
                  </a:cubicBezTo>
                  <a:cubicBezTo>
                    <a:pt x="127" y="136"/>
                    <a:pt x="171" y="117"/>
                    <a:pt x="185" y="94"/>
                  </a:cubicBezTo>
                  <a:cubicBezTo>
                    <a:pt x="185" y="94"/>
                    <a:pt x="158" y="70"/>
                    <a:pt x="149" y="45"/>
                  </a:cubicBezTo>
                  <a:cubicBezTo>
                    <a:pt x="149" y="45"/>
                    <a:pt x="200" y="46"/>
                    <a:pt x="236" y="12"/>
                  </a:cubicBezTo>
                  <a:cubicBezTo>
                    <a:pt x="236" y="12"/>
                    <a:pt x="238" y="6"/>
                    <a:pt x="229" y="0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194" y="19"/>
                    <a:pt x="150" y="10"/>
                    <a:pt x="131" y="8"/>
                  </a:cubicBezTo>
                  <a:cubicBezTo>
                    <a:pt x="119" y="8"/>
                    <a:pt x="94" y="12"/>
                    <a:pt x="76" y="29"/>
                  </a:cubicBezTo>
                  <a:cubicBezTo>
                    <a:pt x="68" y="39"/>
                    <a:pt x="52" y="58"/>
                    <a:pt x="38" y="81"/>
                  </a:cubicBezTo>
                  <a:cubicBezTo>
                    <a:pt x="30" y="88"/>
                    <a:pt x="0" y="113"/>
                    <a:pt x="0" y="113"/>
                  </a:cubicBezTo>
                </a:path>
              </a:pathLst>
            </a:custGeom>
            <a:solidFill>
              <a:srgbClr val="1F4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íṡ1íḓe">
              <a:extLst>
                <a:ext uri="{FF2B5EF4-FFF2-40B4-BE49-F238E27FC236}">
                  <a16:creationId xmlns:a16="http://schemas.microsoft.com/office/drawing/2014/main" id="{637A675C-3AD2-4B73-A022-60516048EF65}"/>
                </a:ext>
              </a:extLst>
            </p:cNvPr>
            <p:cNvSpPr/>
            <p:nvPr/>
          </p:nvSpPr>
          <p:spPr bwMode="auto">
            <a:xfrm>
              <a:off x="7624764" y="2414588"/>
              <a:ext cx="82550" cy="117475"/>
            </a:xfrm>
            <a:custGeom>
              <a:avLst/>
              <a:gdLst>
                <a:gd name="T0" fmla="*/ 0 w 21"/>
                <a:gd name="T1" fmla="*/ 5 h 30"/>
                <a:gd name="T2" fmla="*/ 1 w 21"/>
                <a:gd name="T3" fmla="*/ 23 h 30"/>
                <a:gd name="T4" fmla="*/ 13 w 21"/>
                <a:gd name="T5" fmla="*/ 26 h 30"/>
                <a:gd name="T6" fmla="*/ 20 w 21"/>
                <a:gd name="T7" fmla="*/ 17 h 30"/>
                <a:gd name="T8" fmla="*/ 10 w 21"/>
                <a:gd name="T9" fmla="*/ 0 h 30"/>
                <a:gd name="T10" fmla="*/ 0 w 21"/>
                <a:gd name="T11" fmla="*/ 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30">
                  <a:moveTo>
                    <a:pt x="0" y="5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5" y="30"/>
                    <a:pt x="13" y="26"/>
                  </a:cubicBezTo>
                  <a:cubicBezTo>
                    <a:pt x="21" y="22"/>
                    <a:pt x="20" y="17"/>
                    <a:pt x="20" y="17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2" y="1"/>
                    <a:pt x="0" y="5"/>
                  </a:cubicBezTo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ṥ1íḓè">
              <a:extLst>
                <a:ext uri="{FF2B5EF4-FFF2-40B4-BE49-F238E27FC236}">
                  <a16:creationId xmlns:a16="http://schemas.microsoft.com/office/drawing/2014/main" id="{89F88A4F-6237-4194-90AA-FE556D18D7D6}"/>
                </a:ext>
              </a:extLst>
            </p:cNvPr>
            <p:cNvSpPr/>
            <p:nvPr/>
          </p:nvSpPr>
          <p:spPr bwMode="auto">
            <a:xfrm>
              <a:off x="8170864" y="1538288"/>
              <a:ext cx="101600" cy="2003425"/>
            </a:xfrm>
            <a:custGeom>
              <a:avLst/>
              <a:gdLst>
                <a:gd name="T0" fmla="*/ 4 w 26"/>
                <a:gd name="T1" fmla="*/ 510 h 510"/>
                <a:gd name="T2" fmla="*/ 4 w 26"/>
                <a:gd name="T3" fmla="*/ 510 h 510"/>
                <a:gd name="T4" fmla="*/ 0 w 26"/>
                <a:gd name="T5" fmla="*/ 506 h 510"/>
                <a:gd name="T6" fmla="*/ 18 w 26"/>
                <a:gd name="T7" fmla="*/ 4 h 510"/>
                <a:gd name="T8" fmla="*/ 22 w 26"/>
                <a:gd name="T9" fmla="*/ 0 h 510"/>
                <a:gd name="T10" fmla="*/ 26 w 26"/>
                <a:gd name="T11" fmla="*/ 4 h 510"/>
                <a:gd name="T12" fmla="*/ 8 w 26"/>
                <a:gd name="T13" fmla="*/ 507 h 510"/>
                <a:gd name="T14" fmla="*/ 4 w 26"/>
                <a:gd name="T15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510">
                  <a:moveTo>
                    <a:pt x="4" y="510"/>
                  </a:moveTo>
                  <a:cubicBezTo>
                    <a:pt x="4" y="510"/>
                    <a:pt x="4" y="510"/>
                    <a:pt x="4" y="510"/>
                  </a:cubicBezTo>
                  <a:cubicBezTo>
                    <a:pt x="1" y="510"/>
                    <a:pt x="0" y="508"/>
                    <a:pt x="0" y="506"/>
                  </a:cubicBezTo>
                  <a:cubicBezTo>
                    <a:pt x="10" y="417"/>
                    <a:pt x="18" y="8"/>
                    <a:pt x="18" y="4"/>
                  </a:cubicBezTo>
                  <a:cubicBezTo>
                    <a:pt x="18" y="1"/>
                    <a:pt x="20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8"/>
                    <a:pt x="18" y="417"/>
                    <a:pt x="8" y="507"/>
                  </a:cubicBezTo>
                  <a:cubicBezTo>
                    <a:pt x="8" y="509"/>
                    <a:pt x="6" y="510"/>
                    <a:pt x="4" y="510"/>
                  </a:cubicBezTo>
                  <a:close/>
                </a:path>
              </a:pathLst>
            </a:custGeom>
            <a:solidFill>
              <a:srgbClr val="594A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ṩľîḋè">
              <a:extLst>
                <a:ext uri="{FF2B5EF4-FFF2-40B4-BE49-F238E27FC236}">
                  <a16:creationId xmlns:a16="http://schemas.microsoft.com/office/drawing/2014/main" id="{E9CDD513-7674-476D-9264-0D4688127BA0}"/>
                </a:ext>
              </a:extLst>
            </p:cNvPr>
            <p:cNvSpPr/>
            <p:nvPr/>
          </p:nvSpPr>
          <p:spPr bwMode="auto">
            <a:xfrm>
              <a:off x="8234364" y="2374901"/>
              <a:ext cx="46038" cy="85725"/>
            </a:xfrm>
            <a:custGeom>
              <a:avLst/>
              <a:gdLst>
                <a:gd name="T0" fmla="*/ 5 w 12"/>
                <a:gd name="T1" fmla="*/ 22 h 22"/>
                <a:gd name="T2" fmla="*/ 11 w 12"/>
                <a:gd name="T3" fmla="*/ 6 h 22"/>
                <a:gd name="T4" fmla="*/ 5 w 12"/>
                <a:gd name="T5" fmla="*/ 1 h 22"/>
                <a:gd name="T6" fmla="*/ 0 w 12"/>
                <a:gd name="T7" fmla="*/ 13 h 22"/>
                <a:gd name="T8" fmla="*/ 5 w 12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2">
                  <a:moveTo>
                    <a:pt x="5" y="22"/>
                  </a:moveTo>
                  <a:cubicBezTo>
                    <a:pt x="5" y="22"/>
                    <a:pt x="12" y="22"/>
                    <a:pt x="11" y="6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0" y="13"/>
                    <a:pt x="0" y="13"/>
                  </a:cubicBezTo>
                  <a:cubicBezTo>
                    <a:pt x="0" y="13"/>
                    <a:pt x="0" y="17"/>
                    <a:pt x="5" y="22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ṥľiḑê">
              <a:extLst>
                <a:ext uri="{FF2B5EF4-FFF2-40B4-BE49-F238E27FC236}">
                  <a16:creationId xmlns:a16="http://schemas.microsoft.com/office/drawing/2014/main" id="{4B65C157-2B4F-4FDE-B478-58B32F42AA23}"/>
                </a:ext>
              </a:extLst>
            </p:cNvPr>
            <p:cNvSpPr/>
            <p:nvPr/>
          </p:nvSpPr>
          <p:spPr bwMode="auto">
            <a:xfrm>
              <a:off x="7675564" y="2465388"/>
              <a:ext cx="55563" cy="66675"/>
            </a:xfrm>
            <a:custGeom>
              <a:avLst/>
              <a:gdLst>
                <a:gd name="T0" fmla="*/ 5 w 14"/>
                <a:gd name="T1" fmla="*/ 0 h 17"/>
                <a:gd name="T2" fmla="*/ 13 w 14"/>
                <a:gd name="T3" fmla="*/ 5 h 17"/>
                <a:gd name="T4" fmla="*/ 9 w 14"/>
                <a:gd name="T5" fmla="*/ 17 h 17"/>
                <a:gd name="T6" fmla="*/ 0 w 14"/>
                <a:gd name="T7" fmla="*/ 13 h 17"/>
                <a:gd name="T8" fmla="*/ 5 w 14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7">
                  <a:moveTo>
                    <a:pt x="5" y="0"/>
                  </a:moveTo>
                  <a:cubicBezTo>
                    <a:pt x="5" y="0"/>
                    <a:pt x="11" y="2"/>
                    <a:pt x="13" y="5"/>
                  </a:cubicBezTo>
                  <a:cubicBezTo>
                    <a:pt x="14" y="7"/>
                    <a:pt x="9" y="17"/>
                    <a:pt x="9" y="1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5" y="6"/>
                    <a:pt x="5" y="0"/>
                  </a:cubicBezTo>
                  <a:close/>
                </a:path>
              </a:pathLst>
            </a:custGeom>
            <a:solidFill>
              <a:srgbClr val="3668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íş1iḋê">
              <a:extLst>
                <a:ext uri="{FF2B5EF4-FFF2-40B4-BE49-F238E27FC236}">
                  <a16:creationId xmlns:a16="http://schemas.microsoft.com/office/drawing/2014/main" id="{400BC1E1-1179-49FF-8FB9-43F65A4A9AB0}"/>
                </a:ext>
              </a:extLst>
            </p:cNvPr>
            <p:cNvSpPr/>
            <p:nvPr/>
          </p:nvSpPr>
          <p:spPr bwMode="auto">
            <a:xfrm>
              <a:off x="7608889" y="2489201"/>
              <a:ext cx="66675" cy="61913"/>
            </a:xfrm>
            <a:custGeom>
              <a:avLst/>
              <a:gdLst>
                <a:gd name="T0" fmla="*/ 5 w 17"/>
                <a:gd name="T1" fmla="*/ 0 h 16"/>
                <a:gd name="T2" fmla="*/ 2 w 17"/>
                <a:gd name="T3" fmla="*/ 7 h 16"/>
                <a:gd name="T4" fmla="*/ 14 w 17"/>
                <a:gd name="T5" fmla="*/ 16 h 16"/>
                <a:gd name="T6" fmla="*/ 17 w 17"/>
                <a:gd name="T7" fmla="*/ 7 h 16"/>
                <a:gd name="T8" fmla="*/ 5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5" y="0"/>
                  </a:moveTo>
                  <a:cubicBezTo>
                    <a:pt x="5" y="0"/>
                    <a:pt x="0" y="5"/>
                    <a:pt x="2" y="7"/>
                  </a:cubicBezTo>
                  <a:cubicBezTo>
                    <a:pt x="6" y="14"/>
                    <a:pt x="14" y="16"/>
                    <a:pt x="14" y="16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3" y="7"/>
                    <a:pt x="5" y="0"/>
                    <a:pt x="5" y="0"/>
                  </a:cubicBezTo>
                </a:path>
              </a:pathLst>
            </a:custGeom>
            <a:solidFill>
              <a:srgbClr val="3668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ṩḷíďé">
              <a:extLst>
                <a:ext uri="{FF2B5EF4-FFF2-40B4-BE49-F238E27FC236}">
                  <a16:creationId xmlns:a16="http://schemas.microsoft.com/office/drawing/2014/main" id="{E2E4E355-4FE2-4DC1-A57C-7D3643994A77}"/>
                </a:ext>
              </a:extLst>
            </p:cNvPr>
            <p:cNvSpPr/>
            <p:nvPr/>
          </p:nvSpPr>
          <p:spPr bwMode="auto">
            <a:xfrm>
              <a:off x="7688264" y="2547938"/>
              <a:ext cx="141288" cy="317500"/>
            </a:xfrm>
            <a:custGeom>
              <a:avLst/>
              <a:gdLst>
                <a:gd name="T0" fmla="*/ 35 w 36"/>
                <a:gd name="T1" fmla="*/ 81 h 81"/>
                <a:gd name="T2" fmla="*/ 34 w 36"/>
                <a:gd name="T3" fmla="*/ 81 h 81"/>
                <a:gd name="T4" fmla="*/ 0 w 36"/>
                <a:gd name="T5" fmla="*/ 1 h 81"/>
                <a:gd name="T6" fmla="*/ 1 w 36"/>
                <a:gd name="T7" fmla="*/ 0 h 81"/>
                <a:gd name="T8" fmla="*/ 2 w 36"/>
                <a:gd name="T9" fmla="*/ 1 h 81"/>
                <a:gd name="T10" fmla="*/ 36 w 36"/>
                <a:gd name="T11" fmla="*/ 80 h 81"/>
                <a:gd name="T12" fmla="*/ 36 w 36"/>
                <a:gd name="T13" fmla="*/ 81 h 81"/>
                <a:gd name="T14" fmla="*/ 35 w 36"/>
                <a:gd name="T1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81">
                  <a:moveTo>
                    <a:pt x="35" y="81"/>
                  </a:moveTo>
                  <a:cubicBezTo>
                    <a:pt x="34" y="81"/>
                    <a:pt x="34" y="81"/>
                    <a:pt x="34" y="81"/>
                  </a:cubicBezTo>
                  <a:cubicBezTo>
                    <a:pt x="18" y="64"/>
                    <a:pt x="1" y="4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2"/>
                    <a:pt x="20" y="63"/>
                    <a:pt x="36" y="80"/>
                  </a:cubicBezTo>
                  <a:cubicBezTo>
                    <a:pt x="36" y="80"/>
                    <a:pt x="36" y="81"/>
                    <a:pt x="36" y="81"/>
                  </a:cubicBezTo>
                  <a:lnTo>
                    <a:pt x="35" y="81"/>
                  </a:lnTo>
                  <a:close/>
                </a:path>
              </a:pathLst>
            </a:custGeom>
            <a:solidFill>
              <a:srgbClr val="3668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ïšḻîḍe">
              <a:extLst>
                <a:ext uri="{FF2B5EF4-FFF2-40B4-BE49-F238E27FC236}">
                  <a16:creationId xmlns:a16="http://schemas.microsoft.com/office/drawing/2014/main" id="{C2A2F4D8-33F3-4C60-BBBC-4C0E29048C88}"/>
                </a:ext>
              </a:extLst>
            </p:cNvPr>
            <p:cNvSpPr/>
            <p:nvPr/>
          </p:nvSpPr>
          <p:spPr bwMode="auto">
            <a:xfrm>
              <a:off x="7624764" y="2414588"/>
              <a:ext cx="50800" cy="66675"/>
            </a:xfrm>
            <a:custGeom>
              <a:avLst/>
              <a:gdLst>
                <a:gd name="T0" fmla="*/ 0 w 13"/>
                <a:gd name="T1" fmla="*/ 5 h 17"/>
                <a:gd name="T2" fmla="*/ 1 w 13"/>
                <a:gd name="T3" fmla="*/ 17 h 17"/>
                <a:gd name="T4" fmla="*/ 1 w 13"/>
                <a:gd name="T5" fmla="*/ 17 h 17"/>
                <a:gd name="T6" fmla="*/ 0 w 13"/>
                <a:gd name="T7" fmla="*/ 5 h 17"/>
                <a:gd name="T8" fmla="*/ 0 w 13"/>
                <a:gd name="T9" fmla="*/ 5 h 17"/>
                <a:gd name="T10" fmla="*/ 0 w 13"/>
                <a:gd name="T11" fmla="*/ 5 h 17"/>
                <a:gd name="T12" fmla="*/ 0 w 13"/>
                <a:gd name="T13" fmla="*/ 5 h 17"/>
                <a:gd name="T14" fmla="*/ 0 w 13"/>
                <a:gd name="T15" fmla="*/ 5 h 17"/>
                <a:gd name="T16" fmla="*/ 0 w 13"/>
                <a:gd name="T17" fmla="*/ 5 h 17"/>
                <a:gd name="T18" fmla="*/ 0 w 13"/>
                <a:gd name="T19" fmla="*/ 5 h 17"/>
                <a:gd name="T20" fmla="*/ 12 w 13"/>
                <a:gd name="T21" fmla="*/ 2 h 17"/>
                <a:gd name="T22" fmla="*/ 13 w 13"/>
                <a:gd name="T23" fmla="*/ 4 h 17"/>
                <a:gd name="T24" fmla="*/ 13 w 13"/>
                <a:gd name="T25" fmla="*/ 4 h 17"/>
                <a:gd name="T26" fmla="*/ 12 w 13"/>
                <a:gd name="T27" fmla="*/ 2 h 17"/>
                <a:gd name="T28" fmla="*/ 12 w 13"/>
                <a:gd name="T29" fmla="*/ 2 h 17"/>
                <a:gd name="T30" fmla="*/ 7 w 13"/>
                <a:gd name="T31" fmla="*/ 0 h 17"/>
                <a:gd name="T32" fmla="*/ 0 w 13"/>
                <a:gd name="T33" fmla="*/ 5 h 17"/>
                <a:gd name="T34" fmla="*/ 7 w 13"/>
                <a:gd name="T3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17">
                  <a:moveTo>
                    <a:pt x="0" y="5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12" y="2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moveTo>
                    <a:pt x="7" y="0"/>
                  </a:moveTo>
                  <a:cubicBezTo>
                    <a:pt x="5" y="1"/>
                    <a:pt x="1" y="3"/>
                    <a:pt x="0" y="5"/>
                  </a:cubicBezTo>
                  <a:cubicBezTo>
                    <a:pt x="1" y="3"/>
                    <a:pt x="5" y="1"/>
                    <a:pt x="7" y="0"/>
                  </a:cubicBezTo>
                </a:path>
              </a:pathLst>
            </a:custGeom>
            <a:solidFill>
              <a:srgbClr val="FFD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îšḷîḑe">
              <a:extLst>
                <a:ext uri="{FF2B5EF4-FFF2-40B4-BE49-F238E27FC236}">
                  <a16:creationId xmlns:a16="http://schemas.microsoft.com/office/drawing/2014/main" id="{BA927321-0400-46F4-BD8A-C619E6A967B6}"/>
                </a:ext>
              </a:extLst>
            </p:cNvPr>
            <p:cNvSpPr/>
            <p:nvPr/>
          </p:nvSpPr>
          <p:spPr bwMode="auto">
            <a:xfrm>
              <a:off x="7624764" y="2414588"/>
              <a:ext cx="50800" cy="66675"/>
            </a:xfrm>
            <a:custGeom>
              <a:avLst/>
              <a:gdLst>
                <a:gd name="T0" fmla="*/ 10 w 13"/>
                <a:gd name="T1" fmla="*/ 0 h 17"/>
                <a:gd name="T2" fmla="*/ 7 w 13"/>
                <a:gd name="T3" fmla="*/ 0 h 17"/>
                <a:gd name="T4" fmla="*/ 0 w 13"/>
                <a:gd name="T5" fmla="*/ 5 h 17"/>
                <a:gd name="T6" fmla="*/ 0 w 13"/>
                <a:gd name="T7" fmla="*/ 5 h 17"/>
                <a:gd name="T8" fmla="*/ 0 w 13"/>
                <a:gd name="T9" fmla="*/ 5 h 17"/>
                <a:gd name="T10" fmla="*/ 0 w 13"/>
                <a:gd name="T11" fmla="*/ 5 h 17"/>
                <a:gd name="T12" fmla="*/ 0 w 13"/>
                <a:gd name="T13" fmla="*/ 5 h 17"/>
                <a:gd name="T14" fmla="*/ 0 w 13"/>
                <a:gd name="T15" fmla="*/ 5 h 17"/>
                <a:gd name="T16" fmla="*/ 0 w 13"/>
                <a:gd name="T17" fmla="*/ 5 h 17"/>
                <a:gd name="T18" fmla="*/ 1 w 13"/>
                <a:gd name="T19" fmla="*/ 17 h 17"/>
                <a:gd name="T20" fmla="*/ 13 w 13"/>
                <a:gd name="T21" fmla="*/ 4 h 17"/>
                <a:gd name="T22" fmla="*/ 12 w 13"/>
                <a:gd name="T23" fmla="*/ 2 h 17"/>
                <a:gd name="T24" fmla="*/ 10 w 13"/>
                <a:gd name="T2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7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1"/>
                    <a:pt x="1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7" y="15"/>
                    <a:pt x="12" y="6"/>
                    <a:pt x="13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1"/>
                    <a:pt x="10" y="0"/>
                    <a:pt x="10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šľïḍê">
              <a:extLst>
                <a:ext uri="{FF2B5EF4-FFF2-40B4-BE49-F238E27FC236}">
                  <a16:creationId xmlns:a16="http://schemas.microsoft.com/office/drawing/2014/main" id="{2FF025DF-9FED-47A2-82F8-3CC4F5C53C97}"/>
                </a:ext>
              </a:extLst>
            </p:cNvPr>
            <p:cNvSpPr/>
            <p:nvPr/>
          </p:nvSpPr>
          <p:spPr bwMode="auto">
            <a:xfrm>
              <a:off x="7545389" y="2324101"/>
              <a:ext cx="146050" cy="141288"/>
            </a:xfrm>
            <a:custGeom>
              <a:avLst/>
              <a:gdLst>
                <a:gd name="T0" fmla="*/ 1 w 37"/>
                <a:gd name="T1" fmla="*/ 9 h 36"/>
                <a:gd name="T2" fmla="*/ 5 w 37"/>
                <a:gd name="T3" fmla="*/ 32 h 36"/>
                <a:gd name="T4" fmla="*/ 33 w 37"/>
                <a:gd name="T5" fmla="*/ 27 h 36"/>
                <a:gd name="T6" fmla="*/ 29 w 37"/>
                <a:gd name="T7" fmla="*/ 2 h 36"/>
                <a:gd name="T8" fmla="*/ 1 w 37"/>
                <a:gd name="T9" fmla="*/ 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6">
                  <a:moveTo>
                    <a:pt x="1" y="9"/>
                  </a:moveTo>
                  <a:cubicBezTo>
                    <a:pt x="1" y="9"/>
                    <a:pt x="0" y="28"/>
                    <a:pt x="5" y="32"/>
                  </a:cubicBezTo>
                  <a:cubicBezTo>
                    <a:pt x="10" y="36"/>
                    <a:pt x="19" y="36"/>
                    <a:pt x="33" y="27"/>
                  </a:cubicBezTo>
                  <a:cubicBezTo>
                    <a:pt x="37" y="23"/>
                    <a:pt x="32" y="5"/>
                    <a:pt x="29" y="2"/>
                  </a:cubicBezTo>
                  <a:cubicBezTo>
                    <a:pt x="26" y="0"/>
                    <a:pt x="5" y="6"/>
                    <a:pt x="1" y="9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śḷiďê">
              <a:extLst>
                <a:ext uri="{FF2B5EF4-FFF2-40B4-BE49-F238E27FC236}">
                  <a16:creationId xmlns:a16="http://schemas.microsoft.com/office/drawing/2014/main" id="{D06E1C01-6871-4E54-9E5C-D00BFA7C05C2}"/>
                </a:ext>
              </a:extLst>
            </p:cNvPr>
            <p:cNvSpPr/>
            <p:nvPr/>
          </p:nvSpPr>
          <p:spPr bwMode="auto">
            <a:xfrm>
              <a:off x="7448551" y="2279651"/>
              <a:ext cx="258763" cy="141288"/>
            </a:xfrm>
            <a:custGeom>
              <a:avLst/>
              <a:gdLst>
                <a:gd name="T0" fmla="*/ 63 w 66"/>
                <a:gd name="T1" fmla="*/ 13 h 36"/>
                <a:gd name="T2" fmla="*/ 44 w 66"/>
                <a:gd name="T3" fmla="*/ 4 h 36"/>
                <a:gd name="T4" fmla="*/ 22 w 66"/>
                <a:gd name="T5" fmla="*/ 4 h 36"/>
                <a:gd name="T6" fmla="*/ 0 w 66"/>
                <a:gd name="T7" fmla="*/ 16 h 36"/>
                <a:gd name="T8" fmla="*/ 26 w 66"/>
                <a:gd name="T9" fmla="*/ 25 h 36"/>
                <a:gd name="T10" fmla="*/ 47 w 66"/>
                <a:gd name="T11" fmla="*/ 28 h 36"/>
                <a:gd name="T12" fmla="*/ 55 w 66"/>
                <a:gd name="T13" fmla="*/ 23 h 36"/>
                <a:gd name="T14" fmla="*/ 58 w 66"/>
                <a:gd name="T15" fmla="*/ 34 h 36"/>
                <a:gd name="T16" fmla="*/ 61 w 66"/>
                <a:gd name="T17" fmla="*/ 34 h 36"/>
                <a:gd name="T18" fmla="*/ 63 w 66"/>
                <a:gd name="T19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36">
                  <a:moveTo>
                    <a:pt x="63" y="13"/>
                  </a:moveTo>
                  <a:cubicBezTo>
                    <a:pt x="59" y="0"/>
                    <a:pt x="53" y="0"/>
                    <a:pt x="44" y="4"/>
                  </a:cubicBezTo>
                  <a:cubicBezTo>
                    <a:pt x="36" y="8"/>
                    <a:pt x="30" y="8"/>
                    <a:pt x="22" y="4"/>
                  </a:cubicBezTo>
                  <a:cubicBezTo>
                    <a:pt x="15" y="1"/>
                    <a:pt x="0" y="1"/>
                    <a:pt x="0" y="16"/>
                  </a:cubicBezTo>
                  <a:cubicBezTo>
                    <a:pt x="1" y="24"/>
                    <a:pt x="13" y="31"/>
                    <a:pt x="26" y="25"/>
                  </a:cubicBezTo>
                  <a:cubicBezTo>
                    <a:pt x="32" y="21"/>
                    <a:pt x="44" y="20"/>
                    <a:pt x="47" y="28"/>
                  </a:cubicBezTo>
                  <a:cubicBezTo>
                    <a:pt x="48" y="23"/>
                    <a:pt x="51" y="19"/>
                    <a:pt x="55" y="23"/>
                  </a:cubicBezTo>
                  <a:cubicBezTo>
                    <a:pt x="57" y="25"/>
                    <a:pt x="58" y="30"/>
                    <a:pt x="58" y="34"/>
                  </a:cubicBezTo>
                  <a:cubicBezTo>
                    <a:pt x="58" y="35"/>
                    <a:pt x="60" y="36"/>
                    <a:pt x="61" y="34"/>
                  </a:cubicBezTo>
                  <a:cubicBezTo>
                    <a:pt x="63" y="30"/>
                    <a:pt x="66" y="23"/>
                    <a:pt x="63" y="13"/>
                  </a:cubicBezTo>
                  <a:close/>
                </a:path>
              </a:pathLst>
            </a:custGeom>
            <a:solidFill>
              <a:srgbClr val="1F4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$liďè">
              <a:extLst>
                <a:ext uri="{FF2B5EF4-FFF2-40B4-BE49-F238E27FC236}">
                  <a16:creationId xmlns:a16="http://schemas.microsoft.com/office/drawing/2014/main" id="{31DD1DDA-A2E0-4C4C-85D7-A7D535F09B11}"/>
                </a:ext>
              </a:extLst>
            </p:cNvPr>
            <p:cNvSpPr/>
            <p:nvPr/>
          </p:nvSpPr>
          <p:spPr bwMode="auto">
            <a:xfrm>
              <a:off x="7821614" y="3286126"/>
              <a:ext cx="15875" cy="306388"/>
            </a:xfrm>
            <a:custGeom>
              <a:avLst/>
              <a:gdLst>
                <a:gd name="T0" fmla="*/ 2 w 4"/>
                <a:gd name="T1" fmla="*/ 58 h 78"/>
                <a:gd name="T2" fmla="*/ 4 w 4"/>
                <a:gd name="T3" fmla="*/ 78 h 78"/>
                <a:gd name="T4" fmla="*/ 4 w 4"/>
                <a:gd name="T5" fmla="*/ 78 h 78"/>
                <a:gd name="T6" fmla="*/ 2 w 4"/>
                <a:gd name="T7" fmla="*/ 58 h 78"/>
                <a:gd name="T8" fmla="*/ 0 w 4"/>
                <a:gd name="T9" fmla="*/ 0 h 78"/>
                <a:gd name="T10" fmla="*/ 0 w 4"/>
                <a:gd name="T11" fmla="*/ 0 h 78"/>
                <a:gd name="T12" fmla="*/ 0 w 4"/>
                <a:gd name="T13" fmla="*/ 0 h 78"/>
                <a:gd name="T14" fmla="*/ 0 w 4"/>
                <a:gd name="T15" fmla="*/ 0 h 78"/>
                <a:gd name="T16" fmla="*/ 0 w 4"/>
                <a:gd name="T17" fmla="*/ 0 h 78"/>
                <a:gd name="T18" fmla="*/ 0 w 4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78">
                  <a:moveTo>
                    <a:pt x="2" y="58"/>
                  </a:moveTo>
                  <a:cubicBezTo>
                    <a:pt x="3" y="65"/>
                    <a:pt x="4" y="72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2"/>
                    <a:pt x="3" y="65"/>
                    <a:pt x="2" y="58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C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îṣľîḓè">
              <a:extLst>
                <a:ext uri="{FF2B5EF4-FFF2-40B4-BE49-F238E27FC236}">
                  <a16:creationId xmlns:a16="http://schemas.microsoft.com/office/drawing/2014/main" id="{DC3FA06A-1544-4411-A56A-DDBA6F3FFE26}"/>
                </a:ext>
              </a:extLst>
            </p:cNvPr>
            <p:cNvSpPr/>
            <p:nvPr/>
          </p:nvSpPr>
          <p:spPr bwMode="auto">
            <a:xfrm>
              <a:off x="7837489" y="3592513"/>
              <a:ext cx="3175" cy="19050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0 h 5"/>
                <a:gd name="T4" fmla="*/ 1 w 1"/>
                <a:gd name="T5" fmla="*/ 5 h 5"/>
                <a:gd name="T6" fmla="*/ 1 w 1"/>
                <a:gd name="T7" fmla="*/ 5 h 5"/>
                <a:gd name="T8" fmla="*/ 0 w 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2"/>
                    <a:pt x="0" y="0"/>
                  </a:cubicBezTo>
                </a:path>
              </a:pathLst>
            </a:custGeom>
            <a:solidFill>
              <a:srgbClr val="CC49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$1íḍé">
              <a:extLst>
                <a:ext uri="{FF2B5EF4-FFF2-40B4-BE49-F238E27FC236}">
                  <a16:creationId xmlns:a16="http://schemas.microsoft.com/office/drawing/2014/main" id="{6D1FFF38-F488-4C0D-8218-3CB9C0619DB2}"/>
                </a:ext>
              </a:extLst>
            </p:cNvPr>
            <p:cNvSpPr/>
            <p:nvPr/>
          </p:nvSpPr>
          <p:spPr bwMode="auto">
            <a:xfrm>
              <a:off x="7766051" y="2990851"/>
              <a:ext cx="117475" cy="625475"/>
            </a:xfrm>
            <a:custGeom>
              <a:avLst/>
              <a:gdLst>
                <a:gd name="T0" fmla="*/ 14 w 30"/>
                <a:gd name="T1" fmla="*/ 155 h 159"/>
                <a:gd name="T2" fmla="*/ 14 w 30"/>
                <a:gd name="T3" fmla="*/ 155 h 159"/>
                <a:gd name="T4" fmla="*/ 13 w 30"/>
                <a:gd name="T5" fmla="*/ 153 h 159"/>
                <a:gd name="T6" fmla="*/ 14 w 30"/>
                <a:gd name="T7" fmla="*/ 152 h 159"/>
                <a:gd name="T8" fmla="*/ 14 w 30"/>
                <a:gd name="T9" fmla="*/ 153 h 159"/>
                <a:gd name="T10" fmla="*/ 15 w 30"/>
                <a:gd name="T11" fmla="*/ 154 h 159"/>
                <a:gd name="T12" fmla="*/ 14 w 30"/>
                <a:gd name="T13" fmla="*/ 155 h 159"/>
                <a:gd name="T14" fmla="*/ 14 w 30"/>
                <a:gd name="T15" fmla="*/ 155 h 159"/>
                <a:gd name="T16" fmla="*/ 12 w 30"/>
                <a:gd name="T17" fmla="*/ 145 h 159"/>
                <a:gd name="T18" fmla="*/ 12 w 30"/>
                <a:gd name="T19" fmla="*/ 145 h 159"/>
                <a:gd name="T20" fmla="*/ 11 w 30"/>
                <a:gd name="T21" fmla="*/ 141 h 159"/>
                <a:gd name="T22" fmla="*/ 11 w 30"/>
                <a:gd name="T23" fmla="*/ 140 h 159"/>
                <a:gd name="T24" fmla="*/ 12 w 30"/>
                <a:gd name="T25" fmla="*/ 141 h 159"/>
                <a:gd name="T26" fmla="*/ 13 w 30"/>
                <a:gd name="T27" fmla="*/ 145 h 159"/>
                <a:gd name="T28" fmla="*/ 12 w 30"/>
                <a:gd name="T29" fmla="*/ 145 h 159"/>
                <a:gd name="T30" fmla="*/ 12 w 30"/>
                <a:gd name="T31" fmla="*/ 145 h 159"/>
                <a:gd name="T32" fmla="*/ 10 w 30"/>
                <a:gd name="T33" fmla="*/ 133 h 159"/>
                <a:gd name="T34" fmla="*/ 9 w 30"/>
                <a:gd name="T35" fmla="*/ 133 h 159"/>
                <a:gd name="T36" fmla="*/ 8 w 30"/>
                <a:gd name="T37" fmla="*/ 129 h 159"/>
                <a:gd name="T38" fmla="*/ 9 w 30"/>
                <a:gd name="T39" fmla="*/ 128 h 159"/>
                <a:gd name="T40" fmla="*/ 9 w 30"/>
                <a:gd name="T41" fmla="*/ 129 h 159"/>
                <a:gd name="T42" fmla="*/ 10 w 30"/>
                <a:gd name="T43" fmla="*/ 133 h 159"/>
                <a:gd name="T44" fmla="*/ 10 w 30"/>
                <a:gd name="T45" fmla="*/ 133 h 159"/>
                <a:gd name="T46" fmla="*/ 10 w 30"/>
                <a:gd name="T47" fmla="*/ 133 h 159"/>
                <a:gd name="T48" fmla="*/ 30 w 30"/>
                <a:gd name="T49" fmla="*/ 0 h 159"/>
                <a:gd name="T50" fmla="*/ 2 w 30"/>
                <a:gd name="T51" fmla="*/ 80 h 159"/>
                <a:gd name="T52" fmla="*/ 2 w 30"/>
                <a:gd name="T53" fmla="*/ 80 h 159"/>
                <a:gd name="T54" fmla="*/ 3 w 30"/>
                <a:gd name="T55" fmla="*/ 84 h 159"/>
                <a:gd name="T56" fmla="*/ 3 w 30"/>
                <a:gd name="T57" fmla="*/ 85 h 159"/>
                <a:gd name="T58" fmla="*/ 3 w 30"/>
                <a:gd name="T59" fmla="*/ 92 h 159"/>
                <a:gd name="T60" fmla="*/ 4 w 30"/>
                <a:gd name="T61" fmla="*/ 92 h 159"/>
                <a:gd name="T62" fmla="*/ 4 w 30"/>
                <a:gd name="T63" fmla="*/ 96 h 159"/>
                <a:gd name="T64" fmla="*/ 4 w 30"/>
                <a:gd name="T65" fmla="*/ 97 h 159"/>
                <a:gd name="T66" fmla="*/ 5 w 30"/>
                <a:gd name="T67" fmla="*/ 104 h 159"/>
                <a:gd name="T68" fmla="*/ 5 w 30"/>
                <a:gd name="T69" fmla="*/ 105 h 159"/>
                <a:gd name="T70" fmla="*/ 6 w 30"/>
                <a:gd name="T71" fmla="*/ 109 h 159"/>
                <a:gd name="T72" fmla="*/ 6 w 30"/>
                <a:gd name="T73" fmla="*/ 109 h 159"/>
                <a:gd name="T74" fmla="*/ 6 w 30"/>
                <a:gd name="T75" fmla="*/ 116 h 159"/>
                <a:gd name="T76" fmla="*/ 7 w 30"/>
                <a:gd name="T77" fmla="*/ 116 h 159"/>
                <a:gd name="T78" fmla="*/ 7 w 30"/>
                <a:gd name="T79" fmla="*/ 117 h 159"/>
                <a:gd name="T80" fmla="*/ 8 w 30"/>
                <a:gd name="T81" fmla="*/ 121 h 159"/>
                <a:gd name="T82" fmla="*/ 7 w 30"/>
                <a:gd name="T83" fmla="*/ 121 h 159"/>
                <a:gd name="T84" fmla="*/ 7 w 30"/>
                <a:gd name="T85" fmla="*/ 121 h 159"/>
                <a:gd name="T86" fmla="*/ 7 w 30"/>
                <a:gd name="T87" fmla="*/ 121 h 159"/>
                <a:gd name="T88" fmla="*/ 10 w 30"/>
                <a:gd name="T89" fmla="*/ 148 h 159"/>
                <a:gd name="T90" fmla="*/ 0 w 30"/>
                <a:gd name="T91" fmla="*/ 156 h 159"/>
                <a:gd name="T92" fmla="*/ 16 w 30"/>
                <a:gd name="T93" fmla="*/ 159 h 159"/>
                <a:gd name="T94" fmla="*/ 19 w 30"/>
                <a:gd name="T95" fmla="*/ 158 h 159"/>
                <a:gd name="T96" fmla="*/ 18 w 30"/>
                <a:gd name="T97" fmla="*/ 153 h 159"/>
                <a:gd name="T98" fmla="*/ 16 w 30"/>
                <a:gd name="T99" fmla="*/ 133 h 159"/>
                <a:gd name="T100" fmla="*/ 14 w 30"/>
                <a:gd name="T101" fmla="*/ 75 h 159"/>
                <a:gd name="T102" fmla="*/ 14 w 30"/>
                <a:gd name="T103" fmla="*/ 75 h 159"/>
                <a:gd name="T104" fmla="*/ 14 w 30"/>
                <a:gd name="T105" fmla="*/ 75 h 159"/>
                <a:gd name="T106" fmla="*/ 14 w 30"/>
                <a:gd name="T107" fmla="*/ 75 h 159"/>
                <a:gd name="T108" fmla="*/ 14 w 30"/>
                <a:gd name="T109" fmla="*/ 75 h 159"/>
                <a:gd name="T110" fmla="*/ 30 w 30"/>
                <a:gd name="T111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" h="159">
                  <a:moveTo>
                    <a:pt x="14" y="155"/>
                  </a:moveTo>
                  <a:cubicBezTo>
                    <a:pt x="14" y="155"/>
                    <a:pt x="14" y="155"/>
                    <a:pt x="14" y="155"/>
                  </a:cubicBezTo>
                  <a:cubicBezTo>
                    <a:pt x="14" y="155"/>
                    <a:pt x="14" y="154"/>
                    <a:pt x="13" y="153"/>
                  </a:cubicBezTo>
                  <a:cubicBezTo>
                    <a:pt x="14" y="152"/>
                    <a:pt x="14" y="152"/>
                    <a:pt x="14" y="152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14" y="155"/>
                    <a:pt x="14" y="155"/>
                    <a:pt x="14" y="155"/>
                  </a:cubicBezTo>
                  <a:cubicBezTo>
                    <a:pt x="14" y="155"/>
                    <a:pt x="14" y="155"/>
                    <a:pt x="14" y="155"/>
                  </a:cubicBezTo>
                  <a:moveTo>
                    <a:pt x="12" y="145"/>
                  </a:moveTo>
                  <a:cubicBezTo>
                    <a:pt x="12" y="145"/>
                    <a:pt x="12" y="145"/>
                    <a:pt x="12" y="145"/>
                  </a:cubicBezTo>
                  <a:cubicBezTo>
                    <a:pt x="11" y="144"/>
                    <a:pt x="11" y="142"/>
                    <a:pt x="11" y="141"/>
                  </a:cubicBezTo>
                  <a:cubicBezTo>
                    <a:pt x="11" y="140"/>
                    <a:pt x="11" y="140"/>
                    <a:pt x="11" y="140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5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5"/>
                    <a:pt x="12" y="145"/>
                    <a:pt x="12" y="145"/>
                  </a:cubicBezTo>
                  <a:moveTo>
                    <a:pt x="10" y="133"/>
                  </a:moveTo>
                  <a:cubicBezTo>
                    <a:pt x="9" y="133"/>
                    <a:pt x="9" y="133"/>
                    <a:pt x="9" y="133"/>
                  </a:cubicBezTo>
                  <a:cubicBezTo>
                    <a:pt x="9" y="132"/>
                    <a:pt x="8" y="130"/>
                    <a:pt x="8" y="129"/>
                  </a:cubicBezTo>
                  <a:cubicBezTo>
                    <a:pt x="9" y="128"/>
                    <a:pt x="9" y="128"/>
                    <a:pt x="9" y="128"/>
                  </a:cubicBezTo>
                  <a:cubicBezTo>
                    <a:pt x="9" y="129"/>
                    <a:pt x="9" y="129"/>
                    <a:pt x="9" y="129"/>
                  </a:cubicBezTo>
                  <a:cubicBezTo>
                    <a:pt x="9" y="130"/>
                    <a:pt x="10" y="131"/>
                    <a:pt x="10" y="133"/>
                  </a:cubicBezTo>
                  <a:cubicBezTo>
                    <a:pt x="10" y="133"/>
                    <a:pt x="10" y="133"/>
                    <a:pt x="10" y="133"/>
                  </a:cubicBezTo>
                  <a:cubicBezTo>
                    <a:pt x="10" y="133"/>
                    <a:pt x="10" y="133"/>
                    <a:pt x="10" y="133"/>
                  </a:cubicBezTo>
                  <a:moveTo>
                    <a:pt x="30" y="0"/>
                  </a:moveTo>
                  <a:cubicBezTo>
                    <a:pt x="2" y="80"/>
                    <a:pt x="2" y="80"/>
                    <a:pt x="2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3" y="82"/>
                    <a:pt x="3" y="83"/>
                    <a:pt x="3" y="84"/>
                  </a:cubicBezTo>
                  <a:cubicBezTo>
                    <a:pt x="3" y="85"/>
                    <a:pt x="3" y="85"/>
                    <a:pt x="3" y="85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4"/>
                    <a:pt x="4" y="95"/>
                    <a:pt x="4" y="96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5" y="104"/>
                    <a:pt x="5" y="104"/>
                    <a:pt x="5" y="104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5" y="106"/>
                    <a:pt x="6" y="107"/>
                    <a:pt x="6" y="109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7" y="116"/>
                    <a:pt x="7" y="116"/>
                    <a:pt x="7" y="116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8"/>
                    <a:pt x="8" y="119"/>
                    <a:pt x="8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10" y="148"/>
                    <a:pt x="10" y="148"/>
                    <a:pt x="10" y="14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56"/>
                    <a:pt x="8" y="159"/>
                    <a:pt x="16" y="159"/>
                  </a:cubicBezTo>
                  <a:cubicBezTo>
                    <a:pt x="17" y="159"/>
                    <a:pt x="18" y="159"/>
                    <a:pt x="19" y="158"/>
                  </a:cubicBezTo>
                  <a:cubicBezTo>
                    <a:pt x="19" y="157"/>
                    <a:pt x="19" y="155"/>
                    <a:pt x="18" y="153"/>
                  </a:cubicBezTo>
                  <a:cubicBezTo>
                    <a:pt x="18" y="147"/>
                    <a:pt x="17" y="140"/>
                    <a:pt x="16" y="133"/>
                  </a:cubicBezTo>
                  <a:cubicBezTo>
                    <a:pt x="13" y="111"/>
                    <a:pt x="11" y="8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6" y="59"/>
                    <a:pt x="30" y="0"/>
                    <a:pt x="30" y="0"/>
                  </a:cubicBezTo>
                </a:path>
              </a:pathLst>
            </a:custGeom>
            <a:solidFill>
              <a:srgbClr val="7B64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šlïḓè">
              <a:extLst>
                <a:ext uri="{FF2B5EF4-FFF2-40B4-BE49-F238E27FC236}">
                  <a16:creationId xmlns:a16="http://schemas.microsoft.com/office/drawing/2014/main" id="{5FBB4D29-2759-4124-A92F-9C57D221FDC3}"/>
                </a:ext>
              </a:extLst>
            </p:cNvPr>
            <p:cNvSpPr/>
            <p:nvPr/>
          </p:nvSpPr>
          <p:spPr bwMode="auto">
            <a:xfrm>
              <a:off x="7773989" y="3305176"/>
              <a:ext cx="42863" cy="255588"/>
            </a:xfrm>
            <a:custGeom>
              <a:avLst/>
              <a:gdLst>
                <a:gd name="T0" fmla="*/ 9 w 11"/>
                <a:gd name="T1" fmla="*/ 60 h 65"/>
                <a:gd name="T2" fmla="*/ 9 w 11"/>
                <a:gd name="T3" fmla="*/ 61 h 65"/>
                <a:gd name="T4" fmla="*/ 10 w 11"/>
                <a:gd name="T5" fmla="*/ 65 h 65"/>
                <a:gd name="T6" fmla="*/ 10 w 11"/>
                <a:gd name="T7" fmla="*/ 65 h 65"/>
                <a:gd name="T8" fmla="*/ 10 w 11"/>
                <a:gd name="T9" fmla="*/ 65 h 65"/>
                <a:gd name="T10" fmla="*/ 11 w 11"/>
                <a:gd name="T11" fmla="*/ 65 h 65"/>
                <a:gd name="T12" fmla="*/ 10 w 11"/>
                <a:gd name="T13" fmla="*/ 61 h 65"/>
                <a:gd name="T14" fmla="*/ 9 w 11"/>
                <a:gd name="T15" fmla="*/ 60 h 65"/>
                <a:gd name="T16" fmla="*/ 7 w 11"/>
                <a:gd name="T17" fmla="*/ 48 h 65"/>
                <a:gd name="T18" fmla="*/ 6 w 11"/>
                <a:gd name="T19" fmla="*/ 49 h 65"/>
                <a:gd name="T20" fmla="*/ 7 w 11"/>
                <a:gd name="T21" fmla="*/ 53 h 65"/>
                <a:gd name="T22" fmla="*/ 8 w 11"/>
                <a:gd name="T23" fmla="*/ 53 h 65"/>
                <a:gd name="T24" fmla="*/ 8 w 11"/>
                <a:gd name="T25" fmla="*/ 53 h 65"/>
                <a:gd name="T26" fmla="*/ 8 w 11"/>
                <a:gd name="T27" fmla="*/ 53 h 65"/>
                <a:gd name="T28" fmla="*/ 7 w 11"/>
                <a:gd name="T29" fmla="*/ 49 h 65"/>
                <a:gd name="T30" fmla="*/ 7 w 11"/>
                <a:gd name="T31" fmla="*/ 48 h 65"/>
                <a:gd name="T32" fmla="*/ 5 w 11"/>
                <a:gd name="T33" fmla="*/ 36 h 65"/>
                <a:gd name="T34" fmla="*/ 4 w 11"/>
                <a:gd name="T35" fmla="*/ 36 h 65"/>
                <a:gd name="T36" fmla="*/ 5 w 11"/>
                <a:gd name="T37" fmla="*/ 41 h 65"/>
                <a:gd name="T38" fmla="*/ 5 w 11"/>
                <a:gd name="T39" fmla="*/ 41 h 65"/>
                <a:gd name="T40" fmla="*/ 5 w 11"/>
                <a:gd name="T41" fmla="*/ 41 h 65"/>
                <a:gd name="T42" fmla="*/ 6 w 11"/>
                <a:gd name="T43" fmla="*/ 41 h 65"/>
                <a:gd name="T44" fmla="*/ 5 w 11"/>
                <a:gd name="T45" fmla="*/ 37 h 65"/>
                <a:gd name="T46" fmla="*/ 5 w 11"/>
                <a:gd name="T47" fmla="*/ 36 h 65"/>
                <a:gd name="T48" fmla="*/ 3 w 11"/>
                <a:gd name="T49" fmla="*/ 24 h 65"/>
                <a:gd name="T50" fmla="*/ 4 w 11"/>
                <a:gd name="T51" fmla="*/ 29 h 65"/>
                <a:gd name="T52" fmla="*/ 4 w 11"/>
                <a:gd name="T53" fmla="*/ 29 h 65"/>
                <a:gd name="T54" fmla="*/ 3 w 11"/>
                <a:gd name="T55" fmla="*/ 25 h 65"/>
                <a:gd name="T56" fmla="*/ 3 w 11"/>
                <a:gd name="T57" fmla="*/ 24 h 65"/>
                <a:gd name="T58" fmla="*/ 1 w 11"/>
                <a:gd name="T59" fmla="*/ 12 h 65"/>
                <a:gd name="T60" fmla="*/ 2 w 11"/>
                <a:gd name="T61" fmla="*/ 17 h 65"/>
                <a:gd name="T62" fmla="*/ 2 w 11"/>
                <a:gd name="T63" fmla="*/ 16 h 65"/>
                <a:gd name="T64" fmla="*/ 2 w 11"/>
                <a:gd name="T65" fmla="*/ 12 h 65"/>
                <a:gd name="T66" fmla="*/ 1 w 11"/>
                <a:gd name="T67" fmla="*/ 12 h 65"/>
                <a:gd name="T68" fmla="*/ 0 w 11"/>
                <a:gd name="T69" fmla="*/ 0 h 65"/>
                <a:gd name="T70" fmla="*/ 1 w 11"/>
                <a:gd name="T71" fmla="*/ 5 h 65"/>
                <a:gd name="T72" fmla="*/ 1 w 11"/>
                <a:gd name="T73" fmla="*/ 4 h 65"/>
                <a:gd name="T74" fmla="*/ 0 w 11"/>
                <a:gd name="T75" fmla="*/ 0 h 65"/>
                <a:gd name="T76" fmla="*/ 0 w 11"/>
                <a:gd name="T7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" h="65">
                  <a:moveTo>
                    <a:pt x="9" y="60"/>
                  </a:moveTo>
                  <a:cubicBezTo>
                    <a:pt x="9" y="61"/>
                    <a:pt x="9" y="61"/>
                    <a:pt x="9" y="61"/>
                  </a:cubicBezTo>
                  <a:cubicBezTo>
                    <a:pt x="9" y="62"/>
                    <a:pt x="9" y="64"/>
                    <a:pt x="10" y="65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60"/>
                    <a:pt x="9" y="60"/>
                    <a:pt x="9" y="60"/>
                  </a:cubicBezTo>
                  <a:moveTo>
                    <a:pt x="7" y="48"/>
                  </a:moveTo>
                  <a:cubicBezTo>
                    <a:pt x="6" y="49"/>
                    <a:pt x="6" y="49"/>
                    <a:pt x="6" y="49"/>
                  </a:cubicBezTo>
                  <a:cubicBezTo>
                    <a:pt x="6" y="50"/>
                    <a:pt x="7" y="52"/>
                    <a:pt x="7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1"/>
                    <a:pt x="7" y="50"/>
                    <a:pt x="7" y="49"/>
                  </a:cubicBezTo>
                  <a:cubicBezTo>
                    <a:pt x="7" y="48"/>
                    <a:pt x="7" y="48"/>
                    <a:pt x="7" y="48"/>
                  </a:cubicBezTo>
                  <a:moveTo>
                    <a:pt x="5" y="36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9"/>
                    <a:pt x="5" y="38"/>
                    <a:pt x="5" y="37"/>
                  </a:cubicBezTo>
                  <a:cubicBezTo>
                    <a:pt x="5" y="36"/>
                    <a:pt x="5" y="36"/>
                    <a:pt x="5" y="36"/>
                  </a:cubicBezTo>
                  <a:moveTo>
                    <a:pt x="3" y="24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7"/>
                    <a:pt x="3" y="26"/>
                    <a:pt x="3" y="25"/>
                  </a:cubicBezTo>
                  <a:cubicBezTo>
                    <a:pt x="3" y="24"/>
                    <a:pt x="3" y="24"/>
                    <a:pt x="3" y="24"/>
                  </a:cubicBezTo>
                  <a:moveTo>
                    <a:pt x="1" y="12"/>
                  </a:moveTo>
                  <a:cubicBezTo>
                    <a:pt x="2" y="17"/>
                    <a:pt x="2" y="17"/>
                    <a:pt x="2" y="17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2" y="14"/>
                    <a:pt x="2" y="12"/>
                  </a:cubicBezTo>
                  <a:cubicBezTo>
                    <a:pt x="1" y="12"/>
                    <a:pt x="1" y="12"/>
                    <a:pt x="1" y="12"/>
                  </a:cubicBezTo>
                  <a:moveTo>
                    <a:pt x="0" y="0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24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íṩḻïḑé">
              <a:extLst>
                <a:ext uri="{FF2B5EF4-FFF2-40B4-BE49-F238E27FC236}">
                  <a16:creationId xmlns:a16="http://schemas.microsoft.com/office/drawing/2014/main" id="{24F3D914-23D6-4C31-AB2D-897CDCDF7AB5}"/>
                </a:ext>
              </a:extLst>
            </p:cNvPr>
            <p:cNvSpPr/>
            <p:nvPr/>
          </p:nvSpPr>
          <p:spPr bwMode="auto">
            <a:xfrm>
              <a:off x="7816851" y="3587751"/>
              <a:ext cx="7938" cy="12700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1 h 3"/>
                <a:gd name="T4" fmla="*/ 1 w 2"/>
                <a:gd name="T5" fmla="*/ 3 h 3"/>
                <a:gd name="T6" fmla="*/ 1 w 2"/>
                <a:gd name="T7" fmla="*/ 3 h 3"/>
                <a:gd name="T8" fmla="*/ 1 w 2"/>
                <a:gd name="T9" fmla="*/ 3 h 3"/>
                <a:gd name="T10" fmla="*/ 2 w 2"/>
                <a:gd name="T11" fmla="*/ 2 h 3"/>
                <a:gd name="T12" fmla="*/ 1 w 2"/>
                <a:gd name="T13" fmla="*/ 1 h 3"/>
                <a:gd name="T14" fmla="*/ 1 w 2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24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ïŝḻiḑe">
              <a:extLst>
                <a:ext uri="{FF2B5EF4-FFF2-40B4-BE49-F238E27FC236}">
                  <a16:creationId xmlns:a16="http://schemas.microsoft.com/office/drawing/2014/main" id="{EBB4918E-00DC-476D-B7B0-8027399493E3}"/>
                </a:ext>
              </a:extLst>
            </p:cNvPr>
            <p:cNvSpPr/>
            <p:nvPr/>
          </p:nvSpPr>
          <p:spPr bwMode="auto">
            <a:xfrm>
              <a:off x="7672389" y="3587751"/>
              <a:ext cx="173038" cy="122238"/>
            </a:xfrm>
            <a:custGeom>
              <a:avLst/>
              <a:gdLst>
                <a:gd name="T0" fmla="*/ 42 w 44"/>
                <a:gd name="T1" fmla="*/ 0 h 31"/>
                <a:gd name="T2" fmla="*/ 24 w 44"/>
                <a:gd name="T3" fmla="*/ 4 h 31"/>
                <a:gd name="T4" fmla="*/ 0 w 44"/>
                <a:gd name="T5" fmla="*/ 31 h 31"/>
                <a:gd name="T6" fmla="*/ 44 w 44"/>
                <a:gd name="T7" fmla="*/ 15 h 31"/>
                <a:gd name="T8" fmla="*/ 42 w 44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1">
                  <a:moveTo>
                    <a:pt x="42" y="0"/>
                  </a:moveTo>
                  <a:cubicBezTo>
                    <a:pt x="33" y="7"/>
                    <a:pt x="24" y="4"/>
                    <a:pt x="24" y="4"/>
                  </a:cubicBezTo>
                  <a:cubicBezTo>
                    <a:pt x="18" y="12"/>
                    <a:pt x="3" y="22"/>
                    <a:pt x="0" y="31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3" y="9"/>
                    <a:pt x="42" y="0"/>
                  </a:cubicBezTo>
                  <a:close/>
                </a:path>
              </a:pathLst>
            </a:custGeom>
            <a:solidFill>
              <a:srgbClr val="3C24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ṩḻíde">
              <a:extLst>
                <a:ext uri="{FF2B5EF4-FFF2-40B4-BE49-F238E27FC236}">
                  <a16:creationId xmlns:a16="http://schemas.microsoft.com/office/drawing/2014/main" id="{86BF98DA-DBA4-4216-B6DB-3DA2769228DD}"/>
                </a:ext>
              </a:extLst>
            </p:cNvPr>
            <p:cNvSpPr/>
            <p:nvPr/>
          </p:nvSpPr>
          <p:spPr bwMode="auto">
            <a:xfrm>
              <a:off x="7597776" y="2657476"/>
              <a:ext cx="227013" cy="298450"/>
            </a:xfrm>
            <a:custGeom>
              <a:avLst/>
              <a:gdLst>
                <a:gd name="T0" fmla="*/ 7 w 58"/>
                <a:gd name="T1" fmla="*/ 0 h 76"/>
                <a:gd name="T2" fmla="*/ 0 w 58"/>
                <a:gd name="T3" fmla="*/ 9 h 76"/>
                <a:gd name="T4" fmla="*/ 20 w 58"/>
                <a:gd name="T5" fmla="*/ 76 h 76"/>
                <a:gd name="T6" fmla="*/ 22 w 58"/>
                <a:gd name="T7" fmla="*/ 76 h 76"/>
                <a:gd name="T8" fmla="*/ 58 w 58"/>
                <a:gd name="T9" fmla="*/ 66 h 76"/>
                <a:gd name="T10" fmla="*/ 40 w 58"/>
                <a:gd name="T11" fmla="*/ 68 h 76"/>
                <a:gd name="T12" fmla="*/ 26 w 58"/>
                <a:gd name="T13" fmla="*/ 63 h 76"/>
                <a:gd name="T14" fmla="*/ 32 w 58"/>
                <a:gd name="T15" fmla="*/ 56 h 76"/>
                <a:gd name="T16" fmla="*/ 23 w 58"/>
                <a:gd name="T17" fmla="*/ 52 h 76"/>
                <a:gd name="T18" fmla="*/ 7 w 58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76">
                  <a:moveTo>
                    <a:pt x="7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4" y="18"/>
                    <a:pt x="18" y="60"/>
                    <a:pt x="20" y="76"/>
                  </a:cubicBezTo>
                  <a:cubicBezTo>
                    <a:pt x="21" y="76"/>
                    <a:pt x="21" y="76"/>
                    <a:pt x="22" y="76"/>
                  </a:cubicBezTo>
                  <a:cubicBezTo>
                    <a:pt x="31" y="76"/>
                    <a:pt x="45" y="73"/>
                    <a:pt x="58" y="66"/>
                  </a:cubicBezTo>
                  <a:cubicBezTo>
                    <a:pt x="50" y="68"/>
                    <a:pt x="44" y="68"/>
                    <a:pt x="40" y="68"/>
                  </a:cubicBezTo>
                  <a:cubicBezTo>
                    <a:pt x="25" y="68"/>
                    <a:pt x="26" y="63"/>
                    <a:pt x="26" y="63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112F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ṧliḑè">
              <a:extLst>
                <a:ext uri="{FF2B5EF4-FFF2-40B4-BE49-F238E27FC236}">
                  <a16:creationId xmlns:a16="http://schemas.microsoft.com/office/drawing/2014/main" id="{7742CB7E-8B1C-4938-95E7-CA4517D399C0}"/>
                </a:ext>
              </a:extLst>
            </p:cNvPr>
            <p:cNvSpPr/>
            <p:nvPr/>
          </p:nvSpPr>
          <p:spPr bwMode="auto">
            <a:xfrm>
              <a:off x="6894514" y="3608388"/>
              <a:ext cx="171450" cy="419100"/>
            </a:xfrm>
            <a:custGeom>
              <a:avLst/>
              <a:gdLst>
                <a:gd name="T0" fmla="*/ 3 w 44"/>
                <a:gd name="T1" fmla="*/ 23 h 107"/>
                <a:gd name="T2" fmla="*/ 0 w 44"/>
                <a:gd name="T3" fmla="*/ 107 h 107"/>
                <a:gd name="T4" fmla="*/ 44 w 44"/>
                <a:gd name="T5" fmla="*/ 98 h 107"/>
                <a:gd name="T6" fmla="*/ 16 w 44"/>
                <a:gd name="T7" fmla="*/ 92 h 107"/>
                <a:gd name="T8" fmla="*/ 44 w 44"/>
                <a:gd name="T9" fmla="*/ 9 h 107"/>
                <a:gd name="T10" fmla="*/ 3 w 44"/>
                <a:gd name="T11" fmla="*/ 2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107">
                  <a:moveTo>
                    <a:pt x="3" y="23"/>
                  </a:moveTo>
                  <a:cubicBezTo>
                    <a:pt x="3" y="23"/>
                    <a:pt x="8" y="79"/>
                    <a:pt x="0" y="107"/>
                  </a:cubicBezTo>
                  <a:cubicBezTo>
                    <a:pt x="18" y="104"/>
                    <a:pt x="44" y="98"/>
                    <a:pt x="44" y="98"/>
                  </a:cubicBezTo>
                  <a:cubicBezTo>
                    <a:pt x="44" y="98"/>
                    <a:pt x="26" y="90"/>
                    <a:pt x="16" y="92"/>
                  </a:cubicBezTo>
                  <a:cubicBezTo>
                    <a:pt x="16" y="92"/>
                    <a:pt x="37" y="36"/>
                    <a:pt x="44" y="9"/>
                  </a:cubicBezTo>
                  <a:cubicBezTo>
                    <a:pt x="40" y="2"/>
                    <a:pt x="5" y="0"/>
                    <a:pt x="3" y="23"/>
                  </a:cubicBezTo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ṥḷiďe">
              <a:extLst>
                <a:ext uri="{FF2B5EF4-FFF2-40B4-BE49-F238E27FC236}">
                  <a16:creationId xmlns:a16="http://schemas.microsoft.com/office/drawing/2014/main" id="{2C1B40FA-4F1B-4A71-986D-23389EE6C9B9}"/>
                </a:ext>
              </a:extLst>
            </p:cNvPr>
            <p:cNvSpPr/>
            <p:nvPr/>
          </p:nvSpPr>
          <p:spPr bwMode="auto">
            <a:xfrm>
              <a:off x="6418264" y="3736976"/>
              <a:ext cx="279400" cy="550863"/>
            </a:xfrm>
            <a:custGeom>
              <a:avLst/>
              <a:gdLst>
                <a:gd name="T0" fmla="*/ 26 w 71"/>
                <a:gd name="T1" fmla="*/ 24 h 140"/>
                <a:gd name="T2" fmla="*/ 0 w 71"/>
                <a:gd name="T3" fmla="*/ 140 h 140"/>
                <a:gd name="T4" fmla="*/ 51 w 71"/>
                <a:gd name="T5" fmla="*/ 125 h 140"/>
                <a:gd name="T6" fmla="*/ 21 w 71"/>
                <a:gd name="T7" fmla="*/ 122 h 140"/>
                <a:gd name="T8" fmla="*/ 50 w 71"/>
                <a:gd name="T9" fmla="*/ 63 h 140"/>
                <a:gd name="T10" fmla="*/ 55 w 71"/>
                <a:gd name="T11" fmla="*/ 11 h 140"/>
                <a:gd name="T12" fmla="*/ 26 w 71"/>
                <a:gd name="T13" fmla="*/ 2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40">
                  <a:moveTo>
                    <a:pt x="26" y="24"/>
                  </a:moveTo>
                  <a:cubicBezTo>
                    <a:pt x="0" y="140"/>
                    <a:pt x="0" y="140"/>
                    <a:pt x="0" y="140"/>
                  </a:cubicBezTo>
                  <a:cubicBezTo>
                    <a:pt x="51" y="125"/>
                    <a:pt x="51" y="125"/>
                    <a:pt x="51" y="125"/>
                  </a:cubicBezTo>
                  <a:cubicBezTo>
                    <a:pt x="51" y="125"/>
                    <a:pt x="30" y="122"/>
                    <a:pt x="21" y="122"/>
                  </a:cubicBezTo>
                  <a:cubicBezTo>
                    <a:pt x="21" y="122"/>
                    <a:pt x="43" y="83"/>
                    <a:pt x="50" y="63"/>
                  </a:cubicBezTo>
                  <a:cubicBezTo>
                    <a:pt x="57" y="42"/>
                    <a:pt x="71" y="22"/>
                    <a:pt x="55" y="11"/>
                  </a:cubicBezTo>
                  <a:cubicBezTo>
                    <a:pt x="39" y="0"/>
                    <a:pt x="26" y="24"/>
                    <a:pt x="26" y="24"/>
                  </a:cubicBezTo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íśļïḓè">
              <a:extLst>
                <a:ext uri="{FF2B5EF4-FFF2-40B4-BE49-F238E27FC236}">
                  <a16:creationId xmlns:a16="http://schemas.microsoft.com/office/drawing/2014/main" id="{5ABDCB06-BFD3-4ED0-968F-1790A39249BA}"/>
                </a:ext>
              </a:extLst>
            </p:cNvPr>
            <p:cNvSpPr/>
            <p:nvPr/>
          </p:nvSpPr>
          <p:spPr bwMode="auto">
            <a:xfrm>
              <a:off x="6894514" y="3973513"/>
              <a:ext cx="171450" cy="53975"/>
            </a:xfrm>
            <a:custGeom>
              <a:avLst/>
              <a:gdLst>
                <a:gd name="T0" fmla="*/ 31 w 44"/>
                <a:gd name="T1" fmla="*/ 1 h 14"/>
                <a:gd name="T2" fmla="*/ 11 w 44"/>
                <a:gd name="T3" fmla="*/ 1 h 14"/>
                <a:gd name="T4" fmla="*/ 3 w 44"/>
                <a:gd name="T5" fmla="*/ 0 h 14"/>
                <a:gd name="T6" fmla="*/ 3 w 44"/>
                <a:gd name="T7" fmla="*/ 0 h 14"/>
                <a:gd name="T8" fmla="*/ 0 w 44"/>
                <a:gd name="T9" fmla="*/ 14 h 14"/>
                <a:gd name="T10" fmla="*/ 44 w 44"/>
                <a:gd name="T11" fmla="*/ 5 h 14"/>
                <a:gd name="T12" fmla="*/ 31 w 44"/>
                <a:gd name="T1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4">
                  <a:moveTo>
                    <a:pt x="31" y="1"/>
                  </a:moveTo>
                  <a:cubicBezTo>
                    <a:pt x="22" y="4"/>
                    <a:pt x="19" y="5"/>
                    <a:pt x="11" y="1"/>
                  </a:cubicBezTo>
                  <a:cubicBezTo>
                    <a:pt x="9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5"/>
                    <a:pt x="1" y="10"/>
                    <a:pt x="0" y="14"/>
                  </a:cubicBezTo>
                  <a:cubicBezTo>
                    <a:pt x="18" y="11"/>
                    <a:pt x="44" y="5"/>
                    <a:pt x="44" y="5"/>
                  </a:cubicBezTo>
                  <a:cubicBezTo>
                    <a:pt x="44" y="5"/>
                    <a:pt x="38" y="2"/>
                    <a:pt x="31" y="1"/>
                  </a:cubicBezTo>
                  <a:close/>
                </a:path>
              </a:pathLst>
            </a:custGeom>
            <a:solidFill>
              <a:srgbClr val="006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íŝ1ïḓê">
              <a:extLst>
                <a:ext uri="{FF2B5EF4-FFF2-40B4-BE49-F238E27FC236}">
                  <a16:creationId xmlns:a16="http://schemas.microsoft.com/office/drawing/2014/main" id="{381D0FB4-B366-4C9A-B17E-171D8522A577}"/>
                </a:ext>
              </a:extLst>
            </p:cNvPr>
            <p:cNvSpPr/>
            <p:nvPr/>
          </p:nvSpPr>
          <p:spPr bwMode="auto">
            <a:xfrm>
              <a:off x="6418264" y="4216401"/>
              <a:ext cx="200025" cy="71438"/>
            </a:xfrm>
            <a:custGeom>
              <a:avLst/>
              <a:gdLst>
                <a:gd name="T0" fmla="*/ 51 w 51"/>
                <a:gd name="T1" fmla="*/ 3 h 18"/>
                <a:gd name="T2" fmla="*/ 30 w 51"/>
                <a:gd name="T3" fmla="*/ 0 h 18"/>
                <a:gd name="T4" fmla="*/ 13 w 51"/>
                <a:gd name="T5" fmla="*/ 3 h 18"/>
                <a:gd name="T6" fmla="*/ 3 w 51"/>
                <a:gd name="T7" fmla="*/ 4 h 18"/>
                <a:gd name="T8" fmla="*/ 0 w 51"/>
                <a:gd name="T9" fmla="*/ 18 h 18"/>
                <a:gd name="T10" fmla="*/ 51 w 51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8">
                  <a:moveTo>
                    <a:pt x="51" y="3"/>
                  </a:moveTo>
                  <a:cubicBezTo>
                    <a:pt x="51" y="3"/>
                    <a:pt x="39" y="1"/>
                    <a:pt x="30" y="0"/>
                  </a:cubicBezTo>
                  <a:cubicBezTo>
                    <a:pt x="25" y="6"/>
                    <a:pt x="17" y="5"/>
                    <a:pt x="13" y="3"/>
                  </a:cubicBezTo>
                  <a:cubicBezTo>
                    <a:pt x="8" y="2"/>
                    <a:pt x="3" y="4"/>
                    <a:pt x="3" y="4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51" y="3"/>
                  </a:lnTo>
                  <a:close/>
                </a:path>
              </a:pathLst>
            </a:custGeom>
            <a:solidFill>
              <a:srgbClr val="006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$ļïḍe">
              <a:extLst>
                <a:ext uri="{FF2B5EF4-FFF2-40B4-BE49-F238E27FC236}">
                  <a16:creationId xmlns:a16="http://schemas.microsoft.com/office/drawing/2014/main" id="{042711C8-EE08-426A-AE6C-2AA86E883417}"/>
                </a:ext>
              </a:extLst>
            </p:cNvPr>
            <p:cNvSpPr/>
            <p:nvPr/>
          </p:nvSpPr>
          <p:spPr bwMode="auto">
            <a:xfrm>
              <a:off x="6905626" y="3729038"/>
              <a:ext cx="3175" cy="98425"/>
            </a:xfrm>
            <a:custGeom>
              <a:avLst/>
              <a:gdLst>
                <a:gd name="T0" fmla="*/ 0 w 1"/>
                <a:gd name="T1" fmla="*/ 0 h 25"/>
                <a:gd name="T2" fmla="*/ 0 w 1"/>
                <a:gd name="T3" fmla="*/ 0 h 25"/>
                <a:gd name="T4" fmla="*/ 1 w 1"/>
                <a:gd name="T5" fmla="*/ 25 h 25"/>
                <a:gd name="T6" fmla="*/ 1 w 1"/>
                <a:gd name="T7" fmla="*/ 25 h 25"/>
                <a:gd name="T8" fmla="*/ 0 w 1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6"/>
                    <a:pt x="1" y="1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15"/>
                    <a:pt x="1" y="6"/>
                    <a:pt x="0" y="0"/>
                  </a:cubicBezTo>
                </a:path>
              </a:pathLst>
            </a:custGeom>
            <a:solidFill>
              <a:srgbClr val="FFD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ṧḷídê">
              <a:extLst>
                <a:ext uri="{FF2B5EF4-FFF2-40B4-BE49-F238E27FC236}">
                  <a16:creationId xmlns:a16="http://schemas.microsoft.com/office/drawing/2014/main" id="{5D5962EA-2118-434C-986A-2294CE87F468}"/>
                </a:ext>
              </a:extLst>
            </p:cNvPr>
            <p:cNvSpPr/>
            <p:nvPr/>
          </p:nvSpPr>
          <p:spPr bwMode="auto">
            <a:xfrm>
              <a:off x="6905626" y="3667126"/>
              <a:ext cx="152400" cy="160338"/>
            </a:xfrm>
            <a:custGeom>
              <a:avLst/>
              <a:gdLst>
                <a:gd name="T0" fmla="*/ 39 w 39"/>
                <a:gd name="T1" fmla="*/ 0 h 41"/>
                <a:gd name="T2" fmla="*/ 39 w 39"/>
                <a:gd name="T3" fmla="*/ 0 h 41"/>
                <a:gd name="T4" fmla="*/ 0 w 39"/>
                <a:gd name="T5" fmla="*/ 16 h 41"/>
                <a:gd name="T6" fmla="*/ 1 w 39"/>
                <a:gd name="T7" fmla="*/ 41 h 41"/>
                <a:gd name="T8" fmla="*/ 39 w 39"/>
                <a:gd name="T9" fmla="*/ 0 h 41"/>
                <a:gd name="T10" fmla="*/ 39 w 39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1"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23" y="3"/>
                    <a:pt x="10" y="9"/>
                    <a:pt x="0" y="16"/>
                  </a:cubicBezTo>
                  <a:cubicBezTo>
                    <a:pt x="1" y="22"/>
                    <a:pt x="1" y="31"/>
                    <a:pt x="1" y="41"/>
                  </a:cubicBezTo>
                  <a:cubicBezTo>
                    <a:pt x="14" y="22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iśḻîďe">
              <a:extLst>
                <a:ext uri="{FF2B5EF4-FFF2-40B4-BE49-F238E27FC236}">
                  <a16:creationId xmlns:a16="http://schemas.microsoft.com/office/drawing/2014/main" id="{CB156C2C-EF58-4BF4-B15D-12A4B54F7AF4}"/>
                </a:ext>
              </a:extLst>
            </p:cNvPr>
            <p:cNvSpPr/>
            <p:nvPr/>
          </p:nvSpPr>
          <p:spPr bwMode="auto">
            <a:xfrm>
              <a:off x="6618289" y="3933826"/>
              <a:ext cx="15875" cy="39688"/>
            </a:xfrm>
            <a:custGeom>
              <a:avLst/>
              <a:gdLst>
                <a:gd name="T0" fmla="*/ 4 w 4"/>
                <a:gd name="T1" fmla="*/ 0 h 10"/>
                <a:gd name="T2" fmla="*/ 0 w 4"/>
                <a:gd name="T3" fmla="*/ 10 h 10"/>
                <a:gd name="T4" fmla="*/ 0 w 4"/>
                <a:gd name="T5" fmla="*/ 10 h 10"/>
                <a:gd name="T6" fmla="*/ 4 w 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4" y="0"/>
                  </a:moveTo>
                  <a:cubicBezTo>
                    <a:pt x="2" y="3"/>
                    <a:pt x="1" y="7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7"/>
                    <a:pt x="2" y="3"/>
                    <a:pt x="4" y="0"/>
                  </a:cubicBezTo>
                </a:path>
              </a:pathLst>
            </a:custGeom>
            <a:solidFill>
              <a:srgbClr val="FFD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šḷïḓè">
              <a:extLst>
                <a:ext uri="{FF2B5EF4-FFF2-40B4-BE49-F238E27FC236}">
                  <a16:creationId xmlns:a16="http://schemas.microsoft.com/office/drawing/2014/main" id="{AE99140D-5BF9-4847-8B38-F0339E5E2195}"/>
                </a:ext>
              </a:extLst>
            </p:cNvPr>
            <p:cNvSpPr/>
            <p:nvPr/>
          </p:nvSpPr>
          <p:spPr bwMode="auto">
            <a:xfrm>
              <a:off x="6508751" y="3898901"/>
              <a:ext cx="133350" cy="74613"/>
            </a:xfrm>
            <a:custGeom>
              <a:avLst/>
              <a:gdLst>
                <a:gd name="T0" fmla="*/ 0 w 34"/>
                <a:gd name="T1" fmla="*/ 0 h 19"/>
                <a:gd name="T2" fmla="*/ 28 w 34"/>
                <a:gd name="T3" fmla="*/ 19 h 19"/>
                <a:gd name="T4" fmla="*/ 32 w 34"/>
                <a:gd name="T5" fmla="*/ 9 h 19"/>
                <a:gd name="T6" fmla="*/ 34 w 34"/>
                <a:gd name="T7" fmla="*/ 5 h 19"/>
                <a:gd name="T8" fmla="*/ 27 w 34"/>
                <a:gd name="T9" fmla="*/ 5 h 19"/>
                <a:gd name="T10" fmla="*/ 0 w 34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cubicBezTo>
                    <a:pt x="0" y="0"/>
                    <a:pt x="9" y="14"/>
                    <a:pt x="28" y="19"/>
                  </a:cubicBezTo>
                  <a:cubicBezTo>
                    <a:pt x="29" y="16"/>
                    <a:pt x="30" y="12"/>
                    <a:pt x="32" y="9"/>
                  </a:cubicBezTo>
                  <a:cubicBezTo>
                    <a:pt x="32" y="8"/>
                    <a:pt x="33" y="6"/>
                    <a:pt x="34" y="5"/>
                  </a:cubicBezTo>
                  <a:cubicBezTo>
                    <a:pt x="32" y="5"/>
                    <a:pt x="30" y="5"/>
                    <a:pt x="27" y="5"/>
                  </a:cubicBezTo>
                  <a:cubicBezTo>
                    <a:pt x="16" y="5"/>
                    <a:pt x="6" y="2"/>
                    <a:pt x="0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šḷîdè">
              <a:extLst>
                <a:ext uri="{FF2B5EF4-FFF2-40B4-BE49-F238E27FC236}">
                  <a16:creationId xmlns:a16="http://schemas.microsoft.com/office/drawing/2014/main" id="{F0B6219A-F534-46B8-997E-105E93FF5B0B}"/>
                </a:ext>
              </a:extLst>
            </p:cNvPr>
            <p:cNvSpPr/>
            <p:nvPr/>
          </p:nvSpPr>
          <p:spPr bwMode="auto">
            <a:xfrm>
              <a:off x="6481764" y="3502026"/>
              <a:ext cx="608013" cy="434975"/>
            </a:xfrm>
            <a:custGeom>
              <a:avLst/>
              <a:gdLst>
                <a:gd name="T0" fmla="*/ 152 w 155"/>
                <a:gd name="T1" fmla="*/ 32 h 111"/>
                <a:gd name="T2" fmla="*/ 93 w 155"/>
                <a:gd name="T3" fmla="*/ 10 h 111"/>
                <a:gd name="T4" fmla="*/ 27 w 155"/>
                <a:gd name="T5" fmla="*/ 8 h 111"/>
                <a:gd name="T6" fmla="*/ 10 w 155"/>
                <a:gd name="T7" fmla="*/ 58 h 111"/>
                <a:gd name="T8" fmla="*/ 2 w 155"/>
                <a:gd name="T9" fmla="*/ 92 h 111"/>
                <a:gd name="T10" fmla="*/ 5 w 155"/>
                <a:gd name="T11" fmla="*/ 100 h 111"/>
                <a:gd name="T12" fmla="*/ 67 w 155"/>
                <a:gd name="T13" fmla="*/ 98 h 111"/>
                <a:gd name="T14" fmla="*/ 76 w 155"/>
                <a:gd name="T15" fmla="*/ 91 h 111"/>
                <a:gd name="T16" fmla="*/ 147 w 155"/>
                <a:gd name="T17" fmla="*/ 42 h 111"/>
                <a:gd name="T18" fmla="*/ 152 w 155"/>
                <a:gd name="T19" fmla="*/ 3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5" h="111">
                  <a:moveTo>
                    <a:pt x="152" y="32"/>
                  </a:moveTo>
                  <a:cubicBezTo>
                    <a:pt x="145" y="21"/>
                    <a:pt x="131" y="9"/>
                    <a:pt x="93" y="10"/>
                  </a:cubicBezTo>
                  <a:cubicBezTo>
                    <a:pt x="70" y="0"/>
                    <a:pt x="46" y="0"/>
                    <a:pt x="27" y="8"/>
                  </a:cubicBezTo>
                  <a:cubicBezTo>
                    <a:pt x="27" y="8"/>
                    <a:pt x="11" y="31"/>
                    <a:pt x="10" y="58"/>
                  </a:cubicBezTo>
                  <a:cubicBezTo>
                    <a:pt x="9" y="74"/>
                    <a:pt x="5" y="86"/>
                    <a:pt x="2" y="92"/>
                  </a:cubicBezTo>
                  <a:cubicBezTo>
                    <a:pt x="0" y="95"/>
                    <a:pt x="2" y="99"/>
                    <a:pt x="5" y="100"/>
                  </a:cubicBezTo>
                  <a:cubicBezTo>
                    <a:pt x="15" y="104"/>
                    <a:pt x="40" y="111"/>
                    <a:pt x="67" y="98"/>
                  </a:cubicBezTo>
                  <a:cubicBezTo>
                    <a:pt x="70" y="97"/>
                    <a:pt x="74" y="94"/>
                    <a:pt x="76" y="91"/>
                  </a:cubicBezTo>
                  <a:cubicBezTo>
                    <a:pt x="89" y="77"/>
                    <a:pt x="104" y="50"/>
                    <a:pt x="147" y="42"/>
                  </a:cubicBezTo>
                  <a:cubicBezTo>
                    <a:pt x="152" y="41"/>
                    <a:pt x="155" y="36"/>
                    <a:pt x="152" y="32"/>
                  </a:cubicBezTo>
                </a:path>
              </a:pathLst>
            </a:custGeom>
            <a:solidFill>
              <a:srgbClr val="006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ïş1iḓè">
              <a:extLst>
                <a:ext uri="{FF2B5EF4-FFF2-40B4-BE49-F238E27FC236}">
                  <a16:creationId xmlns:a16="http://schemas.microsoft.com/office/drawing/2014/main" id="{1F17E505-1CC1-46F9-B54D-1CD8FB81FB93}"/>
                </a:ext>
              </a:extLst>
            </p:cNvPr>
            <p:cNvSpPr/>
            <p:nvPr/>
          </p:nvSpPr>
          <p:spPr bwMode="auto">
            <a:xfrm>
              <a:off x="6484939" y="3533776"/>
              <a:ext cx="101600" cy="360363"/>
            </a:xfrm>
            <a:custGeom>
              <a:avLst/>
              <a:gdLst>
                <a:gd name="T0" fmla="*/ 4 w 26"/>
                <a:gd name="T1" fmla="*/ 92 h 92"/>
                <a:gd name="T2" fmla="*/ 4 w 26"/>
                <a:gd name="T3" fmla="*/ 92 h 92"/>
                <a:gd name="T4" fmla="*/ 4 w 26"/>
                <a:gd name="T5" fmla="*/ 92 h 92"/>
                <a:gd name="T6" fmla="*/ 4 w 26"/>
                <a:gd name="T7" fmla="*/ 92 h 92"/>
                <a:gd name="T8" fmla="*/ 4 w 26"/>
                <a:gd name="T9" fmla="*/ 92 h 92"/>
                <a:gd name="T10" fmla="*/ 4 w 26"/>
                <a:gd name="T11" fmla="*/ 92 h 92"/>
                <a:gd name="T12" fmla="*/ 26 w 26"/>
                <a:gd name="T13" fmla="*/ 0 h 92"/>
                <a:gd name="T14" fmla="*/ 26 w 26"/>
                <a:gd name="T15" fmla="*/ 0 h 92"/>
                <a:gd name="T16" fmla="*/ 9 w 26"/>
                <a:gd name="T17" fmla="*/ 50 h 92"/>
                <a:gd name="T18" fmla="*/ 1 w 26"/>
                <a:gd name="T19" fmla="*/ 84 h 92"/>
                <a:gd name="T20" fmla="*/ 0 w 26"/>
                <a:gd name="T21" fmla="*/ 87 h 92"/>
                <a:gd name="T22" fmla="*/ 1 w 26"/>
                <a:gd name="T23" fmla="*/ 84 h 92"/>
                <a:gd name="T24" fmla="*/ 9 w 26"/>
                <a:gd name="T25" fmla="*/ 50 h 92"/>
                <a:gd name="T26" fmla="*/ 26 w 26"/>
                <a:gd name="T27" fmla="*/ 0 h 92"/>
                <a:gd name="T28" fmla="*/ 26 w 26"/>
                <a:gd name="T29" fmla="*/ 0 h 92"/>
                <a:gd name="T30" fmla="*/ 26 w 26"/>
                <a:gd name="T3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92">
                  <a:moveTo>
                    <a:pt x="4" y="92"/>
                  </a:moveTo>
                  <a:cubicBezTo>
                    <a:pt x="4" y="92"/>
                    <a:pt x="4" y="92"/>
                    <a:pt x="4" y="92"/>
                  </a:cubicBezTo>
                  <a:cubicBezTo>
                    <a:pt x="4" y="92"/>
                    <a:pt x="4" y="92"/>
                    <a:pt x="4" y="92"/>
                  </a:cubicBezTo>
                  <a:moveTo>
                    <a:pt x="4" y="92"/>
                  </a:moveTo>
                  <a:cubicBezTo>
                    <a:pt x="4" y="92"/>
                    <a:pt x="4" y="92"/>
                    <a:pt x="4" y="92"/>
                  </a:cubicBezTo>
                  <a:cubicBezTo>
                    <a:pt x="4" y="92"/>
                    <a:pt x="4" y="92"/>
                    <a:pt x="4" y="92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10" y="23"/>
                    <a:pt x="9" y="50"/>
                  </a:cubicBezTo>
                  <a:cubicBezTo>
                    <a:pt x="8" y="66"/>
                    <a:pt x="4" y="78"/>
                    <a:pt x="1" y="84"/>
                  </a:cubicBezTo>
                  <a:cubicBezTo>
                    <a:pt x="0" y="85"/>
                    <a:pt x="0" y="86"/>
                    <a:pt x="0" y="87"/>
                  </a:cubicBezTo>
                  <a:cubicBezTo>
                    <a:pt x="0" y="86"/>
                    <a:pt x="0" y="85"/>
                    <a:pt x="1" y="84"/>
                  </a:cubicBezTo>
                  <a:cubicBezTo>
                    <a:pt x="4" y="78"/>
                    <a:pt x="8" y="66"/>
                    <a:pt x="9" y="50"/>
                  </a:cubicBezTo>
                  <a:cubicBezTo>
                    <a:pt x="10" y="23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7FB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îş1ïḋe">
              <a:extLst>
                <a:ext uri="{FF2B5EF4-FFF2-40B4-BE49-F238E27FC236}">
                  <a16:creationId xmlns:a16="http://schemas.microsoft.com/office/drawing/2014/main" id="{6079CA4D-24E8-4611-81A3-9FA36537D2ED}"/>
                </a:ext>
              </a:extLst>
            </p:cNvPr>
            <p:cNvSpPr/>
            <p:nvPr/>
          </p:nvSpPr>
          <p:spPr bwMode="auto">
            <a:xfrm>
              <a:off x="6484939" y="3533776"/>
              <a:ext cx="228600" cy="381000"/>
            </a:xfrm>
            <a:custGeom>
              <a:avLst/>
              <a:gdLst>
                <a:gd name="T0" fmla="*/ 26 w 58"/>
                <a:gd name="T1" fmla="*/ 0 h 97"/>
                <a:gd name="T2" fmla="*/ 26 w 58"/>
                <a:gd name="T3" fmla="*/ 0 h 97"/>
                <a:gd name="T4" fmla="*/ 9 w 58"/>
                <a:gd name="T5" fmla="*/ 50 h 97"/>
                <a:gd name="T6" fmla="*/ 1 w 58"/>
                <a:gd name="T7" fmla="*/ 84 h 97"/>
                <a:gd name="T8" fmla="*/ 0 w 58"/>
                <a:gd name="T9" fmla="*/ 87 h 97"/>
                <a:gd name="T10" fmla="*/ 4 w 58"/>
                <a:gd name="T11" fmla="*/ 92 h 97"/>
                <a:gd name="T12" fmla="*/ 4 w 58"/>
                <a:gd name="T13" fmla="*/ 92 h 97"/>
                <a:gd name="T14" fmla="*/ 4 w 58"/>
                <a:gd name="T15" fmla="*/ 92 h 97"/>
                <a:gd name="T16" fmla="*/ 4 w 58"/>
                <a:gd name="T17" fmla="*/ 92 h 97"/>
                <a:gd name="T18" fmla="*/ 4 w 58"/>
                <a:gd name="T19" fmla="*/ 92 h 97"/>
                <a:gd name="T20" fmla="*/ 20 w 58"/>
                <a:gd name="T21" fmla="*/ 97 h 97"/>
                <a:gd name="T22" fmla="*/ 12 w 58"/>
                <a:gd name="T23" fmla="*/ 78 h 97"/>
                <a:gd name="T24" fmla="*/ 23 w 58"/>
                <a:gd name="T25" fmla="*/ 38 h 97"/>
                <a:gd name="T26" fmla="*/ 58 w 58"/>
                <a:gd name="T27" fmla="*/ 9 h 97"/>
                <a:gd name="T28" fmla="*/ 55 w 58"/>
                <a:gd name="T29" fmla="*/ 9 h 97"/>
                <a:gd name="T30" fmla="*/ 28 w 58"/>
                <a:gd name="T31" fmla="*/ 2 h 97"/>
                <a:gd name="T32" fmla="*/ 26 w 58"/>
                <a:gd name="T33" fmla="*/ 0 h 97"/>
                <a:gd name="T34" fmla="*/ 26 w 58"/>
                <a:gd name="T3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" h="97"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10" y="23"/>
                    <a:pt x="9" y="50"/>
                  </a:cubicBezTo>
                  <a:cubicBezTo>
                    <a:pt x="8" y="66"/>
                    <a:pt x="4" y="78"/>
                    <a:pt x="1" y="84"/>
                  </a:cubicBezTo>
                  <a:cubicBezTo>
                    <a:pt x="0" y="85"/>
                    <a:pt x="0" y="86"/>
                    <a:pt x="0" y="87"/>
                  </a:cubicBezTo>
                  <a:cubicBezTo>
                    <a:pt x="0" y="89"/>
                    <a:pt x="2" y="91"/>
                    <a:pt x="4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8" y="94"/>
                    <a:pt x="14" y="96"/>
                    <a:pt x="20" y="97"/>
                  </a:cubicBezTo>
                  <a:cubicBezTo>
                    <a:pt x="20" y="97"/>
                    <a:pt x="9" y="85"/>
                    <a:pt x="12" y="78"/>
                  </a:cubicBezTo>
                  <a:cubicBezTo>
                    <a:pt x="15" y="71"/>
                    <a:pt x="23" y="57"/>
                    <a:pt x="23" y="38"/>
                  </a:cubicBezTo>
                  <a:cubicBezTo>
                    <a:pt x="22" y="19"/>
                    <a:pt x="57" y="10"/>
                    <a:pt x="58" y="9"/>
                  </a:cubicBezTo>
                  <a:cubicBezTo>
                    <a:pt x="57" y="9"/>
                    <a:pt x="56" y="9"/>
                    <a:pt x="55" y="9"/>
                  </a:cubicBezTo>
                  <a:cubicBezTo>
                    <a:pt x="45" y="9"/>
                    <a:pt x="36" y="8"/>
                    <a:pt x="28" y="2"/>
                  </a:cubicBezTo>
                  <a:cubicBezTo>
                    <a:pt x="27" y="2"/>
                    <a:pt x="26" y="1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0049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$1îḓè">
              <a:extLst>
                <a:ext uri="{FF2B5EF4-FFF2-40B4-BE49-F238E27FC236}">
                  <a16:creationId xmlns:a16="http://schemas.microsoft.com/office/drawing/2014/main" id="{78CB2FBB-F6D0-40A8-AA95-3341DA1980E6}"/>
                </a:ext>
              </a:extLst>
            </p:cNvPr>
            <p:cNvSpPr/>
            <p:nvPr/>
          </p:nvSpPr>
          <p:spPr bwMode="auto">
            <a:xfrm>
              <a:off x="7156451" y="2940051"/>
              <a:ext cx="157163" cy="141288"/>
            </a:xfrm>
            <a:custGeom>
              <a:avLst/>
              <a:gdLst>
                <a:gd name="T0" fmla="*/ 14 w 40"/>
                <a:gd name="T1" fmla="*/ 15 h 36"/>
                <a:gd name="T2" fmla="*/ 17 w 40"/>
                <a:gd name="T3" fmla="*/ 5 h 36"/>
                <a:gd name="T4" fmla="*/ 11 w 40"/>
                <a:gd name="T5" fmla="*/ 9 h 36"/>
                <a:gd name="T6" fmla="*/ 3 w 40"/>
                <a:gd name="T7" fmla="*/ 26 h 36"/>
                <a:gd name="T8" fmla="*/ 9 w 40"/>
                <a:gd name="T9" fmla="*/ 36 h 36"/>
                <a:gd name="T10" fmla="*/ 33 w 40"/>
                <a:gd name="T11" fmla="*/ 21 h 36"/>
                <a:gd name="T12" fmla="*/ 40 w 40"/>
                <a:gd name="T13" fmla="*/ 0 h 36"/>
                <a:gd name="T14" fmla="*/ 14 w 40"/>
                <a:gd name="T15" fmla="*/ 1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6">
                  <a:moveTo>
                    <a:pt x="14" y="1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3" y="7"/>
                    <a:pt x="11" y="9"/>
                  </a:cubicBezTo>
                  <a:cubicBezTo>
                    <a:pt x="6" y="13"/>
                    <a:pt x="3" y="26"/>
                    <a:pt x="3" y="26"/>
                  </a:cubicBezTo>
                  <a:cubicBezTo>
                    <a:pt x="0" y="34"/>
                    <a:pt x="9" y="36"/>
                    <a:pt x="9" y="36"/>
                  </a:cubicBezTo>
                  <a:cubicBezTo>
                    <a:pt x="9" y="36"/>
                    <a:pt x="31" y="22"/>
                    <a:pt x="33" y="21"/>
                  </a:cubicBezTo>
                  <a:cubicBezTo>
                    <a:pt x="36" y="19"/>
                    <a:pt x="39" y="5"/>
                    <a:pt x="40" y="0"/>
                  </a:cubicBezTo>
                  <a:cubicBezTo>
                    <a:pt x="28" y="2"/>
                    <a:pt x="14" y="15"/>
                    <a:pt x="14" y="15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ṣḷiďê">
              <a:extLst>
                <a:ext uri="{FF2B5EF4-FFF2-40B4-BE49-F238E27FC236}">
                  <a16:creationId xmlns:a16="http://schemas.microsoft.com/office/drawing/2014/main" id="{8AB9CAB4-1CB1-4A77-919C-8C5D34BC94E3}"/>
                </a:ext>
              </a:extLst>
            </p:cNvPr>
            <p:cNvSpPr/>
            <p:nvPr/>
          </p:nvSpPr>
          <p:spPr bwMode="auto">
            <a:xfrm>
              <a:off x="6791326" y="3041651"/>
              <a:ext cx="401638" cy="279400"/>
            </a:xfrm>
            <a:custGeom>
              <a:avLst/>
              <a:gdLst>
                <a:gd name="T0" fmla="*/ 6 w 102"/>
                <a:gd name="T1" fmla="*/ 40 h 71"/>
                <a:gd name="T2" fmla="*/ 57 w 102"/>
                <a:gd name="T3" fmla="*/ 21 h 71"/>
                <a:gd name="T4" fmla="*/ 96 w 102"/>
                <a:gd name="T5" fmla="*/ 0 h 71"/>
                <a:gd name="T6" fmla="*/ 102 w 102"/>
                <a:gd name="T7" fmla="*/ 10 h 71"/>
                <a:gd name="T8" fmla="*/ 22 w 102"/>
                <a:gd name="T9" fmla="*/ 67 h 71"/>
                <a:gd name="T10" fmla="*/ 6 w 102"/>
                <a:gd name="T11" fmla="*/ 4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71">
                  <a:moveTo>
                    <a:pt x="6" y="40"/>
                  </a:moveTo>
                  <a:cubicBezTo>
                    <a:pt x="6" y="40"/>
                    <a:pt x="43" y="29"/>
                    <a:pt x="57" y="21"/>
                  </a:cubicBezTo>
                  <a:cubicBezTo>
                    <a:pt x="71" y="13"/>
                    <a:pt x="96" y="0"/>
                    <a:pt x="96" y="0"/>
                  </a:cubicBezTo>
                  <a:cubicBezTo>
                    <a:pt x="96" y="0"/>
                    <a:pt x="102" y="5"/>
                    <a:pt x="102" y="10"/>
                  </a:cubicBezTo>
                  <a:cubicBezTo>
                    <a:pt x="102" y="10"/>
                    <a:pt x="46" y="60"/>
                    <a:pt x="22" y="67"/>
                  </a:cubicBezTo>
                  <a:cubicBezTo>
                    <a:pt x="0" y="71"/>
                    <a:pt x="6" y="40"/>
                    <a:pt x="6" y="40"/>
                  </a:cubicBezTo>
                </a:path>
              </a:pathLst>
            </a:custGeom>
            <a:solidFill>
              <a:srgbClr val="FFAA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ṣľíḋé">
              <a:extLst>
                <a:ext uri="{FF2B5EF4-FFF2-40B4-BE49-F238E27FC236}">
                  <a16:creationId xmlns:a16="http://schemas.microsoft.com/office/drawing/2014/main" id="{DCA63380-9220-4BC5-A965-80EB3ED5ECB9}"/>
                </a:ext>
              </a:extLst>
            </p:cNvPr>
            <p:cNvSpPr/>
            <p:nvPr/>
          </p:nvSpPr>
          <p:spPr bwMode="auto">
            <a:xfrm>
              <a:off x="6826251" y="3187701"/>
              <a:ext cx="122238" cy="106363"/>
            </a:xfrm>
            <a:custGeom>
              <a:avLst/>
              <a:gdLst>
                <a:gd name="T0" fmla="*/ 31 w 31"/>
                <a:gd name="T1" fmla="*/ 21 h 27"/>
                <a:gd name="T2" fmla="*/ 20 w 31"/>
                <a:gd name="T3" fmla="*/ 27 h 27"/>
                <a:gd name="T4" fmla="*/ 20 w 31"/>
                <a:gd name="T5" fmla="*/ 27 h 27"/>
                <a:gd name="T6" fmla="*/ 31 w 31"/>
                <a:gd name="T7" fmla="*/ 21 h 27"/>
                <a:gd name="T8" fmla="*/ 31 w 31"/>
                <a:gd name="T9" fmla="*/ 21 h 27"/>
                <a:gd name="T10" fmla="*/ 31 w 31"/>
                <a:gd name="T11" fmla="*/ 21 h 27"/>
                <a:gd name="T12" fmla="*/ 31 w 31"/>
                <a:gd name="T13" fmla="*/ 21 h 27"/>
                <a:gd name="T14" fmla="*/ 6 w 31"/>
                <a:gd name="T15" fmla="*/ 0 h 27"/>
                <a:gd name="T16" fmla="*/ 0 w 31"/>
                <a:gd name="T17" fmla="*/ 2 h 27"/>
                <a:gd name="T18" fmla="*/ 0 w 31"/>
                <a:gd name="T19" fmla="*/ 2 h 27"/>
                <a:gd name="T20" fmla="*/ 6 w 31"/>
                <a:gd name="T21" fmla="*/ 0 h 27"/>
                <a:gd name="T22" fmla="*/ 6 w 31"/>
                <a:gd name="T2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27">
                  <a:moveTo>
                    <a:pt x="31" y="21"/>
                  </a:moveTo>
                  <a:cubicBezTo>
                    <a:pt x="27" y="24"/>
                    <a:pt x="23" y="26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3" y="26"/>
                    <a:pt x="27" y="24"/>
                    <a:pt x="31" y="21"/>
                  </a:cubicBezTo>
                  <a:moveTo>
                    <a:pt x="31" y="21"/>
                  </a:move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moveTo>
                    <a:pt x="6" y="0"/>
                  </a:moveTo>
                  <a:cubicBezTo>
                    <a:pt x="4" y="1"/>
                    <a:pt x="2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4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FFD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í$ḷíḍe">
              <a:extLst>
                <a:ext uri="{FF2B5EF4-FFF2-40B4-BE49-F238E27FC236}">
                  <a16:creationId xmlns:a16="http://schemas.microsoft.com/office/drawing/2014/main" id="{8AD28C66-4A1F-4C70-8058-FBD037307C2B}"/>
                </a:ext>
              </a:extLst>
            </p:cNvPr>
            <p:cNvSpPr/>
            <p:nvPr/>
          </p:nvSpPr>
          <p:spPr bwMode="auto">
            <a:xfrm>
              <a:off x="6826251" y="3168651"/>
              <a:ext cx="263525" cy="125413"/>
            </a:xfrm>
            <a:custGeom>
              <a:avLst/>
              <a:gdLst>
                <a:gd name="T0" fmla="*/ 67 w 67"/>
                <a:gd name="T1" fmla="*/ 0 h 32"/>
                <a:gd name="T2" fmla="*/ 34 w 67"/>
                <a:gd name="T3" fmla="*/ 14 h 32"/>
                <a:gd name="T4" fmla="*/ 31 w 67"/>
                <a:gd name="T5" fmla="*/ 14 h 32"/>
                <a:gd name="T6" fmla="*/ 6 w 67"/>
                <a:gd name="T7" fmla="*/ 5 h 32"/>
                <a:gd name="T8" fmla="*/ 0 w 67"/>
                <a:gd name="T9" fmla="*/ 7 h 32"/>
                <a:gd name="T10" fmla="*/ 1 w 67"/>
                <a:gd name="T11" fmla="*/ 7 h 32"/>
                <a:gd name="T12" fmla="*/ 20 w 67"/>
                <a:gd name="T13" fmla="*/ 32 h 32"/>
                <a:gd name="T14" fmla="*/ 31 w 67"/>
                <a:gd name="T15" fmla="*/ 26 h 32"/>
                <a:gd name="T16" fmla="*/ 31 w 67"/>
                <a:gd name="T17" fmla="*/ 26 h 32"/>
                <a:gd name="T18" fmla="*/ 31 w 67"/>
                <a:gd name="T19" fmla="*/ 26 h 32"/>
                <a:gd name="T20" fmla="*/ 67 w 67"/>
                <a:gd name="T2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32">
                  <a:moveTo>
                    <a:pt x="67" y="0"/>
                  </a:moveTo>
                  <a:cubicBezTo>
                    <a:pt x="56" y="5"/>
                    <a:pt x="41" y="13"/>
                    <a:pt x="34" y="14"/>
                  </a:cubicBezTo>
                  <a:cubicBezTo>
                    <a:pt x="33" y="14"/>
                    <a:pt x="32" y="14"/>
                    <a:pt x="31" y="14"/>
                  </a:cubicBezTo>
                  <a:cubicBezTo>
                    <a:pt x="23" y="14"/>
                    <a:pt x="13" y="9"/>
                    <a:pt x="6" y="5"/>
                  </a:cubicBezTo>
                  <a:cubicBezTo>
                    <a:pt x="4" y="6"/>
                    <a:pt x="2" y="7"/>
                    <a:pt x="0" y="7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7" y="8"/>
                    <a:pt x="17" y="22"/>
                    <a:pt x="20" y="32"/>
                  </a:cubicBezTo>
                  <a:cubicBezTo>
                    <a:pt x="23" y="31"/>
                    <a:pt x="27" y="29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42" y="19"/>
                    <a:pt x="55" y="9"/>
                    <a:pt x="67" y="0"/>
                  </a:cubicBezTo>
                </a:path>
              </a:pathLst>
            </a:custGeom>
            <a:solidFill>
              <a:srgbClr val="FF8D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ïšľîde">
              <a:extLst>
                <a:ext uri="{FF2B5EF4-FFF2-40B4-BE49-F238E27FC236}">
                  <a16:creationId xmlns:a16="http://schemas.microsoft.com/office/drawing/2014/main" id="{925E4313-3FEE-40EA-9F17-441534817C92}"/>
                </a:ext>
              </a:extLst>
            </p:cNvPr>
            <p:cNvSpPr/>
            <p:nvPr/>
          </p:nvSpPr>
          <p:spPr bwMode="auto">
            <a:xfrm>
              <a:off x="6586539" y="3190876"/>
              <a:ext cx="322263" cy="417513"/>
            </a:xfrm>
            <a:custGeom>
              <a:avLst/>
              <a:gdLst>
                <a:gd name="T0" fmla="*/ 31 w 82"/>
                <a:gd name="T1" fmla="*/ 4 h 106"/>
                <a:gd name="T2" fmla="*/ 62 w 82"/>
                <a:gd name="T3" fmla="*/ 1 h 106"/>
                <a:gd name="T4" fmla="*/ 81 w 82"/>
                <a:gd name="T5" fmla="*/ 32 h 106"/>
                <a:gd name="T6" fmla="*/ 69 w 82"/>
                <a:gd name="T7" fmla="*/ 48 h 106"/>
                <a:gd name="T8" fmla="*/ 66 w 82"/>
                <a:gd name="T9" fmla="*/ 89 h 106"/>
                <a:gd name="T10" fmla="*/ 0 w 82"/>
                <a:gd name="T11" fmla="*/ 87 h 106"/>
                <a:gd name="T12" fmla="*/ 31 w 82"/>
                <a:gd name="T13" fmla="*/ 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06">
                  <a:moveTo>
                    <a:pt x="31" y="4"/>
                  </a:moveTo>
                  <a:cubicBezTo>
                    <a:pt x="31" y="4"/>
                    <a:pt x="55" y="0"/>
                    <a:pt x="62" y="1"/>
                  </a:cubicBezTo>
                  <a:cubicBezTo>
                    <a:pt x="69" y="2"/>
                    <a:pt x="82" y="22"/>
                    <a:pt x="81" y="32"/>
                  </a:cubicBezTo>
                  <a:cubicBezTo>
                    <a:pt x="80" y="41"/>
                    <a:pt x="74" y="40"/>
                    <a:pt x="69" y="48"/>
                  </a:cubicBezTo>
                  <a:cubicBezTo>
                    <a:pt x="63" y="56"/>
                    <a:pt x="66" y="89"/>
                    <a:pt x="66" y="89"/>
                  </a:cubicBezTo>
                  <a:cubicBezTo>
                    <a:pt x="66" y="89"/>
                    <a:pt x="23" y="106"/>
                    <a:pt x="0" y="87"/>
                  </a:cubicBezTo>
                  <a:cubicBezTo>
                    <a:pt x="2" y="79"/>
                    <a:pt x="31" y="4"/>
                    <a:pt x="31" y="4"/>
                  </a:cubicBezTo>
                </a:path>
              </a:pathLst>
            </a:custGeom>
            <a:solidFill>
              <a:srgbClr val="FFAA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ïsļîḍé">
              <a:extLst>
                <a:ext uri="{FF2B5EF4-FFF2-40B4-BE49-F238E27FC236}">
                  <a16:creationId xmlns:a16="http://schemas.microsoft.com/office/drawing/2014/main" id="{06C1865D-45E7-441B-9E7D-D8D8703C45BA}"/>
                </a:ext>
              </a:extLst>
            </p:cNvPr>
            <p:cNvSpPr/>
            <p:nvPr/>
          </p:nvSpPr>
          <p:spPr bwMode="auto">
            <a:xfrm>
              <a:off x="6756401" y="3148013"/>
              <a:ext cx="58738" cy="82550"/>
            </a:xfrm>
            <a:custGeom>
              <a:avLst/>
              <a:gdLst>
                <a:gd name="T0" fmla="*/ 11 w 15"/>
                <a:gd name="T1" fmla="*/ 2 h 21"/>
                <a:gd name="T2" fmla="*/ 15 w 15"/>
                <a:gd name="T3" fmla="*/ 14 h 21"/>
                <a:gd name="T4" fmla="*/ 15 w 15"/>
                <a:gd name="T5" fmla="*/ 16 h 21"/>
                <a:gd name="T6" fmla="*/ 8 w 15"/>
                <a:gd name="T7" fmla="*/ 21 h 21"/>
                <a:gd name="T8" fmla="*/ 1 w 15"/>
                <a:gd name="T9" fmla="*/ 19 h 21"/>
                <a:gd name="T10" fmla="*/ 0 w 15"/>
                <a:gd name="T11" fmla="*/ 15 h 21"/>
                <a:gd name="T12" fmla="*/ 2 w 15"/>
                <a:gd name="T13" fmla="*/ 2 h 21"/>
                <a:gd name="T14" fmla="*/ 11 w 15"/>
                <a:gd name="T15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1">
                  <a:moveTo>
                    <a:pt x="11" y="2"/>
                  </a:move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5"/>
                    <a:pt x="15" y="16"/>
                  </a:cubicBezTo>
                  <a:cubicBezTo>
                    <a:pt x="14" y="18"/>
                    <a:pt x="12" y="21"/>
                    <a:pt x="8" y="21"/>
                  </a:cubicBezTo>
                  <a:cubicBezTo>
                    <a:pt x="4" y="21"/>
                    <a:pt x="2" y="20"/>
                    <a:pt x="1" y="19"/>
                  </a:cubicBezTo>
                  <a:cubicBezTo>
                    <a:pt x="1" y="18"/>
                    <a:pt x="0" y="17"/>
                    <a:pt x="0" y="15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8" y="0"/>
                    <a:pt x="11" y="2"/>
                  </a:cubicBezTo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iş1ídè">
              <a:extLst>
                <a:ext uri="{FF2B5EF4-FFF2-40B4-BE49-F238E27FC236}">
                  <a16:creationId xmlns:a16="http://schemas.microsoft.com/office/drawing/2014/main" id="{A86ADFB3-0F9E-4AF3-8A33-458DDE204FE6}"/>
                </a:ext>
              </a:extLst>
            </p:cNvPr>
            <p:cNvSpPr/>
            <p:nvPr/>
          </p:nvSpPr>
          <p:spPr bwMode="auto">
            <a:xfrm>
              <a:off x="6623051" y="3363913"/>
              <a:ext cx="26988" cy="71438"/>
            </a:xfrm>
            <a:custGeom>
              <a:avLst/>
              <a:gdLst>
                <a:gd name="T0" fmla="*/ 7 w 7"/>
                <a:gd name="T1" fmla="*/ 0 h 18"/>
                <a:gd name="T2" fmla="*/ 7 w 7"/>
                <a:gd name="T3" fmla="*/ 0 h 18"/>
                <a:gd name="T4" fmla="*/ 0 w 7"/>
                <a:gd name="T5" fmla="*/ 18 h 18"/>
                <a:gd name="T6" fmla="*/ 7 w 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6"/>
                    <a:pt x="2" y="12"/>
                    <a:pt x="0" y="18"/>
                  </a:cubicBezTo>
                  <a:cubicBezTo>
                    <a:pt x="2" y="12"/>
                    <a:pt x="4" y="6"/>
                    <a:pt x="7" y="0"/>
                  </a:cubicBezTo>
                </a:path>
              </a:pathLst>
            </a:custGeom>
            <a:solidFill>
              <a:srgbClr val="FFD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îş1íde">
              <a:extLst>
                <a:ext uri="{FF2B5EF4-FFF2-40B4-BE49-F238E27FC236}">
                  <a16:creationId xmlns:a16="http://schemas.microsoft.com/office/drawing/2014/main" id="{3D84A19F-894C-495B-9E5C-E1CB868C2D56}"/>
                </a:ext>
              </a:extLst>
            </p:cNvPr>
            <p:cNvSpPr/>
            <p:nvPr/>
          </p:nvSpPr>
          <p:spPr bwMode="auto">
            <a:xfrm>
              <a:off x="6586539" y="3533776"/>
              <a:ext cx="7938" cy="7938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1"/>
                    <a:pt x="1" y="2"/>
                    <a:pt x="2" y="2"/>
                  </a:cubicBezTo>
                  <a:cubicBezTo>
                    <a:pt x="1" y="2"/>
                    <a:pt x="0" y="1"/>
                    <a:pt x="0" y="0"/>
                  </a:cubicBezTo>
                </a:path>
              </a:pathLst>
            </a:custGeom>
            <a:solidFill>
              <a:srgbClr val="003D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ṡļíḍe">
              <a:extLst>
                <a:ext uri="{FF2B5EF4-FFF2-40B4-BE49-F238E27FC236}">
                  <a16:creationId xmlns:a16="http://schemas.microsoft.com/office/drawing/2014/main" id="{6CFFFA21-7D0D-411B-B621-1D46165636F8}"/>
                </a:ext>
              </a:extLst>
            </p:cNvPr>
            <p:cNvSpPr/>
            <p:nvPr/>
          </p:nvSpPr>
          <p:spPr bwMode="auto">
            <a:xfrm>
              <a:off x="6586539" y="3317876"/>
              <a:ext cx="130175" cy="250825"/>
            </a:xfrm>
            <a:custGeom>
              <a:avLst/>
              <a:gdLst>
                <a:gd name="T0" fmla="*/ 33 w 33"/>
                <a:gd name="T1" fmla="*/ 0 h 64"/>
                <a:gd name="T2" fmla="*/ 32 w 33"/>
                <a:gd name="T3" fmla="*/ 1 h 64"/>
                <a:gd name="T4" fmla="*/ 16 w 33"/>
                <a:gd name="T5" fmla="*/ 12 h 64"/>
                <a:gd name="T6" fmla="*/ 9 w 33"/>
                <a:gd name="T7" fmla="*/ 30 h 64"/>
                <a:gd name="T8" fmla="*/ 0 w 33"/>
                <a:gd name="T9" fmla="*/ 55 h 64"/>
                <a:gd name="T10" fmla="*/ 0 w 33"/>
                <a:gd name="T11" fmla="*/ 55 h 64"/>
                <a:gd name="T12" fmla="*/ 0 w 33"/>
                <a:gd name="T13" fmla="*/ 55 h 64"/>
                <a:gd name="T14" fmla="*/ 2 w 33"/>
                <a:gd name="T15" fmla="*/ 57 h 64"/>
                <a:gd name="T16" fmla="*/ 29 w 33"/>
                <a:gd name="T17" fmla="*/ 64 h 64"/>
                <a:gd name="T18" fmla="*/ 32 w 33"/>
                <a:gd name="T19" fmla="*/ 64 h 64"/>
                <a:gd name="T20" fmla="*/ 21 w 33"/>
                <a:gd name="T21" fmla="*/ 59 h 64"/>
                <a:gd name="T22" fmla="*/ 15 w 33"/>
                <a:gd name="T23" fmla="*/ 37 h 64"/>
                <a:gd name="T24" fmla="*/ 33 w 33"/>
                <a:gd name="T2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4">
                  <a:moveTo>
                    <a:pt x="33" y="0"/>
                  </a:moveTo>
                  <a:cubicBezTo>
                    <a:pt x="32" y="0"/>
                    <a:pt x="32" y="1"/>
                    <a:pt x="32" y="1"/>
                  </a:cubicBezTo>
                  <a:cubicBezTo>
                    <a:pt x="29" y="5"/>
                    <a:pt x="23" y="8"/>
                    <a:pt x="16" y="12"/>
                  </a:cubicBezTo>
                  <a:cubicBezTo>
                    <a:pt x="13" y="18"/>
                    <a:pt x="11" y="24"/>
                    <a:pt x="9" y="30"/>
                  </a:cubicBezTo>
                  <a:cubicBezTo>
                    <a:pt x="4" y="43"/>
                    <a:pt x="0" y="53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1" y="57"/>
                    <a:pt x="2" y="57"/>
                  </a:cubicBezTo>
                  <a:cubicBezTo>
                    <a:pt x="10" y="63"/>
                    <a:pt x="19" y="64"/>
                    <a:pt x="29" y="64"/>
                  </a:cubicBezTo>
                  <a:cubicBezTo>
                    <a:pt x="30" y="64"/>
                    <a:pt x="31" y="64"/>
                    <a:pt x="32" y="64"/>
                  </a:cubicBezTo>
                  <a:cubicBezTo>
                    <a:pt x="28" y="62"/>
                    <a:pt x="24" y="61"/>
                    <a:pt x="21" y="59"/>
                  </a:cubicBezTo>
                  <a:cubicBezTo>
                    <a:pt x="14" y="54"/>
                    <a:pt x="11" y="45"/>
                    <a:pt x="15" y="37"/>
                  </a:cubicBezTo>
                  <a:cubicBezTo>
                    <a:pt x="33" y="0"/>
                    <a:pt x="33" y="0"/>
                    <a:pt x="33" y="0"/>
                  </a:cubicBezTo>
                </a:path>
              </a:pathLst>
            </a:custGeom>
            <a:solidFill>
              <a:srgbClr val="FF8D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ísḷïďê">
              <a:extLst>
                <a:ext uri="{FF2B5EF4-FFF2-40B4-BE49-F238E27FC236}">
                  <a16:creationId xmlns:a16="http://schemas.microsoft.com/office/drawing/2014/main" id="{96CA8208-04F7-4280-93DF-434FE85EEA63}"/>
                </a:ext>
              </a:extLst>
            </p:cNvPr>
            <p:cNvSpPr/>
            <p:nvPr/>
          </p:nvSpPr>
          <p:spPr bwMode="auto">
            <a:xfrm>
              <a:off x="6362701" y="3544888"/>
              <a:ext cx="82550" cy="176213"/>
            </a:xfrm>
            <a:custGeom>
              <a:avLst/>
              <a:gdLst>
                <a:gd name="T0" fmla="*/ 8 w 21"/>
                <a:gd name="T1" fmla="*/ 4 h 45"/>
                <a:gd name="T2" fmla="*/ 2 w 21"/>
                <a:gd name="T3" fmla="*/ 23 h 45"/>
                <a:gd name="T4" fmla="*/ 7 w 21"/>
                <a:gd name="T5" fmla="*/ 45 h 45"/>
                <a:gd name="T6" fmla="*/ 14 w 21"/>
                <a:gd name="T7" fmla="*/ 25 h 45"/>
                <a:gd name="T8" fmla="*/ 14 w 21"/>
                <a:gd name="T9" fmla="*/ 19 h 45"/>
                <a:gd name="T10" fmla="*/ 21 w 21"/>
                <a:gd name="T11" fmla="*/ 25 h 45"/>
                <a:gd name="T12" fmla="*/ 16 w 21"/>
                <a:gd name="T13" fmla="*/ 7 h 45"/>
                <a:gd name="T14" fmla="*/ 8 w 21"/>
                <a:gd name="T15" fmla="*/ 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45">
                  <a:moveTo>
                    <a:pt x="8" y="4"/>
                  </a:moveTo>
                  <a:cubicBezTo>
                    <a:pt x="8" y="4"/>
                    <a:pt x="4" y="14"/>
                    <a:pt x="2" y="23"/>
                  </a:cubicBezTo>
                  <a:cubicBezTo>
                    <a:pt x="0" y="33"/>
                    <a:pt x="7" y="45"/>
                    <a:pt x="7" y="45"/>
                  </a:cubicBezTo>
                  <a:cubicBezTo>
                    <a:pt x="7" y="45"/>
                    <a:pt x="13" y="37"/>
                    <a:pt x="14" y="25"/>
                  </a:cubicBezTo>
                  <a:cubicBezTo>
                    <a:pt x="14" y="20"/>
                    <a:pt x="14" y="19"/>
                    <a:pt x="14" y="19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1" y="15"/>
                    <a:pt x="16" y="7"/>
                  </a:cubicBezTo>
                  <a:cubicBezTo>
                    <a:pt x="14" y="0"/>
                    <a:pt x="9" y="3"/>
                    <a:pt x="8" y="4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išļîdê">
              <a:extLst>
                <a:ext uri="{FF2B5EF4-FFF2-40B4-BE49-F238E27FC236}">
                  <a16:creationId xmlns:a16="http://schemas.microsoft.com/office/drawing/2014/main" id="{E100AB41-A31B-42B3-8E19-AA96615B18B6}"/>
                </a:ext>
              </a:extLst>
            </p:cNvPr>
            <p:cNvSpPr/>
            <p:nvPr/>
          </p:nvSpPr>
          <p:spPr bwMode="auto">
            <a:xfrm>
              <a:off x="6394451" y="3206751"/>
              <a:ext cx="349250" cy="365125"/>
            </a:xfrm>
            <a:custGeom>
              <a:avLst/>
              <a:gdLst>
                <a:gd name="T0" fmla="*/ 80 w 89"/>
                <a:gd name="T1" fmla="*/ 0 h 93"/>
                <a:gd name="T2" fmla="*/ 20 w 89"/>
                <a:gd name="T3" fmla="*/ 36 h 93"/>
                <a:gd name="T4" fmla="*/ 0 w 89"/>
                <a:gd name="T5" fmla="*/ 90 h 93"/>
                <a:gd name="T6" fmla="*/ 8 w 89"/>
                <a:gd name="T7" fmla="*/ 93 h 93"/>
                <a:gd name="T8" fmla="*/ 36 w 89"/>
                <a:gd name="T9" fmla="*/ 50 h 93"/>
                <a:gd name="T10" fmla="*/ 81 w 89"/>
                <a:gd name="T11" fmla="*/ 29 h 93"/>
                <a:gd name="T12" fmla="*/ 80 w 89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93">
                  <a:moveTo>
                    <a:pt x="80" y="0"/>
                  </a:moveTo>
                  <a:cubicBezTo>
                    <a:pt x="80" y="0"/>
                    <a:pt x="50" y="8"/>
                    <a:pt x="20" y="36"/>
                  </a:cubicBezTo>
                  <a:cubicBezTo>
                    <a:pt x="11" y="45"/>
                    <a:pt x="0" y="90"/>
                    <a:pt x="0" y="90"/>
                  </a:cubicBezTo>
                  <a:cubicBezTo>
                    <a:pt x="0" y="90"/>
                    <a:pt x="3" y="92"/>
                    <a:pt x="8" y="93"/>
                  </a:cubicBezTo>
                  <a:cubicBezTo>
                    <a:pt x="12" y="89"/>
                    <a:pt x="28" y="53"/>
                    <a:pt x="36" y="50"/>
                  </a:cubicBezTo>
                  <a:cubicBezTo>
                    <a:pt x="43" y="47"/>
                    <a:pt x="73" y="39"/>
                    <a:pt x="81" y="29"/>
                  </a:cubicBezTo>
                  <a:cubicBezTo>
                    <a:pt x="89" y="18"/>
                    <a:pt x="89" y="3"/>
                    <a:pt x="80" y="0"/>
                  </a:cubicBezTo>
                </a:path>
              </a:pathLst>
            </a:custGeom>
            <a:solidFill>
              <a:srgbClr val="FFAA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ŝlïdè">
              <a:extLst>
                <a:ext uri="{FF2B5EF4-FFF2-40B4-BE49-F238E27FC236}">
                  <a16:creationId xmlns:a16="http://schemas.microsoft.com/office/drawing/2014/main" id="{71328EE7-1872-4882-BA38-C01EF03F3631}"/>
                </a:ext>
              </a:extLst>
            </p:cNvPr>
            <p:cNvSpPr/>
            <p:nvPr/>
          </p:nvSpPr>
          <p:spPr bwMode="auto">
            <a:xfrm>
              <a:off x="6477001" y="3406776"/>
              <a:ext cx="55563" cy="79375"/>
            </a:xfrm>
            <a:custGeom>
              <a:avLst/>
              <a:gdLst>
                <a:gd name="T0" fmla="*/ 14 w 14"/>
                <a:gd name="T1" fmla="*/ 0 h 20"/>
                <a:gd name="T2" fmla="*/ 0 w 14"/>
                <a:gd name="T3" fmla="*/ 20 h 20"/>
                <a:gd name="T4" fmla="*/ 0 w 14"/>
                <a:gd name="T5" fmla="*/ 20 h 20"/>
                <a:gd name="T6" fmla="*/ 14 w 14"/>
                <a:gd name="T7" fmla="*/ 0 h 20"/>
                <a:gd name="T8" fmla="*/ 14 w 14"/>
                <a:gd name="T9" fmla="*/ 0 h 20"/>
                <a:gd name="T10" fmla="*/ 14 w 14"/>
                <a:gd name="T11" fmla="*/ 0 h 20"/>
                <a:gd name="T12" fmla="*/ 14 w 14"/>
                <a:gd name="T13" fmla="*/ 0 h 20"/>
                <a:gd name="T14" fmla="*/ 14 w 14"/>
                <a:gd name="T15" fmla="*/ 0 h 20"/>
                <a:gd name="T16" fmla="*/ 14 w 14"/>
                <a:gd name="T17" fmla="*/ 0 h 20"/>
                <a:gd name="T18" fmla="*/ 14 w 14"/>
                <a:gd name="T19" fmla="*/ 0 h 20"/>
                <a:gd name="T20" fmla="*/ 14 w 14"/>
                <a:gd name="T21" fmla="*/ 0 h 20"/>
                <a:gd name="T22" fmla="*/ 14 w 14"/>
                <a:gd name="T23" fmla="*/ 0 h 20"/>
                <a:gd name="T24" fmla="*/ 14 w 14"/>
                <a:gd name="T2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20">
                  <a:moveTo>
                    <a:pt x="14" y="0"/>
                  </a:moveTo>
                  <a:cubicBezTo>
                    <a:pt x="10" y="2"/>
                    <a:pt x="5" y="11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" y="11"/>
                    <a:pt x="10" y="2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FFD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S1íḓè">
              <a:extLst>
                <a:ext uri="{FF2B5EF4-FFF2-40B4-BE49-F238E27FC236}">
                  <a16:creationId xmlns:a16="http://schemas.microsoft.com/office/drawing/2014/main" id="{55BAB3C5-DD7C-4F9B-A21A-77B58F776868}"/>
                </a:ext>
              </a:extLst>
            </p:cNvPr>
            <p:cNvSpPr/>
            <p:nvPr/>
          </p:nvSpPr>
          <p:spPr bwMode="auto">
            <a:xfrm>
              <a:off x="6477001" y="3281363"/>
              <a:ext cx="255588" cy="204788"/>
            </a:xfrm>
            <a:custGeom>
              <a:avLst/>
              <a:gdLst>
                <a:gd name="T0" fmla="*/ 65 w 65"/>
                <a:gd name="T1" fmla="*/ 0 h 52"/>
                <a:gd name="T2" fmla="*/ 30 w 65"/>
                <a:gd name="T3" fmla="*/ 17 h 52"/>
                <a:gd name="T4" fmla="*/ 10 w 65"/>
                <a:gd name="T5" fmla="*/ 26 h 52"/>
                <a:gd name="T6" fmla="*/ 0 w 65"/>
                <a:gd name="T7" fmla="*/ 52 h 52"/>
                <a:gd name="T8" fmla="*/ 14 w 65"/>
                <a:gd name="T9" fmla="*/ 32 h 52"/>
                <a:gd name="T10" fmla="*/ 14 w 65"/>
                <a:gd name="T11" fmla="*/ 32 h 52"/>
                <a:gd name="T12" fmla="*/ 14 w 65"/>
                <a:gd name="T13" fmla="*/ 32 h 52"/>
                <a:gd name="T14" fmla="*/ 14 w 65"/>
                <a:gd name="T15" fmla="*/ 32 h 52"/>
                <a:gd name="T16" fmla="*/ 14 w 65"/>
                <a:gd name="T17" fmla="*/ 32 h 52"/>
                <a:gd name="T18" fmla="*/ 14 w 65"/>
                <a:gd name="T19" fmla="*/ 32 h 52"/>
                <a:gd name="T20" fmla="*/ 14 w 65"/>
                <a:gd name="T21" fmla="*/ 32 h 52"/>
                <a:gd name="T22" fmla="*/ 15 w 65"/>
                <a:gd name="T23" fmla="*/ 31 h 52"/>
                <a:gd name="T24" fmla="*/ 60 w 65"/>
                <a:gd name="T25" fmla="*/ 10 h 52"/>
                <a:gd name="T26" fmla="*/ 65 w 65"/>
                <a:gd name="T2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52">
                  <a:moveTo>
                    <a:pt x="65" y="0"/>
                  </a:moveTo>
                  <a:cubicBezTo>
                    <a:pt x="65" y="0"/>
                    <a:pt x="42" y="12"/>
                    <a:pt x="30" y="17"/>
                  </a:cubicBezTo>
                  <a:cubicBezTo>
                    <a:pt x="18" y="22"/>
                    <a:pt x="10" y="26"/>
                    <a:pt x="10" y="26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5" y="43"/>
                    <a:pt x="10" y="34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1"/>
                    <a:pt x="15" y="31"/>
                    <a:pt x="15" y="31"/>
                  </a:cubicBezTo>
                  <a:cubicBezTo>
                    <a:pt x="22" y="28"/>
                    <a:pt x="52" y="20"/>
                    <a:pt x="60" y="10"/>
                  </a:cubicBezTo>
                  <a:cubicBezTo>
                    <a:pt x="62" y="7"/>
                    <a:pt x="64" y="3"/>
                    <a:pt x="65" y="0"/>
                  </a:cubicBezTo>
                </a:path>
              </a:pathLst>
            </a:custGeom>
            <a:solidFill>
              <a:srgbClr val="FF8D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ṩḻiḓé">
              <a:extLst>
                <a:ext uri="{FF2B5EF4-FFF2-40B4-BE49-F238E27FC236}">
                  <a16:creationId xmlns:a16="http://schemas.microsoft.com/office/drawing/2014/main" id="{DF8303F8-EC1D-442B-8BD7-AB1F8BF9C4AE}"/>
                </a:ext>
              </a:extLst>
            </p:cNvPr>
            <p:cNvSpPr/>
            <p:nvPr/>
          </p:nvSpPr>
          <p:spPr bwMode="auto">
            <a:xfrm>
              <a:off x="6748464" y="3179763"/>
              <a:ext cx="77788" cy="58738"/>
            </a:xfrm>
            <a:custGeom>
              <a:avLst/>
              <a:gdLst>
                <a:gd name="T0" fmla="*/ 2 w 20"/>
                <a:gd name="T1" fmla="*/ 3 h 15"/>
                <a:gd name="T2" fmla="*/ 1 w 20"/>
                <a:gd name="T3" fmla="*/ 4 h 15"/>
                <a:gd name="T4" fmla="*/ 1 w 20"/>
                <a:gd name="T5" fmla="*/ 11 h 15"/>
                <a:gd name="T6" fmla="*/ 15 w 20"/>
                <a:gd name="T7" fmla="*/ 13 h 15"/>
                <a:gd name="T8" fmla="*/ 19 w 20"/>
                <a:gd name="T9" fmla="*/ 3 h 15"/>
                <a:gd name="T10" fmla="*/ 15 w 20"/>
                <a:gd name="T11" fmla="*/ 1 h 15"/>
                <a:gd name="T12" fmla="*/ 14 w 20"/>
                <a:gd name="T13" fmla="*/ 3 h 15"/>
                <a:gd name="T14" fmla="*/ 13 w 20"/>
                <a:gd name="T15" fmla="*/ 4 h 15"/>
                <a:gd name="T16" fmla="*/ 4 w 20"/>
                <a:gd name="T17" fmla="*/ 4 h 15"/>
                <a:gd name="T18" fmla="*/ 2 w 20"/>
                <a:gd name="T1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5">
                  <a:moveTo>
                    <a:pt x="2" y="3"/>
                  </a:moveTo>
                  <a:cubicBezTo>
                    <a:pt x="1" y="3"/>
                    <a:pt x="1" y="3"/>
                    <a:pt x="1" y="4"/>
                  </a:cubicBezTo>
                  <a:cubicBezTo>
                    <a:pt x="0" y="6"/>
                    <a:pt x="0" y="9"/>
                    <a:pt x="1" y="11"/>
                  </a:cubicBezTo>
                  <a:cubicBezTo>
                    <a:pt x="3" y="14"/>
                    <a:pt x="9" y="15"/>
                    <a:pt x="15" y="13"/>
                  </a:cubicBezTo>
                  <a:cubicBezTo>
                    <a:pt x="20" y="11"/>
                    <a:pt x="20" y="6"/>
                    <a:pt x="19" y="3"/>
                  </a:cubicBezTo>
                  <a:cubicBezTo>
                    <a:pt x="18" y="2"/>
                    <a:pt x="17" y="0"/>
                    <a:pt x="15" y="1"/>
                  </a:cubicBezTo>
                  <a:cubicBezTo>
                    <a:pt x="14" y="1"/>
                    <a:pt x="15" y="3"/>
                    <a:pt x="14" y="3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0" y="5"/>
                    <a:pt x="6" y="6"/>
                    <a:pt x="4" y="4"/>
                  </a:cubicBezTo>
                  <a:cubicBezTo>
                    <a:pt x="3" y="4"/>
                    <a:pt x="3" y="3"/>
                    <a:pt x="2" y="3"/>
                  </a:cubicBezTo>
                </a:path>
              </a:pathLst>
            </a:custGeom>
            <a:solidFill>
              <a:srgbClr val="E88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íṥļîdè">
              <a:extLst>
                <a:ext uri="{FF2B5EF4-FFF2-40B4-BE49-F238E27FC236}">
                  <a16:creationId xmlns:a16="http://schemas.microsoft.com/office/drawing/2014/main" id="{198F7A3B-7031-43BC-9C35-1F13426D399E}"/>
                </a:ext>
              </a:extLst>
            </p:cNvPr>
            <p:cNvSpPr/>
            <p:nvPr/>
          </p:nvSpPr>
          <p:spPr bwMode="auto">
            <a:xfrm>
              <a:off x="6783389" y="3152776"/>
              <a:ext cx="15875" cy="11113"/>
            </a:xfrm>
            <a:custGeom>
              <a:avLst/>
              <a:gdLst>
                <a:gd name="T0" fmla="*/ 4 w 4"/>
                <a:gd name="T1" fmla="*/ 1 h 3"/>
                <a:gd name="T2" fmla="*/ 4 w 4"/>
                <a:gd name="T3" fmla="*/ 1 h 3"/>
                <a:gd name="T4" fmla="*/ 4 w 4"/>
                <a:gd name="T5" fmla="*/ 3 h 3"/>
                <a:gd name="T6" fmla="*/ 4 w 4"/>
                <a:gd name="T7" fmla="*/ 3 h 3"/>
                <a:gd name="T8" fmla="*/ 4 w 4"/>
                <a:gd name="T9" fmla="*/ 1 h 3"/>
                <a:gd name="T10" fmla="*/ 4 w 4"/>
                <a:gd name="T11" fmla="*/ 1 h 3"/>
                <a:gd name="T12" fmla="*/ 3 w 4"/>
                <a:gd name="T13" fmla="*/ 0 h 3"/>
                <a:gd name="T14" fmla="*/ 3 w 4"/>
                <a:gd name="T15" fmla="*/ 0 h 3"/>
                <a:gd name="T16" fmla="*/ 3 w 4"/>
                <a:gd name="T17" fmla="*/ 0 h 3"/>
                <a:gd name="T18" fmla="*/ 0 w 4"/>
                <a:gd name="T19" fmla="*/ 0 h 3"/>
                <a:gd name="T20" fmla="*/ 0 w 4"/>
                <a:gd name="T21" fmla="*/ 0 h 3"/>
                <a:gd name="T22" fmla="*/ 3 w 4"/>
                <a:gd name="T23" fmla="*/ 0 h 3"/>
                <a:gd name="T24" fmla="*/ 0 w 4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FFD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$1iḋe">
              <a:extLst>
                <a:ext uri="{FF2B5EF4-FFF2-40B4-BE49-F238E27FC236}">
                  <a16:creationId xmlns:a16="http://schemas.microsoft.com/office/drawing/2014/main" id="{410BD672-5B62-4F94-A04E-F0F5B5FC60B5}"/>
                </a:ext>
              </a:extLst>
            </p:cNvPr>
            <p:cNvSpPr/>
            <p:nvPr/>
          </p:nvSpPr>
          <p:spPr bwMode="auto">
            <a:xfrm>
              <a:off x="6759576" y="3152776"/>
              <a:ext cx="39688" cy="30163"/>
            </a:xfrm>
            <a:custGeom>
              <a:avLst/>
              <a:gdLst>
                <a:gd name="T0" fmla="*/ 6 w 10"/>
                <a:gd name="T1" fmla="*/ 0 h 8"/>
                <a:gd name="T2" fmla="*/ 1 w 10"/>
                <a:gd name="T3" fmla="*/ 1 h 8"/>
                <a:gd name="T4" fmla="*/ 0 w 10"/>
                <a:gd name="T5" fmla="*/ 8 h 8"/>
                <a:gd name="T6" fmla="*/ 10 w 10"/>
                <a:gd name="T7" fmla="*/ 3 h 8"/>
                <a:gd name="T8" fmla="*/ 10 w 10"/>
                <a:gd name="T9" fmla="*/ 1 h 8"/>
                <a:gd name="T10" fmla="*/ 10 w 10"/>
                <a:gd name="T11" fmla="*/ 1 h 8"/>
                <a:gd name="T12" fmla="*/ 9 w 10"/>
                <a:gd name="T13" fmla="*/ 0 h 8"/>
                <a:gd name="T14" fmla="*/ 9 w 10"/>
                <a:gd name="T15" fmla="*/ 0 h 8"/>
                <a:gd name="T16" fmla="*/ 9 w 10"/>
                <a:gd name="T17" fmla="*/ 0 h 8"/>
                <a:gd name="T18" fmla="*/ 6 w 10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8">
                  <a:moveTo>
                    <a:pt x="6" y="0"/>
                  </a:moveTo>
                  <a:cubicBezTo>
                    <a:pt x="3" y="0"/>
                    <a:pt x="1" y="1"/>
                    <a:pt x="1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6" y="8"/>
                    <a:pt x="9" y="5"/>
                    <a:pt x="10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şḻiḋè">
              <a:extLst>
                <a:ext uri="{FF2B5EF4-FFF2-40B4-BE49-F238E27FC236}">
                  <a16:creationId xmlns:a16="http://schemas.microsoft.com/office/drawing/2014/main" id="{D45F549B-A717-4882-9526-4A97BE65F1BC}"/>
                </a:ext>
              </a:extLst>
            </p:cNvPr>
            <p:cNvSpPr/>
            <p:nvPr/>
          </p:nvSpPr>
          <p:spPr bwMode="auto">
            <a:xfrm>
              <a:off x="6319839" y="3057526"/>
              <a:ext cx="365125" cy="298450"/>
            </a:xfrm>
            <a:custGeom>
              <a:avLst/>
              <a:gdLst>
                <a:gd name="T0" fmla="*/ 88 w 93"/>
                <a:gd name="T1" fmla="*/ 3 h 76"/>
                <a:gd name="T2" fmla="*/ 84 w 93"/>
                <a:gd name="T3" fmla="*/ 2 h 76"/>
                <a:gd name="T4" fmla="*/ 66 w 93"/>
                <a:gd name="T5" fmla="*/ 7 h 76"/>
                <a:gd name="T6" fmla="*/ 55 w 93"/>
                <a:gd name="T7" fmla="*/ 6 h 76"/>
                <a:gd name="T8" fmla="*/ 28 w 93"/>
                <a:gd name="T9" fmla="*/ 9 h 76"/>
                <a:gd name="T10" fmla="*/ 5 w 93"/>
                <a:gd name="T11" fmla="*/ 54 h 76"/>
                <a:gd name="T12" fmla="*/ 56 w 93"/>
                <a:gd name="T13" fmla="*/ 61 h 76"/>
                <a:gd name="T14" fmla="*/ 75 w 93"/>
                <a:gd name="T15" fmla="*/ 26 h 76"/>
                <a:gd name="T16" fmla="*/ 82 w 93"/>
                <a:gd name="T17" fmla="*/ 19 h 76"/>
                <a:gd name="T18" fmla="*/ 93 w 93"/>
                <a:gd name="T19" fmla="*/ 12 h 76"/>
                <a:gd name="T20" fmla="*/ 88 w 93"/>
                <a:gd name="T21" fmla="*/ 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3" h="76">
                  <a:moveTo>
                    <a:pt x="88" y="3"/>
                  </a:moveTo>
                  <a:cubicBezTo>
                    <a:pt x="87" y="3"/>
                    <a:pt x="85" y="2"/>
                    <a:pt x="84" y="2"/>
                  </a:cubicBezTo>
                  <a:cubicBezTo>
                    <a:pt x="76" y="0"/>
                    <a:pt x="72" y="4"/>
                    <a:pt x="66" y="7"/>
                  </a:cubicBezTo>
                  <a:cubicBezTo>
                    <a:pt x="63" y="9"/>
                    <a:pt x="60" y="8"/>
                    <a:pt x="55" y="6"/>
                  </a:cubicBezTo>
                  <a:cubicBezTo>
                    <a:pt x="49" y="5"/>
                    <a:pt x="40" y="3"/>
                    <a:pt x="28" y="9"/>
                  </a:cubicBezTo>
                  <a:cubicBezTo>
                    <a:pt x="9" y="19"/>
                    <a:pt x="0" y="38"/>
                    <a:pt x="5" y="54"/>
                  </a:cubicBezTo>
                  <a:cubicBezTo>
                    <a:pt x="10" y="69"/>
                    <a:pt x="35" y="76"/>
                    <a:pt x="56" y="61"/>
                  </a:cubicBezTo>
                  <a:cubicBezTo>
                    <a:pt x="75" y="46"/>
                    <a:pt x="73" y="34"/>
                    <a:pt x="75" y="26"/>
                  </a:cubicBezTo>
                  <a:cubicBezTo>
                    <a:pt x="76" y="23"/>
                    <a:pt x="78" y="19"/>
                    <a:pt x="82" y="19"/>
                  </a:cubicBezTo>
                  <a:cubicBezTo>
                    <a:pt x="87" y="20"/>
                    <a:pt x="93" y="19"/>
                    <a:pt x="93" y="12"/>
                  </a:cubicBezTo>
                  <a:cubicBezTo>
                    <a:pt x="93" y="8"/>
                    <a:pt x="91" y="5"/>
                    <a:pt x="88" y="3"/>
                  </a:cubicBezTo>
                </a:path>
              </a:pathLst>
            </a:custGeom>
            <a:solidFill>
              <a:srgbClr val="006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ïşlíďè">
              <a:extLst>
                <a:ext uri="{FF2B5EF4-FFF2-40B4-BE49-F238E27FC236}">
                  <a16:creationId xmlns:a16="http://schemas.microsoft.com/office/drawing/2014/main" id="{11AF562A-01F5-4AC1-84DC-A93CD67683C5}"/>
                </a:ext>
              </a:extLst>
            </p:cNvPr>
            <p:cNvSpPr/>
            <p:nvPr/>
          </p:nvSpPr>
          <p:spPr bwMode="auto">
            <a:xfrm>
              <a:off x="6338889" y="3070226"/>
              <a:ext cx="346075" cy="258763"/>
            </a:xfrm>
            <a:custGeom>
              <a:avLst/>
              <a:gdLst>
                <a:gd name="T0" fmla="*/ 82 w 88"/>
                <a:gd name="T1" fmla="*/ 0 h 66"/>
                <a:gd name="T2" fmla="*/ 82 w 88"/>
                <a:gd name="T3" fmla="*/ 3 h 66"/>
                <a:gd name="T4" fmla="*/ 77 w 88"/>
                <a:gd name="T5" fmla="*/ 12 h 66"/>
                <a:gd name="T6" fmla="*/ 76 w 88"/>
                <a:gd name="T7" fmla="*/ 12 h 66"/>
                <a:gd name="T8" fmla="*/ 74 w 88"/>
                <a:gd name="T9" fmla="*/ 11 h 66"/>
                <a:gd name="T10" fmla="*/ 67 w 88"/>
                <a:gd name="T11" fmla="*/ 17 h 66"/>
                <a:gd name="T12" fmla="*/ 39 w 88"/>
                <a:gd name="T13" fmla="*/ 48 h 66"/>
                <a:gd name="T14" fmla="*/ 16 w 88"/>
                <a:gd name="T15" fmla="*/ 55 h 66"/>
                <a:gd name="T16" fmla="*/ 0 w 88"/>
                <a:gd name="T17" fmla="*/ 52 h 66"/>
                <a:gd name="T18" fmla="*/ 25 w 88"/>
                <a:gd name="T19" fmla="*/ 66 h 66"/>
                <a:gd name="T20" fmla="*/ 51 w 88"/>
                <a:gd name="T21" fmla="*/ 58 h 66"/>
                <a:gd name="T22" fmla="*/ 70 w 88"/>
                <a:gd name="T23" fmla="*/ 23 h 66"/>
                <a:gd name="T24" fmla="*/ 77 w 88"/>
                <a:gd name="T25" fmla="*/ 16 h 66"/>
                <a:gd name="T26" fmla="*/ 77 w 88"/>
                <a:gd name="T27" fmla="*/ 16 h 66"/>
                <a:gd name="T28" fmla="*/ 77 w 88"/>
                <a:gd name="T29" fmla="*/ 16 h 66"/>
                <a:gd name="T30" fmla="*/ 88 w 88"/>
                <a:gd name="T31" fmla="*/ 9 h 66"/>
                <a:gd name="T32" fmla="*/ 83 w 88"/>
                <a:gd name="T33" fmla="*/ 0 h 66"/>
                <a:gd name="T34" fmla="*/ 83 w 88"/>
                <a:gd name="T35" fmla="*/ 0 h 66"/>
                <a:gd name="T36" fmla="*/ 82 w 88"/>
                <a:gd name="T3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8" h="66">
                  <a:moveTo>
                    <a:pt x="82" y="0"/>
                  </a:moveTo>
                  <a:cubicBezTo>
                    <a:pt x="82" y="1"/>
                    <a:pt x="82" y="2"/>
                    <a:pt x="82" y="3"/>
                  </a:cubicBezTo>
                  <a:cubicBezTo>
                    <a:pt x="84" y="10"/>
                    <a:pt x="80" y="12"/>
                    <a:pt x="77" y="12"/>
                  </a:cubicBezTo>
                  <a:cubicBezTo>
                    <a:pt x="77" y="12"/>
                    <a:pt x="76" y="12"/>
                    <a:pt x="76" y="12"/>
                  </a:cubicBezTo>
                  <a:cubicBezTo>
                    <a:pt x="75" y="12"/>
                    <a:pt x="75" y="11"/>
                    <a:pt x="74" y="11"/>
                  </a:cubicBezTo>
                  <a:cubicBezTo>
                    <a:pt x="72" y="11"/>
                    <a:pt x="69" y="13"/>
                    <a:pt x="67" y="17"/>
                  </a:cubicBezTo>
                  <a:cubicBezTo>
                    <a:pt x="65" y="23"/>
                    <a:pt x="56" y="36"/>
                    <a:pt x="39" y="48"/>
                  </a:cubicBezTo>
                  <a:cubicBezTo>
                    <a:pt x="30" y="53"/>
                    <a:pt x="22" y="55"/>
                    <a:pt x="16" y="55"/>
                  </a:cubicBezTo>
                  <a:cubicBezTo>
                    <a:pt x="9" y="55"/>
                    <a:pt x="4" y="53"/>
                    <a:pt x="0" y="52"/>
                  </a:cubicBezTo>
                  <a:cubicBezTo>
                    <a:pt x="3" y="61"/>
                    <a:pt x="13" y="66"/>
                    <a:pt x="25" y="66"/>
                  </a:cubicBezTo>
                  <a:cubicBezTo>
                    <a:pt x="33" y="66"/>
                    <a:pt x="42" y="64"/>
                    <a:pt x="51" y="58"/>
                  </a:cubicBezTo>
                  <a:cubicBezTo>
                    <a:pt x="70" y="43"/>
                    <a:pt x="68" y="31"/>
                    <a:pt x="70" y="23"/>
                  </a:cubicBezTo>
                  <a:cubicBezTo>
                    <a:pt x="71" y="20"/>
                    <a:pt x="73" y="16"/>
                    <a:pt x="77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83" y="16"/>
                    <a:pt x="88" y="15"/>
                    <a:pt x="88" y="9"/>
                  </a:cubicBezTo>
                  <a:cubicBezTo>
                    <a:pt x="88" y="5"/>
                    <a:pt x="86" y="2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0049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ïsľíḓè">
              <a:extLst>
                <a:ext uri="{FF2B5EF4-FFF2-40B4-BE49-F238E27FC236}">
                  <a16:creationId xmlns:a16="http://schemas.microsoft.com/office/drawing/2014/main" id="{221DC5BB-D3A7-46D7-8FF1-81A2A4E2C27D}"/>
                </a:ext>
              </a:extLst>
            </p:cNvPr>
            <p:cNvSpPr/>
            <p:nvPr/>
          </p:nvSpPr>
          <p:spPr bwMode="auto">
            <a:xfrm>
              <a:off x="6713539" y="2990851"/>
              <a:ext cx="152400" cy="177800"/>
            </a:xfrm>
            <a:custGeom>
              <a:avLst/>
              <a:gdLst>
                <a:gd name="T0" fmla="*/ 27 w 39"/>
                <a:gd name="T1" fmla="*/ 11 h 45"/>
                <a:gd name="T2" fmla="*/ 37 w 39"/>
                <a:gd name="T3" fmla="*/ 33 h 45"/>
                <a:gd name="T4" fmla="*/ 12 w 39"/>
                <a:gd name="T5" fmla="*/ 45 h 45"/>
                <a:gd name="T6" fmla="*/ 0 w 39"/>
                <a:gd name="T7" fmla="*/ 23 h 45"/>
                <a:gd name="T8" fmla="*/ 27 w 39"/>
                <a:gd name="T9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5">
                  <a:moveTo>
                    <a:pt x="27" y="11"/>
                  </a:moveTo>
                  <a:cubicBezTo>
                    <a:pt x="27" y="11"/>
                    <a:pt x="39" y="27"/>
                    <a:pt x="37" y="33"/>
                  </a:cubicBezTo>
                  <a:cubicBezTo>
                    <a:pt x="36" y="39"/>
                    <a:pt x="28" y="44"/>
                    <a:pt x="12" y="45"/>
                  </a:cubicBezTo>
                  <a:cubicBezTo>
                    <a:pt x="6" y="44"/>
                    <a:pt x="0" y="27"/>
                    <a:pt x="0" y="23"/>
                  </a:cubicBezTo>
                  <a:cubicBezTo>
                    <a:pt x="2" y="0"/>
                    <a:pt x="21" y="7"/>
                    <a:pt x="27" y="11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iṧlïḋè">
              <a:extLst>
                <a:ext uri="{FF2B5EF4-FFF2-40B4-BE49-F238E27FC236}">
                  <a16:creationId xmlns:a16="http://schemas.microsoft.com/office/drawing/2014/main" id="{F4415D91-B194-426D-87D5-41D5D96C1E66}"/>
                </a:ext>
              </a:extLst>
            </p:cNvPr>
            <p:cNvSpPr/>
            <p:nvPr/>
          </p:nvSpPr>
          <p:spPr bwMode="auto">
            <a:xfrm>
              <a:off x="6677026" y="2982913"/>
              <a:ext cx="153988" cy="173038"/>
            </a:xfrm>
            <a:custGeom>
              <a:avLst/>
              <a:gdLst>
                <a:gd name="T0" fmla="*/ 36 w 39"/>
                <a:gd name="T1" fmla="*/ 14 h 44"/>
                <a:gd name="T2" fmla="*/ 24 w 39"/>
                <a:gd name="T3" fmla="*/ 26 h 44"/>
                <a:gd name="T4" fmla="*/ 23 w 39"/>
                <a:gd name="T5" fmla="*/ 32 h 44"/>
                <a:gd name="T6" fmla="*/ 20 w 39"/>
                <a:gd name="T7" fmla="*/ 32 h 44"/>
                <a:gd name="T8" fmla="*/ 17 w 39"/>
                <a:gd name="T9" fmla="*/ 31 h 44"/>
                <a:gd name="T10" fmla="*/ 16 w 39"/>
                <a:gd name="T11" fmla="*/ 41 h 44"/>
                <a:gd name="T12" fmla="*/ 15 w 39"/>
                <a:gd name="T13" fmla="*/ 43 h 44"/>
                <a:gd name="T14" fmla="*/ 5 w 39"/>
                <a:gd name="T15" fmla="*/ 36 h 44"/>
                <a:gd name="T16" fmla="*/ 8 w 39"/>
                <a:gd name="T17" fmla="*/ 7 h 44"/>
                <a:gd name="T18" fmla="*/ 34 w 39"/>
                <a:gd name="T19" fmla="*/ 4 h 44"/>
                <a:gd name="T20" fmla="*/ 36 w 39"/>
                <a:gd name="T21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44">
                  <a:moveTo>
                    <a:pt x="36" y="14"/>
                  </a:moveTo>
                  <a:cubicBezTo>
                    <a:pt x="34" y="18"/>
                    <a:pt x="30" y="24"/>
                    <a:pt x="24" y="26"/>
                  </a:cubicBezTo>
                  <a:cubicBezTo>
                    <a:pt x="23" y="28"/>
                    <a:pt x="23" y="30"/>
                    <a:pt x="23" y="32"/>
                  </a:cubicBezTo>
                  <a:cubicBezTo>
                    <a:pt x="22" y="33"/>
                    <a:pt x="21" y="33"/>
                    <a:pt x="20" y="32"/>
                  </a:cubicBezTo>
                  <a:cubicBezTo>
                    <a:pt x="19" y="31"/>
                    <a:pt x="18" y="30"/>
                    <a:pt x="17" y="31"/>
                  </a:cubicBezTo>
                  <a:cubicBezTo>
                    <a:pt x="13" y="31"/>
                    <a:pt x="13" y="38"/>
                    <a:pt x="16" y="41"/>
                  </a:cubicBezTo>
                  <a:cubicBezTo>
                    <a:pt x="17" y="42"/>
                    <a:pt x="16" y="44"/>
                    <a:pt x="15" y="43"/>
                  </a:cubicBezTo>
                  <a:cubicBezTo>
                    <a:pt x="12" y="43"/>
                    <a:pt x="8" y="41"/>
                    <a:pt x="5" y="36"/>
                  </a:cubicBezTo>
                  <a:cubicBezTo>
                    <a:pt x="1" y="27"/>
                    <a:pt x="0" y="16"/>
                    <a:pt x="8" y="7"/>
                  </a:cubicBezTo>
                  <a:cubicBezTo>
                    <a:pt x="15" y="1"/>
                    <a:pt x="25" y="0"/>
                    <a:pt x="34" y="4"/>
                  </a:cubicBezTo>
                  <a:cubicBezTo>
                    <a:pt x="37" y="6"/>
                    <a:pt x="39" y="10"/>
                    <a:pt x="36" y="14"/>
                  </a:cubicBezTo>
                  <a:close/>
                </a:path>
              </a:pathLst>
            </a:custGeom>
            <a:solidFill>
              <a:srgbClr val="006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iṣḷidê">
              <a:extLst>
                <a:ext uri="{FF2B5EF4-FFF2-40B4-BE49-F238E27FC236}">
                  <a16:creationId xmlns:a16="http://schemas.microsoft.com/office/drawing/2014/main" id="{CB67CA64-4657-4EED-B03B-4A298E89800C}"/>
                </a:ext>
              </a:extLst>
            </p:cNvPr>
            <p:cNvSpPr/>
            <p:nvPr/>
          </p:nvSpPr>
          <p:spPr bwMode="auto">
            <a:xfrm>
              <a:off x="6650039" y="3046413"/>
              <a:ext cx="55563" cy="82550"/>
            </a:xfrm>
            <a:custGeom>
              <a:avLst/>
              <a:gdLst>
                <a:gd name="T0" fmla="*/ 12 w 14"/>
                <a:gd name="T1" fmla="*/ 7 h 21"/>
                <a:gd name="T2" fmla="*/ 4 w 14"/>
                <a:gd name="T3" fmla="*/ 4 h 21"/>
                <a:gd name="T4" fmla="*/ 7 w 14"/>
                <a:gd name="T5" fmla="*/ 19 h 21"/>
                <a:gd name="T6" fmla="*/ 14 w 14"/>
                <a:gd name="T7" fmla="*/ 14 h 21"/>
                <a:gd name="T8" fmla="*/ 12 w 14"/>
                <a:gd name="T9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1">
                  <a:moveTo>
                    <a:pt x="12" y="7"/>
                  </a:moveTo>
                  <a:cubicBezTo>
                    <a:pt x="12" y="7"/>
                    <a:pt x="8" y="0"/>
                    <a:pt x="4" y="4"/>
                  </a:cubicBezTo>
                  <a:cubicBezTo>
                    <a:pt x="0" y="9"/>
                    <a:pt x="4" y="16"/>
                    <a:pt x="7" y="19"/>
                  </a:cubicBezTo>
                  <a:cubicBezTo>
                    <a:pt x="10" y="21"/>
                    <a:pt x="14" y="17"/>
                    <a:pt x="14" y="14"/>
                  </a:cubicBezTo>
                  <a:cubicBezTo>
                    <a:pt x="14" y="10"/>
                    <a:pt x="12" y="7"/>
                    <a:pt x="12" y="7"/>
                  </a:cubicBezTo>
                  <a:close/>
                </a:path>
              </a:pathLst>
            </a:custGeom>
            <a:solidFill>
              <a:srgbClr val="FAA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ṡḷïḑé">
              <a:extLst>
                <a:ext uri="{FF2B5EF4-FFF2-40B4-BE49-F238E27FC236}">
                  <a16:creationId xmlns:a16="http://schemas.microsoft.com/office/drawing/2014/main" id="{108125B9-DFD4-425B-81E0-9DBD4F88DAA4}"/>
                </a:ext>
              </a:extLst>
            </p:cNvPr>
            <p:cNvSpPr/>
            <p:nvPr/>
          </p:nvSpPr>
          <p:spPr bwMode="auto">
            <a:xfrm>
              <a:off x="5451476" y="3262313"/>
              <a:ext cx="388938" cy="455613"/>
            </a:xfrm>
            <a:custGeom>
              <a:avLst/>
              <a:gdLst>
                <a:gd name="T0" fmla="*/ 52 w 99"/>
                <a:gd name="T1" fmla="*/ 15 h 116"/>
                <a:gd name="T2" fmla="*/ 84 w 99"/>
                <a:gd name="T3" fmla="*/ 8 h 116"/>
                <a:gd name="T4" fmla="*/ 91 w 99"/>
                <a:gd name="T5" fmla="*/ 44 h 116"/>
                <a:gd name="T6" fmla="*/ 98 w 99"/>
                <a:gd name="T7" fmla="*/ 62 h 116"/>
                <a:gd name="T8" fmla="*/ 75 w 99"/>
                <a:gd name="T9" fmla="*/ 91 h 116"/>
                <a:gd name="T10" fmla="*/ 40 w 99"/>
                <a:gd name="T11" fmla="*/ 107 h 116"/>
                <a:gd name="T12" fmla="*/ 2 w 99"/>
                <a:gd name="T13" fmla="*/ 91 h 116"/>
                <a:gd name="T14" fmla="*/ 25 w 99"/>
                <a:gd name="T15" fmla="*/ 61 h 116"/>
                <a:gd name="T16" fmla="*/ 24 w 99"/>
                <a:gd name="T17" fmla="*/ 49 h 116"/>
                <a:gd name="T18" fmla="*/ 24 w 99"/>
                <a:gd name="T19" fmla="*/ 20 h 116"/>
                <a:gd name="T20" fmla="*/ 52 w 99"/>
                <a:gd name="T21" fmla="*/ 1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116">
                  <a:moveTo>
                    <a:pt x="52" y="15"/>
                  </a:moveTo>
                  <a:cubicBezTo>
                    <a:pt x="52" y="15"/>
                    <a:pt x="69" y="0"/>
                    <a:pt x="84" y="8"/>
                  </a:cubicBezTo>
                  <a:cubicBezTo>
                    <a:pt x="99" y="16"/>
                    <a:pt x="92" y="36"/>
                    <a:pt x="91" y="44"/>
                  </a:cubicBezTo>
                  <a:cubicBezTo>
                    <a:pt x="90" y="51"/>
                    <a:pt x="97" y="55"/>
                    <a:pt x="98" y="62"/>
                  </a:cubicBezTo>
                  <a:cubicBezTo>
                    <a:pt x="99" y="68"/>
                    <a:pt x="96" y="91"/>
                    <a:pt x="75" y="91"/>
                  </a:cubicBezTo>
                  <a:cubicBezTo>
                    <a:pt x="55" y="92"/>
                    <a:pt x="45" y="100"/>
                    <a:pt x="40" y="107"/>
                  </a:cubicBezTo>
                  <a:cubicBezTo>
                    <a:pt x="35" y="113"/>
                    <a:pt x="4" y="116"/>
                    <a:pt x="2" y="91"/>
                  </a:cubicBezTo>
                  <a:cubicBezTo>
                    <a:pt x="0" y="71"/>
                    <a:pt x="16" y="66"/>
                    <a:pt x="25" y="61"/>
                  </a:cubicBezTo>
                  <a:cubicBezTo>
                    <a:pt x="30" y="57"/>
                    <a:pt x="27" y="53"/>
                    <a:pt x="24" y="49"/>
                  </a:cubicBezTo>
                  <a:cubicBezTo>
                    <a:pt x="17" y="40"/>
                    <a:pt x="16" y="29"/>
                    <a:pt x="24" y="20"/>
                  </a:cubicBezTo>
                  <a:cubicBezTo>
                    <a:pt x="31" y="10"/>
                    <a:pt x="42" y="10"/>
                    <a:pt x="52" y="15"/>
                  </a:cubicBezTo>
                </a:path>
              </a:pathLst>
            </a:custGeom>
            <a:solidFill>
              <a:srgbClr val="E24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íşlîḋê">
              <a:extLst>
                <a:ext uri="{FF2B5EF4-FFF2-40B4-BE49-F238E27FC236}">
                  <a16:creationId xmlns:a16="http://schemas.microsoft.com/office/drawing/2014/main" id="{2EE74E65-1D9C-4704-AE5F-5F7D30C6BE4E}"/>
                </a:ext>
              </a:extLst>
            </p:cNvPr>
            <p:cNvSpPr/>
            <p:nvPr/>
          </p:nvSpPr>
          <p:spPr bwMode="auto">
            <a:xfrm>
              <a:off x="5459414" y="3505201"/>
              <a:ext cx="377825" cy="117475"/>
            </a:xfrm>
            <a:custGeom>
              <a:avLst/>
              <a:gdLst>
                <a:gd name="T0" fmla="*/ 0 w 96"/>
                <a:gd name="T1" fmla="*/ 30 h 30"/>
                <a:gd name="T2" fmla="*/ 0 w 96"/>
                <a:gd name="T3" fmla="*/ 30 h 30"/>
                <a:gd name="T4" fmla="*/ 0 w 96"/>
                <a:gd name="T5" fmla="*/ 30 h 30"/>
                <a:gd name="T6" fmla="*/ 0 w 96"/>
                <a:gd name="T7" fmla="*/ 29 h 30"/>
                <a:gd name="T8" fmla="*/ 0 w 96"/>
                <a:gd name="T9" fmla="*/ 29 h 30"/>
                <a:gd name="T10" fmla="*/ 0 w 96"/>
                <a:gd name="T11" fmla="*/ 29 h 30"/>
                <a:gd name="T12" fmla="*/ 0 w 96"/>
                <a:gd name="T13" fmla="*/ 29 h 30"/>
                <a:gd name="T14" fmla="*/ 0 w 96"/>
                <a:gd name="T15" fmla="*/ 29 h 30"/>
                <a:gd name="T16" fmla="*/ 0 w 96"/>
                <a:gd name="T17" fmla="*/ 29 h 30"/>
                <a:gd name="T18" fmla="*/ 0 w 96"/>
                <a:gd name="T19" fmla="*/ 29 h 30"/>
                <a:gd name="T20" fmla="*/ 0 w 96"/>
                <a:gd name="T21" fmla="*/ 29 h 30"/>
                <a:gd name="T22" fmla="*/ 0 w 96"/>
                <a:gd name="T23" fmla="*/ 29 h 30"/>
                <a:gd name="T24" fmla="*/ 0 w 96"/>
                <a:gd name="T25" fmla="*/ 29 h 30"/>
                <a:gd name="T26" fmla="*/ 0 w 96"/>
                <a:gd name="T27" fmla="*/ 29 h 30"/>
                <a:gd name="T28" fmla="*/ 0 w 96"/>
                <a:gd name="T29" fmla="*/ 29 h 30"/>
                <a:gd name="T30" fmla="*/ 0 w 96"/>
                <a:gd name="T31" fmla="*/ 29 h 30"/>
                <a:gd name="T32" fmla="*/ 0 w 96"/>
                <a:gd name="T33" fmla="*/ 29 h 30"/>
                <a:gd name="T34" fmla="*/ 0 w 96"/>
                <a:gd name="T35" fmla="*/ 29 h 30"/>
                <a:gd name="T36" fmla="*/ 0 w 96"/>
                <a:gd name="T37" fmla="*/ 29 h 30"/>
                <a:gd name="T38" fmla="*/ 0 w 96"/>
                <a:gd name="T39" fmla="*/ 29 h 30"/>
                <a:gd name="T40" fmla="*/ 0 w 96"/>
                <a:gd name="T41" fmla="*/ 29 h 30"/>
                <a:gd name="T42" fmla="*/ 0 w 96"/>
                <a:gd name="T43" fmla="*/ 29 h 30"/>
                <a:gd name="T44" fmla="*/ 0 w 96"/>
                <a:gd name="T45" fmla="*/ 29 h 30"/>
                <a:gd name="T46" fmla="*/ 0 w 96"/>
                <a:gd name="T47" fmla="*/ 29 h 30"/>
                <a:gd name="T48" fmla="*/ 0 w 96"/>
                <a:gd name="T49" fmla="*/ 28 h 30"/>
                <a:gd name="T50" fmla="*/ 0 w 96"/>
                <a:gd name="T51" fmla="*/ 28 h 30"/>
                <a:gd name="T52" fmla="*/ 0 w 96"/>
                <a:gd name="T53" fmla="*/ 28 h 30"/>
                <a:gd name="T54" fmla="*/ 96 w 96"/>
                <a:gd name="T55" fmla="*/ 0 h 30"/>
                <a:gd name="T56" fmla="*/ 96 w 96"/>
                <a:gd name="T57" fmla="*/ 0 h 30"/>
                <a:gd name="T58" fmla="*/ 96 w 96"/>
                <a:gd name="T59" fmla="*/ 0 h 30"/>
                <a:gd name="T60" fmla="*/ 96 w 96"/>
                <a:gd name="T61" fmla="*/ 0 h 30"/>
                <a:gd name="T62" fmla="*/ 96 w 96"/>
                <a:gd name="T63" fmla="*/ 0 h 30"/>
                <a:gd name="T64" fmla="*/ 96 w 96"/>
                <a:gd name="T6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30">
                  <a:moveTo>
                    <a:pt x="0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moveTo>
                    <a:pt x="96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moveTo>
                    <a:pt x="96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</a:path>
              </a:pathLst>
            </a:custGeom>
            <a:solidFill>
              <a:srgbClr val="F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íSḷiḑê">
              <a:extLst>
                <a:ext uri="{FF2B5EF4-FFF2-40B4-BE49-F238E27FC236}">
                  <a16:creationId xmlns:a16="http://schemas.microsoft.com/office/drawing/2014/main" id="{E53DE32F-684B-45FD-A2C3-C9F082620660}"/>
                </a:ext>
              </a:extLst>
            </p:cNvPr>
            <p:cNvSpPr/>
            <p:nvPr/>
          </p:nvSpPr>
          <p:spPr bwMode="auto">
            <a:xfrm>
              <a:off x="5459414" y="3478213"/>
              <a:ext cx="377825" cy="215900"/>
            </a:xfrm>
            <a:custGeom>
              <a:avLst/>
              <a:gdLst>
                <a:gd name="T0" fmla="*/ 3 w 96"/>
                <a:gd name="T1" fmla="*/ 21 h 55"/>
                <a:gd name="T2" fmla="*/ 0 w 96"/>
                <a:gd name="T3" fmla="*/ 35 h 55"/>
                <a:gd name="T4" fmla="*/ 0 w 96"/>
                <a:gd name="T5" fmla="*/ 35 h 55"/>
                <a:gd name="T6" fmla="*/ 0 w 96"/>
                <a:gd name="T7" fmla="*/ 36 h 55"/>
                <a:gd name="T8" fmla="*/ 0 w 96"/>
                <a:gd name="T9" fmla="*/ 36 h 55"/>
                <a:gd name="T10" fmla="*/ 0 w 96"/>
                <a:gd name="T11" fmla="*/ 36 h 55"/>
                <a:gd name="T12" fmla="*/ 0 w 96"/>
                <a:gd name="T13" fmla="*/ 36 h 55"/>
                <a:gd name="T14" fmla="*/ 0 w 96"/>
                <a:gd name="T15" fmla="*/ 36 h 55"/>
                <a:gd name="T16" fmla="*/ 0 w 96"/>
                <a:gd name="T17" fmla="*/ 36 h 55"/>
                <a:gd name="T18" fmla="*/ 0 w 96"/>
                <a:gd name="T19" fmla="*/ 36 h 55"/>
                <a:gd name="T20" fmla="*/ 0 w 96"/>
                <a:gd name="T21" fmla="*/ 36 h 55"/>
                <a:gd name="T22" fmla="*/ 0 w 96"/>
                <a:gd name="T23" fmla="*/ 36 h 55"/>
                <a:gd name="T24" fmla="*/ 0 w 96"/>
                <a:gd name="T25" fmla="*/ 36 h 55"/>
                <a:gd name="T26" fmla="*/ 0 w 96"/>
                <a:gd name="T27" fmla="*/ 36 h 55"/>
                <a:gd name="T28" fmla="*/ 0 w 96"/>
                <a:gd name="T29" fmla="*/ 36 h 55"/>
                <a:gd name="T30" fmla="*/ 0 w 96"/>
                <a:gd name="T31" fmla="*/ 36 h 55"/>
                <a:gd name="T32" fmla="*/ 0 w 96"/>
                <a:gd name="T33" fmla="*/ 36 h 55"/>
                <a:gd name="T34" fmla="*/ 0 w 96"/>
                <a:gd name="T35" fmla="*/ 36 h 55"/>
                <a:gd name="T36" fmla="*/ 0 w 96"/>
                <a:gd name="T37" fmla="*/ 37 h 55"/>
                <a:gd name="T38" fmla="*/ 0 w 96"/>
                <a:gd name="T39" fmla="*/ 37 h 55"/>
                <a:gd name="T40" fmla="*/ 15 w 96"/>
                <a:gd name="T41" fmla="*/ 55 h 55"/>
                <a:gd name="T42" fmla="*/ 32 w 96"/>
                <a:gd name="T43" fmla="*/ 34 h 55"/>
                <a:gd name="T44" fmla="*/ 32 w 96"/>
                <a:gd name="T45" fmla="*/ 34 h 55"/>
                <a:gd name="T46" fmla="*/ 35 w 96"/>
                <a:gd name="T47" fmla="*/ 33 h 55"/>
                <a:gd name="T48" fmla="*/ 26 w 96"/>
                <a:gd name="T49" fmla="*/ 33 h 55"/>
                <a:gd name="T50" fmla="*/ 3 w 96"/>
                <a:gd name="T51" fmla="*/ 21 h 55"/>
                <a:gd name="T52" fmla="*/ 93 w 96"/>
                <a:gd name="T53" fmla="*/ 0 h 55"/>
                <a:gd name="T54" fmla="*/ 77 w 96"/>
                <a:gd name="T55" fmla="*/ 19 h 55"/>
                <a:gd name="T56" fmla="*/ 78 w 96"/>
                <a:gd name="T57" fmla="*/ 19 h 55"/>
                <a:gd name="T58" fmla="*/ 91 w 96"/>
                <a:gd name="T59" fmla="*/ 20 h 55"/>
                <a:gd name="T60" fmla="*/ 91 w 96"/>
                <a:gd name="T61" fmla="*/ 20 h 55"/>
                <a:gd name="T62" fmla="*/ 91 w 96"/>
                <a:gd name="T63" fmla="*/ 20 h 55"/>
                <a:gd name="T64" fmla="*/ 91 w 96"/>
                <a:gd name="T65" fmla="*/ 20 h 55"/>
                <a:gd name="T66" fmla="*/ 94 w 96"/>
                <a:gd name="T67" fmla="*/ 20 h 55"/>
                <a:gd name="T68" fmla="*/ 94 w 96"/>
                <a:gd name="T69" fmla="*/ 20 h 55"/>
                <a:gd name="T70" fmla="*/ 96 w 96"/>
                <a:gd name="T71" fmla="*/ 9 h 55"/>
                <a:gd name="T72" fmla="*/ 96 w 96"/>
                <a:gd name="T73" fmla="*/ 7 h 55"/>
                <a:gd name="T74" fmla="*/ 96 w 96"/>
                <a:gd name="T75" fmla="*/ 7 h 55"/>
                <a:gd name="T76" fmla="*/ 96 w 96"/>
                <a:gd name="T77" fmla="*/ 7 h 55"/>
                <a:gd name="T78" fmla="*/ 96 w 96"/>
                <a:gd name="T79" fmla="*/ 7 h 55"/>
                <a:gd name="T80" fmla="*/ 96 w 96"/>
                <a:gd name="T81" fmla="*/ 7 h 55"/>
                <a:gd name="T82" fmla="*/ 96 w 96"/>
                <a:gd name="T83" fmla="*/ 7 h 55"/>
                <a:gd name="T84" fmla="*/ 93 w 96"/>
                <a:gd name="T8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6" h="55">
                  <a:moveTo>
                    <a:pt x="3" y="21"/>
                  </a:moveTo>
                  <a:cubicBezTo>
                    <a:pt x="1" y="25"/>
                    <a:pt x="0" y="29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47"/>
                    <a:pt x="8" y="53"/>
                    <a:pt x="15" y="55"/>
                  </a:cubicBezTo>
                  <a:cubicBezTo>
                    <a:pt x="21" y="46"/>
                    <a:pt x="27" y="37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3" y="34"/>
                    <a:pt x="35" y="33"/>
                  </a:cubicBezTo>
                  <a:cubicBezTo>
                    <a:pt x="31" y="33"/>
                    <a:pt x="29" y="33"/>
                    <a:pt x="26" y="33"/>
                  </a:cubicBezTo>
                  <a:cubicBezTo>
                    <a:pt x="13" y="33"/>
                    <a:pt x="6" y="26"/>
                    <a:pt x="3" y="21"/>
                  </a:cubicBezTo>
                  <a:moveTo>
                    <a:pt x="93" y="0"/>
                  </a:moveTo>
                  <a:cubicBezTo>
                    <a:pt x="91" y="9"/>
                    <a:pt x="85" y="15"/>
                    <a:pt x="77" y="19"/>
                  </a:cubicBezTo>
                  <a:cubicBezTo>
                    <a:pt x="77" y="19"/>
                    <a:pt x="78" y="19"/>
                    <a:pt x="78" y="19"/>
                  </a:cubicBezTo>
                  <a:cubicBezTo>
                    <a:pt x="86" y="19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2" y="20"/>
                    <a:pt x="92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6" y="16"/>
                    <a:pt x="96" y="12"/>
                    <a:pt x="96" y="9"/>
                  </a:cubicBezTo>
                  <a:cubicBezTo>
                    <a:pt x="96" y="8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4"/>
                    <a:pt x="94" y="2"/>
                    <a:pt x="93" y="0"/>
                  </a:cubicBezTo>
                </a:path>
              </a:pathLst>
            </a:custGeom>
            <a:solidFill>
              <a:srgbClr val="D52D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ïśľïdé">
              <a:extLst>
                <a:ext uri="{FF2B5EF4-FFF2-40B4-BE49-F238E27FC236}">
                  <a16:creationId xmlns:a16="http://schemas.microsoft.com/office/drawing/2014/main" id="{2EED1F59-707B-48DE-90D3-27CC16F23132}"/>
                </a:ext>
              </a:extLst>
            </p:cNvPr>
            <p:cNvSpPr/>
            <p:nvPr/>
          </p:nvSpPr>
          <p:spPr bwMode="auto">
            <a:xfrm>
              <a:off x="5757864" y="3454401"/>
              <a:ext cx="468313" cy="231775"/>
            </a:xfrm>
            <a:custGeom>
              <a:avLst/>
              <a:gdLst>
                <a:gd name="T0" fmla="*/ 15 w 119"/>
                <a:gd name="T1" fmla="*/ 26 h 59"/>
                <a:gd name="T2" fmla="*/ 61 w 119"/>
                <a:gd name="T3" fmla="*/ 26 h 59"/>
                <a:gd name="T4" fmla="*/ 110 w 119"/>
                <a:gd name="T5" fmla="*/ 0 h 59"/>
                <a:gd name="T6" fmla="*/ 119 w 119"/>
                <a:gd name="T7" fmla="*/ 10 h 59"/>
                <a:gd name="T8" fmla="*/ 67 w 119"/>
                <a:gd name="T9" fmla="*/ 50 h 59"/>
                <a:gd name="T10" fmla="*/ 14 w 119"/>
                <a:gd name="T11" fmla="*/ 54 h 59"/>
                <a:gd name="T12" fmla="*/ 15 w 119"/>
                <a:gd name="T13" fmla="*/ 2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59">
                  <a:moveTo>
                    <a:pt x="15" y="26"/>
                  </a:moveTo>
                  <a:cubicBezTo>
                    <a:pt x="15" y="26"/>
                    <a:pt x="49" y="27"/>
                    <a:pt x="61" y="26"/>
                  </a:cubicBezTo>
                  <a:cubicBezTo>
                    <a:pt x="72" y="24"/>
                    <a:pt x="105" y="3"/>
                    <a:pt x="110" y="0"/>
                  </a:cubicBezTo>
                  <a:cubicBezTo>
                    <a:pt x="114" y="0"/>
                    <a:pt x="119" y="10"/>
                    <a:pt x="119" y="10"/>
                  </a:cubicBezTo>
                  <a:cubicBezTo>
                    <a:pt x="119" y="10"/>
                    <a:pt x="90" y="40"/>
                    <a:pt x="67" y="50"/>
                  </a:cubicBezTo>
                  <a:cubicBezTo>
                    <a:pt x="44" y="59"/>
                    <a:pt x="14" y="54"/>
                    <a:pt x="14" y="54"/>
                  </a:cubicBezTo>
                  <a:cubicBezTo>
                    <a:pt x="14" y="54"/>
                    <a:pt x="0" y="34"/>
                    <a:pt x="15" y="26"/>
                  </a:cubicBezTo>
                </a:path>
              </a:pathLst>
            </a:custGeom>
            <a:solidFill>
              <a:srgbClr val="ED72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ïşļídé">
              <a:extLst>
                <a:ext uri="{FF2B5EF4-FFF2-40B4-BE49-F238E27FC236}">
                  <a16:creationId xmlns:a16="http://schemas.microsoft.com/office/drawing/2014/main" id="{03298E27-BAE9-4782-9037-F1907D43C86E}"/>
                </a:ext>
              </a:extLst>
            </p:cNvPr>
            <p:cNvSpPr/>
            <p:nvPr/>
          </p:nvSpPr>
          <p:spPr bwMode="auto">
            <a:xfrm>
              <a:off x="6181726" y="3340101"/>
              <a:ext cx="142875" cy="153988"/>
            </a:xfrm>
            <a:custGeom>
              <a:avLst/>
              <a:gdLst>
                <a:gd name="T0" fmla="*/ 2 w 36"/>
                <a:gd name="T1" fmla="*/ 29 h 39"/>
                <a:gd name="T2" fmla="*/ 10 w 36"/>
                <a:gd name="T3" fmla="*/ 11 h 39"/>
                <a:gd name="T4" fmla="*/ 12 w 36"/>
                <a:gd name="T5" fmla="*/ 21 h 39"/>
                <a:gd name="T6" fmla="*/ 36 w 36"/>
                <a:gd name="T7" fmla="*/ 0 h 39"/>
                <a:gd name="T8" fmla="*/ 31 w 36"/>
                <a:gd name="T9" fmla="*/ 21 h 39"/>
                <a:gd name="T10" fmla="*/ 11 w 36"/>
                <a:gd name="T11" fmla="*/ 39 h 39"/>
                <a:gd name="T12" fmla="*/ 2 w 36"/>
                <a:gd name="T13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9">
                  <a:moveTo>
                    <a:pt x="2" y="2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4" y="17"/>
                    <a:pt x="31" y="21"/>
                  </a:cubicBezTo>
                  <a:cubicBezTo>
                    <a:pt x="29" y="25"/>
                    <a:pt x="11" y="39"/>
                    <a:pt x="11" y="39"/>
                  </a:cubicBezTo>
                  <a:cubicBezTo>
                    <a:pt x="11" y="39"/>
                    <a:pt x="0" y="33"/>
                    <a:pt x="2" y="29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îşḷíḋè">
              <a:extLst>
                <a:ext uri="{FF2B5EF4-FFF2-40B4-BE49-F238E27FC236}">
                  <a16:creationId xmlns:a16="http://schemas.microsoft.com/office/drawing/2014/main" id="{7C474BE6-5A77-490D-B23C-6C7BEA9E4F17}"/>
                </a:ext>
              </a:extLst>
            </p:cNvPr>
            <p:cNvSpPr/>
            <p:nvPr/>
          </p:nvSpPr>
          <p:spPr bwMode="auto">
            <a:xfrm>
              <a:off x="5816601" y="3556001"/>
              <a:ext cx="12700" cy="0"/>
            </a:xfrm>
            <a:custGeom>
              <a:avLst/>
              <a:gdLst>
                <a:gd name="T0" fmla="*/ 0 w 3"/>
                <a:gd name="T1" fmla="*/ 3 w 3"/>
                <a:gd name="T2" fmla="*/ 0 w 3"/>
                <a:gd name="T3" fmla="*/ 0 w 3"/>
                <a:gd name="T4" fmla="*/ 0 w 3"/>
                <a:gd name="T5" fmla="*/ 0 w 3"/>
                <a:gd name="T6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cubicBezTo>
                    <a:pt x="1" y="0"/>
                    <a:pt x="1" y="0"/>
                    <a:pt x="3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D2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ïSļîďê">
              <a:extLst>
                <a:ext uri="{FF2B5EF4-FFF2-40B4-BE49-F238E27FC236}">
                  <a16:creationId xmlns:a16="http://schemas.microsoft.com/office/drawing/2014/main" id="{67518F41-2E23-4AE0-82E5-8BBD4A1308C0}"/>
                </a:ext>
              </a:extLst>
            </p:cNvPr>
            <p:cNvSpPr/>
            <p:nvPr/>
          </p:nvSpPr>
          <p:spPr bwMode="auto">
            <a:xfrm>
              <a:off x="5883276" y="3595688"/>
              <a:ext cx="223838" cy="79375"/>
            </a:xfrm>
            <a:custGeom>
              <a:avLst/>
              <a:gdLst>
                <a:gd name="T0" fmla="*/ 0 w 57"/>
                <a:gd name="T1" fmla="*/ 20 h 20"/>
                <a:gd name="T2" fmla="*/ 0 w 57"/>
                <a:gd name="T3" fmla="*/ 20 h 20"/>
                <a:gd name="T4" fmla="*/ 0 w 57"/>
                <a:gd name="T5" fmla="*/ 20 h 20"/>
                <a:gd name="T6" fmla="*/ 0 w 57"/>
                <a:gd name="T7" fmla="*/ 20 h 20"/>
                <a:gd name="T8" fmla="*/ 35 w 57"/>
                <a:gd name="T9" fmla="*/ 14 h 20"/>
                <a:gd name="T10" fmla="*/ 0 w 57"/>
                <a:gd name="T11" fmla="*/ 20 h 20"/>
                <a:gd name="T12" fmla="*/ 35 w 57"/>
                <a:gd name="T13" fmla="*/ 14 h 20"/>
                <a:gd name="T14" fmla="*/ 39 w 57"/>
                <a:gd name="T15" fmla="*/ 12 h 20"/>
                <a:gd name="T16" fmla="*/ 35 w 57"/>
                <a:gd name="T17" fmla="*/ 14 h 20"/>
                <a:gd name="T18" fmla="*/ 39 w 57"/>
                <a:gd name="T19" fmla="*/ 12 h 20"/>
                <a:gd name="T20" fmla="*/ 39 w 57"/>
                <a:gd name="T21" fmla="*/ 12 h 20"/>
                <a:gd name="T22" fmla="*/ 39 w 57"/>
                <a:gd name="T23" fmla="*/ 12 h 20"/>
                <a:gd name="T24" fmla="*/ 39 w 57"/>
                <a:gd name="T25" fmla="*/ 12 h 20"/>
                <a:gd name="T26" fmla="*/ 39 w 57"/>
                <a:gd name="T27" fmla="*/ 12 h 20"/>
                <a:gd name="T28" fmla="*/ 39 w 57"/>
                <a:gd name="T29" fmla="*/ 12 h 20"/>
                <a:gd name="T30" fmla="*/ 39 w 57"/>
                <a:gd name="T31" fmla="*/ 12 h 20"/>
                <a:gd name="T32" fmla="*/ 57 w 57"/>
                <a:gd name="T33" fmla="*/ 0 h 20"/>
                <a:gd name="T34" fmla="*/ 57 w 57"/>
                <a:gd name="T35" fmla="*/ 1 h 20"/>
                <a:gd name="T36" fmla="*/ 57 w 57"/>
                <a:gd name="T3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7" h="20">
                  <a:moveTo>
                    <a:pt x="0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moveTo>
                    <a:pt x="35" y="14"/>
                  </a:moveTo>
                  <a:cubicBezTo>
                    <a:pt x="24" y="18"/>
                    <a:pt x="10" y="20"/>
                    <a:pt x="0" y="20"/>
                  </a:cubicBezTo>
                  <a:cubicBezTo>
                    <a:pt x="10" y="20"/>
                    <a:pt x="24" y="18"/>
                    <a:pt x="35" y="14"/>
                  </a:cubicBezTo>
                  <a:moveTo>
                    <a:pt x="39" y="12"/>
                  </a:moveTo>
                  <a:cubicBezTo>
                    <a:pt x="38" y="13"/>
                    <a:pt x="36" y="13"/>
                    <a:pt x="35" y="14"/>
                  </a:cubicBezTo>
                  <a:cubicBezTo>
                    <a:pt x="36" y="13"/>
                    <a:pt x="38" y="13"/>
                    <a:pt x="39" y="12"/>
                  </a:cubicBezTo>
                  <a:moveTo>
                    <a:pt x="39" y="12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moveTo>
                    <a:pt x="39" y="12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moveTo>
                    <a:pt x="57" y="0"/>
                  </a:moveTo>
                  <a:cubicBezTo>
                    <a:pt x="57" y="0"/>
                    <a:pt x="57" y="1"/>
                    <a:pt x="57" y="1"/>
                  </a:cubicBezTo>
                  <a:cubicBezTo>
                    <a:pt x="57" y="1"/>
                    <a:pt x="57" y="0"/>
                    <a:pt x="57" y="0"/>
                  </a:cubicBezTo>
                </a:path>
              </a:pathLst>
            </a:custGeom>
            <a:solidFill>
              <a:srgbClr val="F6B8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iṡľíḍè">
              <a:extLst>
                <a:ext uri="{FF2B5EF4-FFF2-40B4-BE49-F238E27FC236}">
                  <a16:creationId xmlns:a16="http://schemas.microsoft.com/office/drawing/2014/main" id="{0E6B6F0C-1FE4-4767-BB47-71735DC48F11}"/>
                </a:ext>
              </a:extLst>
            </p:cNvPr>
            <p:cNvSpPr/>
            <p:nvPr/>
          </p:nvSpPr>
          <p:spPr bwMode="auto">
            <a:xfrm>
              <a:off x="5816601" y="3556001"/>
              <a:ext cx="290513" cy="119063"/>
            </a:xfrm>
            <a:custGeom>
              <a:avLst/>
              <a:gdLst>
                <a:gd name="T0" fmla="*/ 74 w 74"/>
                <a:gd name="T1" fmla="*/ 10 h 30"/>
                <a:gd name="T2" fmla="*/ 74 w 74"/>
                <a:gd name="T3" fmla="*/ 11 h 30"/>
                <a:gd name="T4" fmla="*/ 74 w 74"/>
                <a:gd name="T5" fmla="*/ 11 h 30"/>
                <a:gd name="T6" fmla="*/ 74 w 74"/>
                <a:gd name="T7" fmla="*/ 10 h 30"/>
                <a:gd name="T8" fmla="*/ 74 w 74"/>
                <a:gd name="T9" fmla="*/ 10 h 30"/>
                <a:gd name="T10" fmla="*/ 0 w 74"/>
                <a:gd name="T11" fmla="*/ 0 h 30"/>
                <a:gd name="T12" fmla="*/ 9 w 74"/>
                <a:gd name="T13" fmla="*/ 29 h 30"/>
                <a:gd name="T14" fmla="*/ 17 w 74"/>
                <a:gd name="T15" fmla="*/ 30 h 30"/>
                <a:gd name="T16" fmla="*/ 17 w 74"/>
                <a:gd name="T17" fmla="*/ 30 h 30"/>
                <a:gd name="T18" fmla="*/ 17 w 74"/>
                <a:gd name="T19" fmla="*/ 30 h 30"/>
                <a:gd name="T20" fmla="*/ 52 w 74"/>
                <a:gd name="T21" fmla="*/ 24 h 30"/>
                <a:gd name="T22" fmla="*/ 52 w 74"/>
                <a:gd name="T23" fmla="*/ 24 h 30"/>
                <a:gd name="T24" fmla="*/ 52 w 74"/>
                <a:gd name="T25" fmla="*/ 24 h 30"/>
                <a:gd name="T26" fmla="*/ 56 w 74"/>
                <a:gd name="T27" fmla="*/ 22 h 30"/>
                <a:gd name="T28" fmla="*/ 56 w 74"/>
                <a:gd name="T29" fmla="*/ 22 h 30"/>
                <a:gd name="T30" fmla="*/ 56 w 74"/>
                <a:gd name="T31" fmla="*/ 22 h 30"/>
                <a:gd name="T32" fmla="*/ 56 w 74"/>
                <a:gd name="T33" fmla="*/ 22 h 30"/>
                <a:gd name="T34" fmla="*/ 56 w 74"/>
                <a:gd name="T35" fmla="*/ 22 h 30"/>
                <a:gd name="T36" fmla="*/ 74 w 74"/>
                <a:gd name="T37" fmla="*/ 11 h 30"/>
                <a:gd name="T38" fmla="*/ 32 w 74"/>
                <a:gd name="T39" fmla="*/ 22 h 30"/>
                <a:gd name="T40" fmla="*/ 26 w 74"/>
                <a:gd name="T41" fmla="*/ 21 h 30"/>
                <a:gd name="T42" fmla="*/ 5 w 74"/>
                <a:gd name="T43" fmla="*/ 0 h 30"/>
                <a:gd name="T44" fmla="*/ 3 w 74"/>
                <a:gd name="T45" fmla="*/ 0 h 30"/>
                <a:gd name="T46" fmla="*/ 0 w 74"/>
                <a:gd name="T47" fmla="*/ 0 h 30"/>
                <a:gd name="T48" fmla="*/ 0 w 74"/>
                <a:gd name="T49" fmla="*/ 0 h 30"/>
                <a:gd name="T50" fmla="*/ 0 w 74"/>
                <a:gd name="T5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4" h="30">
                  <a:moveTo>
                    <a:pt x="74" y="10"/>
                  </a:moveTo>
                  <a:cubicBezTo>
                    <a:pt x="74" y="10"/>
                    <a:pt x="74" y="11"/>
                    <a:pt x="74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11"/>
                    <a:pt x="74" y="10"/>
                    <a:pt x="74" y="10"/>
                  </a:cubicBezTo>
                  <a:cubicBezTo>
                    <a:pt x="74" y="10"/>
                    <a:pt x="74" y="10"/>
                    <a:pt x="74" y="10"/>
                  </a:cubicBezTo>
                  <a:moveTo>
                    <a:pt x="0" y="0"/>
                  </a:moveTo>
                  <a:cubicBezTo>
                    <a:pt x="0" y="0"/>
                    <a:pt x="10" y="16"/>
                    <a:pt x="9" y="29"/>
                  </a:cubicBezTo>
                  <a:cubicBezTo>
                    <a:pt x="12" y="30"/>
                    <a:pt x="14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27" y="30"/>
                    <a:pt x="41" y="28"/>
                    <a:pt x="52" y="24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3" y="23"/>
                    <a:pt x="55" y="23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62" y="19"/>
                    <a:pt x="68" y="15"/>
                    <a:pt x="74" y="11"/>
                  </a:cubicBezTo>
                  <a:cubicBezTo>
                    <a:pt x="65" y="17"/>
                    <a:pt x="45" y="22"/>
                    <a:pt x="32" y="22"/>
                  </a:cubicBezTo>
                  <a:cubicBezTo>
                    <a:pt x="29" y="22"/>
                    <a:pt x="27" y="22"/>
                    <a:pt x="26" y="21"/>
                  </a:cubicBezTo>
                  <a:cubicBezTo>
                    <a:pt x="17" y="20"/>
                    <a:pt x="9" y="7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45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ïş1ïdê">
              <a:extLst>
                <a:ext uri="{FF2B5EF4-FFF2-40B4-BE49-F238E27FC236}">
                  <a16:creationId xmlns:a16="http://schemas.microsoft.com/office/drawing/2014/main" id="{3B8AEDA0-3E08-41F3-8AB3-EBCC67F494BA}"/>
                </a:ext>
              </a:extLst>
            </p:cNvPr>
            <p:cNvSpPr/>
            <p:nvPr/>
          </p:nvSpPr>
          <p:spPr bwMode="auto">
            <a:xfrm>
              <a:off x="5526089" y="3878263"/>
              <a:ext cx="585788" cy="836613"/>
            </a:xfrm>
            <a:custGeom>
              <a:avLst/>
              <a:gdLst>
                <a:gd name="T0" fmla="*/ 75 w 149"/>
                <a:gd name="T1" fmla="*/ 9 h 213"/>
                <a:gd name="T2" fmla="*/ 145 w 149"/>
                <a:gd name="T3" fmla="*/ 59 h 213"/>
                <a:gd name="T4" fmla="*/ 124 w 149"/>
                <a:gd name="T5" fmla="*/ 148 h 213"/>
                <a:gd name="T6" fmla="*/ 149 w 149"/>
                <a:gd name="T7" fmla="*/ 157 h 213"/>
                <a:gd name="T8" fmla="*/ 107 w 149"/>
                <a:gd name="T9" fmla="*/ 163 h 213"/>
                <a:gd name="T10" fmla="*/ 116 w 149"/>
                <a:gd name="T11" fmla="*/ 75 h 213"/>
                <a:gd name="T12" fmla="*/ 61 w 149"/>
                <a:gd name="T13" fmla="*/ 49 h 213"/>
                <a:gd name="T14" fmla="*/ 41 w 149"/>
                <a:gd name="T15" fmla="*/ 113 h 213"/>
                <a:gd name="T16" fmla="*/ 33 w 149"/>
                <a:gd name="T17" fmla="*/ 187 h 213"/>
                <a:gd name="T18" fmla="*/ 37 w 149"/>
                <a:gd name="T19" fmla="*/ 202 h 213"/>
                <a:gd name="T20" fmla="*/ 0 w 149"/>
                <a:gd name="T21" fmla="*/ 213 h 213"/>
                <a:gd name="T22" fmla="*/ 19 w 149"/>
                <a:gd name="T23" fmla="*/ 190 h 213"/>
                <a:gd name="T24" fmla="*/ 9 w 149"/>
                <a:gd name="T25" fmla="*/ 119 h 213"/>
                <a:gd name="T26" fmla="*/ 8 w 149"/>
                <a:gd name="T27" fmla="*/ 105 h 213"/>
                <a:gd name="T28" fmla="*/ 24 w 149"/>
                <a:gd name="T29" fmla="*/ 10 h 213"/>
                <a:gd name="T30" fmla="*/ 75 w 149"/>
                <a:gd name="T31" fmla="*/ 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9" h="213">
                  <a:moveTo>
                    <a:pt x="75" y="9"/>
                  </a:moveTo>
                  <a:cubicBezTo>
                    <a:pt x="75" y="9"/>
                    <a:pt x="140" y="26"/>
                    <a:pt x="145" y="59"/>
                  </a:cubicBezTo>
                  <a:cubicBezTo>
                    <a:pt x="145" y="75"/>
                    <a:pt x="124" y="148"/>
                    <a:pt x="124" y="148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07" y="163"/>
                    <a:pt x="107" y="163"/>
                    <a:pt x="107" y="163"/>
                  </a:cubicBezTo>
                  <a:cubicBezTo>
                    <a:pt x="107" y="163"/>
                    <a:pt x="108" y="106"/>
                    <a:pt x="116" y="75"/>
                  </a:cubicBezTo>
                  <a:cubicBezTo>
                    <a:pt x="108" y="66"/>
                    <a:pt x="61" y="49"/>
                    <a:pt x="61" y="49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33" y="187"/>
                    <a:pt x="33" y="187"/>
                    <a:pt x="33" y="187"/>
                  </a:cubicBezTo>
                  <a:cubicBezTo>
                    <a:pt x="37" y="202"/>
                    <a:pt x="37" y="202"/>
                    <a:pt x="37" y="202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19" y="190"/>
                    <a:pt x="19" y="190"/>
                    <a:pt x="19" y="190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4"/>
                    <a:pt x="8" y="110"/>
                    <a:pt x="8" y="105"/>
                  </a:cubicBezTo>
                  <a:cubicBezTo>
                    <a:pt x="10" y="85"/>
                    <a:pt x="15" y="31"/>
                    <a:pt x="24" y="10"/>
                  </a:cubicBezTo>
                  <a:cubicBezTo>
                    <a:pt x="30" y="0"/>
                    <a:pt x="75" y="9"/>
                    <a:pt x="75" y="9"/>
                  </a:cubicBezTo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îṡliďé">
              <a:extLst>
                <a:ext uri="{FF2B5EF4-FFF2-40B4-BE49-F238E27FC236}">
                  <a16:creationId xmlns:a16="http://schemas.microsoft.com/office/drawing/2014/main" id="{08D04C8B-E683-4F59-BBF9-BA9566C3787D}"/>
                </a:ext>
              </a:extLst>
            </p:cNvPr>
            <p:cNvSpPr/>
            <p:nvPr/>
          </p:nvSpPr>
          <p:spPr bwMode="auto">
            <a:xfrm>
              <a:off x="5557839" y="3878263"/>
              <a:ext cx="538163" cy="588963"/>
            </a:xfrm>
            <a:custGeom>
              <a:avLst/>
              <a:gdLst>
                <a:gd name="T0" fmla="*/ 127 w 137"/>
                <a:gd name="T1" fmla="*/ 109 h 150"/>
                <a:gd name="T2" fmla="*/ 137 w 137"/>
                <a:gd name="T3" fmla="*/ 59 h 150"/>
                <a:gd name="T4" fmla="*/ 67 w 137"/>
                <a:gd name="T5" fmla="*/ 9 h 150"/>
                <a:gd name="T6" fmla="*/ 16 w 137"/>
                <a:gd name="T7" fmla="*/ 10 h 150"/>
                <a:gd name="T8" fmla="*/ 0 w 137"/>
                <a:gd name="T9" fmla="*/ 105 h 150"/>
                <a:gd name="T10" fmla="*/ 1 w 137"/>
                <a:gd name="T11" fmla="*/ 119 h 150"/>
                <a:gd name="T12" fmla="*/ 4 w 137"/>
                <a:gd name="T13" fmla="*/ 144 h 150"/>
                <a:gd name="T14" fmla="*/ 30 w 137"/>
                <a:gd name="T15" fmla="*/ 142 h 150"/>
                <a:gd name="T16" fmla="*/ 33 w 137"/>
                <a:gd name="T17" fmla="*/ 113 h 150"/>
                <a:gd name="T18" fmla="*/ 53 w 137"/>
                <a:gd name="T19" fmla="*/ 49 h 150"/>
                <a:gd name="T20" fmla="*/ 108 w 137"/>
                <a:gd name="T21" fmla="*/ 75 h 150"/>
                <a:gd name="T22" fmla="*/ 103 w 137"/>
                <a:gd name="T23" fmla="*/ 106 h 150"/>
                <a:gd name="T24" fmla="*/ 127 w 137"/>
                <a:gd name="T25" fmla="*/ 10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" h="150">
                  <a:moveTo>
                    <a:pt x="127" y="109"/>
                  </a:moveTo>
                  <a:cubicBezTo>
                    <a:pt x="132" y="89"/>
                    <a:pt x="137" y="67"/>
                    <a:pt x="137" y="59"/>
                  </a:cubicBezTo>
                  <a:cubicBezTo>
                    <a:pt x="132" y="26"/>
                    <a:pt x="67" y="9"/>
                    <a:pt x="67" y="9"/>
                  </a:cubicBezTo>
                  <a:cubicBezTo>
                    <a:pt x="67" y="9"/>
                    <a:pt x="22" y="0"/>
                    <a:pt x="16" y="10"/>
                  </a:cubicBezTo>
                  <a:cubicBezTo>
                    <a:pt x="7" y="31"/>
                    <a:pt x="2" y="85"/>
                    <a:pt x="0" y="105"/>
                  </a:cubicBezTo>
                  <a:cubicBezTo>
                    <a:pt x="0" y="110"/>
                    <a:pt x="0" y="114"/>
                    <a:pt x="1" y="119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15" y="150"/>
                    <a:pt x="30" y="142"/>
                    <a:pt x="30" y="142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100" y="66"/>
                    <a:pt x="108" y="75"/>
                  </a:cubicBezTo>
                  <a:cubicBezTo>
                    <a:pt x="106" y="84"/>
                    <a:pt x="104" y="95"/>
                    <a:pt x="103" y="106"/>
                  </a:cubicBezTo>
                  <a:cubicBezTo>
                    <a:pt x="113" y="114"/>
                    <a:pt x="127" y="109"/>
                    <a:pt x="127" y="109"/>
                  </a:cubicBezTo>
                </a:path>
              </a:pathLst>
            </a:custGeom>
            <a:solidFill>
              <a:srgbClr val="754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iSḻîdè">
              <a:extLst>
                <a:ext uri="{FF2B5EF4-FFF2-40B4-BE49-F238E27FC236}">
                  <a16:creationId xmlns:a16="http://schemas.microsoft.com/office/drawing/2014/main" id="{41945005-EF37-4384-BB0C-60E65E37707B}"/>
                </a:ext>
              </a:extLst>
            </p:cNvPr>
            <p:cNvSpPr/>
            <p:nvPr/>
          </p:nvSpPr>
          <p:spPr bwMode="auto">
            <a:xfrm>
              <a:off x="5584826" y="3544888"/>
              <a:ext cx="290513" cy="423863"/>
            </a:xfrm>
            <a:custGeom>
              <a:avLst/>
              <a:gdLst>
                <a:gd name="T0" fmla="*/ 0 w 74"/>
                <a:gd name="T1" fmla="*/ 17 h 108"/>
                <a:gd name="T2" fmla="*/ 29 w 74"/>
                <a:gd name="T3" fmla="*/ 4 h 108"/>
                <a:gd name="T4" fmla="*/ 59 w 74"/>
                <a:gd name="T5" fmla="*/ 3 h 108"/>
                <a:gd name="T6" fmla="*/ 66 w 74"/>
                <a:gd name="T7" fmla="*/ 42 h 108"/>
                <a:gd name="T8" fmla="*/ 58 w 74"/>
                <a:gd name="T9" fmla="*/ 73 h 108"/>
                <a:gd name="T10" fmla="*/ 60 w 74"/>
                <a:gd name="T11" fmla="*/ 94 h 108"/>
                <a:gd name="T12" fmla="*/ 9 w 74"/>
                <a:gd name="T13" fmla="*/ 95 h 108"/>
                <a:gd name="T14" fmla="*/ 0 w 74"/>
                <a:gd name="T15" fmla="*/ 1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08">
                  <a:moveTo>
                    <a:pt x="0" y="17"/>
                  </a:moveTo>
                  <a:cubicBezTo>
                    <a:pt x="0" y="17"/>
                    <a:pt x="13" y="7"/>
                    <a:pt x="29" y="4"/>
                  </a:cubicBezTo>
                  <a:cubicBezTo>
                    <a:pt x="46" y="0"/>
                    <a:pt x="59" y="3"/>
                    <a:pt x="59" y="3"/>
                  </a:cubicBezTo>
                  <a:cubicBezTo>
                    <a:pt x="59" y="3"/>
                    <a:pt x="74" y="28"/>
                    <a:pt x="66" y="42"/>
                  </a:cubicBezTo>
                  <a:cubicBezTo>
                    <a:pt x="57" y="55"/>
                    <a:pt x="58" y="63"/>
                    <a:pt x="58" y="73"/>
                  </a:cubicBezTo>
                  <a:cubicBezTo>
                    <a:pt x="59" y="83"/>
                    <a:pt x="60" y="94"/>
                    <a:pt x="60" y="94"/>
                  </a:cubicBezTo>
                  <a:cubicBezTo>
                    <a:pt x="60" y="94"/>
                    <a:pt x="34" y="108"/>
                    <a:pt x="9" y="95"/>
                  </a:cubicBezTo>
                  <a:cubicBezTo>
                    <a:pt x="8" y="82"/>
                    <a:pt x="8" y="52"/>
                    <a:pt x="0" y="17"/>
                  </a:cubicBezTo>
                </a:path>
              </a:pathLst>
            </a:custGeom>
            <a:solidFill>
              <a:srgbClr val="ED72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ï$ḻiḍè">
              <a:extLst>
                <a:ext uri="{FF2B5EF4-FFF2-40B4-BE49-F238E27FC236}">
                  <a16:creationId xmlns:a16="http://schemas.microsoft.com/office/drawing/2014/main" id="{107C81AE-3333-4235-97B4-A5AFF290C67D}"/>
                </a:ext>
              </a:extLst>
            </p:cNvPr>
            <p:cNvSpPr/>
            <p:nvPr/>
          </p:nvSpPr>
          <p:spPr bwMode="auto">
            <a:xfrm>
              <a:off x="5672139" y="3486151"/>
              <a:ext cx="82550" cy="117475"/>
            </a:xfrm>
            <a:custGeom>
              <a:avLst/>
              <a:gdLst>
                <a:gd name="T0" fmla="*/ 15 w 21"/>
                <a:gd name="T1" fmla="*/ 3 h 30"/>
                <a:gd name="T2" fmla="*/ 21 w 21"/>
                <a:gd name="T3" fmla="*/ 21 h 30"/>
                <a:gd name="T4" fmla="*/ 10 w 21"/>
                <a:gd name="T5" fmla="*/ 30 h 30"/>
                <a:gd name="T6" fmla="*/ 0 w 21"/>
                <a:gd name="T7" fmla="*/ 24 h 30"/>
                <a:gd name="T8" fmla="*/ 2 w 21"/>
                <a:gd name="T9" fmla="*/ 3 h 30"/>
                <a:gd name="T10" fmla="*/ 15 w 21"/>
                <a:gd name="T11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30">
                  <a:moveTo>
                    <a:pt x="15" y="3"/>
                  </a:move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0" y="30"/>
                    <a:pt x="10" y="30"/>
                  </a:cubicBezTo>
                  <a:cubicBezTo>
                    <a:pt x="1" y="30"/>
                    <a:pt x="0" y="24"/>
                    <a:pt x="0" y="2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11" y="0"/>
                    <a:pt x="15" y="3"/>
                  </a:cubicBezTo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isľíḓê">
              <a:extLst>
                <a:ext uri="{FF2B5EF4-FFF2-40B4-BE49-F238E27FC236}">
                  <a16:creationId xmlns:a16="http://schemas.microsoft.com/office/drawing/2014/main" id="{3FC7A6CF-08D1-4911-8286-683E533D3561}"/>
                </a:ext>
              </a:extLst>
            </p:cNvPr>
            <p:cNvSpPr/>
            <p:nvPr/>
          </p:nvSpPr>
          <p:spPr bwMode="auto">
            <a:xfrm>
              <a:off x="5946776" y="4459288"/>
              <a:ext cx="165100" cy="60325"/>
            </a:xfrm>
            <a:custGeom>
              <a:avLst/>
              <a:gdLst>
                <a:gd name="T0" fmla="*/ 17 w 42"/>
                <a:gd name="T1" fmla="*/ 0 h 15"/>
                <a:gd name="T2" fmla="*/ 0 w 42"/>
                <a:gd name="T3" fmla="*/ 1 h 15"/>
                <a:gd name="T4" fmla="*/ 0 w 42"/>
                <a:gd name="T5" fmla="*/ 15 h 15"/>
                <a:gd name="T6" fmla="*/ 42 w 42"/>
                <a:gd name="T7" fmla="*/ 9 h 15"/>
                <a:gd name="T8" fmla="*/ 17 w 4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5">
                  <a:moveTo>
                    <a:pt x="17" y="0"/>
                  </a:moveTo>
                  <a:cubicBezTo>
                    <a:pt x="17" y="0"/>
                    <a:pt x="8" y="4"/>
                    <a:pt x="0" y="1"/>
                  </a:cubicBezTo>
                  <a:cubicBezTo>
                    <a:pt x="0" y="9"/>
                    <a:pt x="0" y="15"/>
                    <a:pt x="0" y="15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17" y="0"/>
                    <a:pt x="17" y="0"/>
                    <a:pt x="17" y="0"/>
                  </a:cubicBezTo>
                </a:path>
              </a:pathLst>
            </a:custGeom>
            <a:solidFill>
              <a:srgbClr val="754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iṥļíḑe">
              <a:extLst>
                <a:ext uri="{FF2B5EF4-FFF2-40B4-BE49-F238E27FC236}">
                  <a16:creationId xmlns:a16="http://schemas.microsoft.com/office/drawing/2014/main" id="{669C9B78-B91F-49BC-9137-3190A3214407}"/>
                </a:ext>
              </a:extLst>
            </p:cNvPr>
            <p:cNvSpPr/>
            <p:nvPr/>
          </p:nvSpPr>
          <p:spPr bwMode="auto">
            <a:xfrm>
              <a:off x="5672139" y="3513138"/>
              <a:ext cx="3175" cy="39688"/>
            </a:xfrm>
            <a:custGeom>
              <a:avLst/>
              <a:gdLst>
                <a:gd name="T0" fmla="*/ 1 w 1"/>
                <a:gd name="T1" fmla="*/ 0 h 10"/>
                <a:gd name="T2" fmla="*/ 0 w 1"/>
                <a:gd name="T3" fmla="*/ 10 h 10"/>
                <a:gd name="T4" fmla="*/ 0 w 1"/>
                <a:gd name="T5" fmla="*/ 10 h 10"/>
                <a:gd name="T6" fmla="*/ 1 w 1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0">
                  <a:moveTo>
                    <a:pt x="1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E23C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íŝḷïḓê">
              <a:extLst>
                <a:ext uri="{FF2B5EF4-FFF2-40B4-BE49-F238E27FC236}">
                  <a16:creationId xmlns:a16="http://schemas.microsoft.com/office/drawing/2014/main" id="{ADBDCE79-3851-4DA0-B161-3B4D07FA2BF3}"/>
                </a:ext>
              </a:extLst>
            </p:cNvPr>
            <p:cNvSpPr/>
            <p:nvPr/>
          </p:nvSpPr>
          <p:spPr bwMode="auto">
            <a:xfrm>
              <a:off x="5672139" y="3502026"/>
              <a:ext cx="61913" cy="50800"/>
            </a:xfrm>
            <a:custGeom>
              <a:avLst/>
              <a:gdLst>
                <a:gd name="T0" fmla="*/ 2 w 16"/>
                <a:gd name="T1" fmla="*/ 0 h 13"/>
                <a:gd name="T2" fmla="*/ 1 w 16"/>
                <a:gd name="T3" fmla="*/ 3 h 13"/>
                <a:gd name="T4" fmla="*/ 0 w 16"/>
                <a:gd name="T5" fmla="*/ 13 h 13"/>
                <a:gd name="T6" fmla="*/ 0 w 16"/>
                <a:gd name="T7" fmla="*/ 13 h 13"/>
                <a:gd name="T8" fmla="*/ 16 w 16"/>
                <a:gd name="T9" fmla="*/ 3 h 13"/>
                <a:gd name="T10" fmla="*/ 14 w 16"/>
                <a:gd name="T11" fmla="*/ 0 h 13"/>
                <a:gd name="T12" fmla="*/ 2 w 16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3">
                  <a:moveTo>
                    <a:pt x="2" y="0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9" y="13"/>
                    <a:pt x="16" y="3"/>
                    <a:pt x="16" y="3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iṥ1iḑê">
              <a:extLst>
                <a:ext uri="{FF2B5EF4-FFF2-40B4-BE49-F238E27FC236}">
                  <a16:creationId xmlns:a16="http://schemas.microsoft.com/office/drawing/2014/main" id="{490F94AC-9EBA-4C62-AD4B-7AE64AD5948E}"/>
                </a:ext>
              </a:extLst>
            </p:cNvPr>
            <p:cNvSpPr/>
            <p:nvPr/>
          </p:nvSpPr>
          <p:spPr bwMode="auto">
            <a:xfrm>
              <a:off x="5632451" y="3332163"/>
              <a:ext cx="165100" cy="193675"/>
            </a:xfrm>
            <a:custGeom>
              <a:avLst/>
              <a:gdLst>
                <a:gd name="T0" fmla="*/ 29 w 42"/>
                <a:gd name="T1" fmla="*/ 12 h 49"/>
                <a:gd name="T2" fmla="*/ 40 w 42"/>
                <a:gd name="T3" fmla="*/ 35 h 49"/>
                <a:gd name="T4" fmla="*/ 12 w 42"/>
                <a:gd name="T5" fmla="*/ 49 h 49"/>
                <a:gd name="T6" fmla="*/ 0 w 42"/>
                <a:gd name="T7" fmla="*/ 25 h 49"/>
                <a:gd name="T8" fmla="*/ 29 w 42"/>
                <a:gd name="T9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9">
                  <a:moveTo>
                    <a:pt x="29" y="12"/>
                  </a:moveTo>
                  <a:cubicBezTo>
                    <a:pt x="29" y="12"/>
                    <a:pt x="42" y="29"/>
                    <a:pt x="40" y="35"/>
                  </a:cubicBezTo>
                  <a:cubicBezTo>
                    <a:pt x="38" y="42"/>
                    <a:pt x="30" y="47"/>
                    <a:pt x="12" y="49"/>
                  </a:cubicBezTo>
                  <a:cubicBezTo>
                    <a:pt x="6" y="48"/>
                    <a:pt x="0" y="29"/>
                    <a:pt x="0" y="25"/>
                  </a:cubicBezTo>
                  <a:cubicBezTo>
                    <a:pt x="2" y="0"/>
                    <a:pt x="22" y="8"/>
                    <a:pt x="29" y="12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ïṡľiḍe">
              <a:extLst>
                <a:ext uri="{FF2B5EF4-FFF2-40B4-BE49-F238E27FC236}">
                  <a16:creationId xmlns:a16="http://schemas.microsoft.com/office/drawing/2014/main" id="{1EFCE973-00E6-4AB3-B029-8BDA8EC2CC00}"/>
                </a:ext>
              </a:extLst>
            </p:cNvPr>
            <p:cNvSpPr/>
            <p:nvPr/>
          </p:nvSpPr>
          <p:spPr bwMode="auto">
            <a:xfrm>
              <a:off x="5584826" y="3317876"/>
              <a:ext cx="180975" cy="207963"/>
            </a:xfrm>
            <a:custGeom>
              <a:avLst/>
              <a:gdLst>
                <a:gd name="T0" fmla="*/ 24 w 46"/>
                <a:gd name="T1" fmla="*/ 35 h 53"/>
                <a:gd name="T2" fmla="*/ 21 w 46"/>
                <a:gd name="T3" fmla="*/ 26 h 53"/>
                <a:gd name="T4" fmla="*/ 46 w 46"/>
                <a:gd name="T5" fmla="*/ 17 h 53"/>
                <a:gd name="T6" fmla="*/ 16 w 46"/>
                <a:gd name="T7" fmla="*/ 8 h 53"/>
                <a:gd name="T8" fmla="*/ 12 w 46"/>
                <a:gd name="T9" fmla="*/ 48 h 53"/>
                <a:gd name="T10" fmla="*/ 24 w 46"/>
                <a:gd name="T11" fmla="*/ 49 h 53"/>
                <a:gd name="T12" fmla="*/ 17 w 46"/>
                <a:gd name="T13" fmla="*/ 34 h 53"/>
                <a:gd name="T14" fmla="*/ 24 w 46"/>
                <a:gd name="T15" fmla="*/ 3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53">
                  <a:moveTo>
                    <a:pt x="24" y="35"/>
                  </a:moveTo>
                  <a:cubicBezTo>
                    <a:pt x="24" y="32"/>
                    <a:pt x="18" y="29"/>
                    <a:pt x="21" y="26"/>
                  </a:cubicBezTo>
                  <a:cubicBezTo>
                    <a:pt x="34" y="28"/>
                    <a:pt x="46" y="17"/>
                    <a:pt x="46" y="17"/>
                  </a:cubicBezTo>
                  <a:cubicBezTo>
                    <a:pt x="46" y="10"/>
                    <a:pt x="31" y="0"/>
                    <a:pt x="16" y="8"/>
                  </a:cubicBezTo>
                  <a:cubicBezTo>
                    <a:pt x="0" y="16"/>
                    <a:pt x="6" y="43"/>
                    <a:pt x="12" y="48"/>
                  </a:cubicBezTo>
                  <a:cubicBezTo>
                    <a:pt x="19" y="53"/>
                    <a:pt x="24" y="49"/>
                    <a:pt x="24" y="49"/>
                  </a:cubicBezTo>
                  <a:cubicBezTo>
                    <a:pt x="21" y="49"/>
                    <a:pt x="17" y="38"/>
                    <a:pt x="17" y="34"/>
                  </a:cubicBezTo>
                  <a:cubicBezTo>
                    <a:pt x="17" y="32"/>
                    <a:pt x="23" y="35"/>
                    <a:pt x="24" y="35"/>
                  </a:cubicBezTo>
                  <a:close/>
                </a:path>
              </a:pathLst>
            </a:custGeom>
            <a:solidFill>
              <a:srgbClr val="E24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íṥļîḑê">
              <a:extLst>
                <a:ext uri="{FF2B5EF4-FFF2-40B4-BE49-F238E27FC236}">
                  <a16:creationId xmlns:a16="http://schemas.microsoft.com/office/drawing/2014/main" id="{CD593FFB-AC75-4300-89D4-73B3049A5169}"/>
                </a:ext>
              </a:extLst>
            </p:cNvPr>
            <p:cNvSpPr/>
            <p:nvPr/>
          </p:nvSpPr>
          <p:spPr bwMode="auto">
            <a:xfrm>
              <a:off x="5608639" y="3765551"/>
              <a:ext cx="11113" cy="152400"/>
            </a:xfrm>
            <a:custGeom>
              <a:avLst/>
              <a:gdLst>
                <a:gd name="T0" fmla="*/ 3 w 3"/>
                <a:gd name="T1" fmla="*/ 39 h 39"/>
                <a:gd name="T2" fmla="*/ 3 w 3"/>
                <a:gd name="T3" fmla="*/ 39 h 39"/>
                <a:gd name="T4" fmla="*/ 3 w 3"/>
                <a:gd name="T5" fmla="*/ 39 h 39"/>
                <a:gd name="T6" fmla="*/ 0 w 3"/>
                <a:gd name="T7" fmla="*/ 0 h 39"/>
                <a:gd name="T8" fmla="*/ 0 w 3"/>
                <a:gd name="T9" fmla="*/ 0 h 39"/>
                <a:gd name="T10" fmla="*/ 3 w 3"/>
                <a:gd name="T11" fmla="*/ 39 h 39"/>
                <a:gd name="T12" fmla="*/ 0 w 3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9">
                  <a:moveTo>
                    <a:pt x="3" y="39"/>
                  </a:move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7"/>
                    <a:pt x="2" y="31"/>
                    <a:pt x="3" y="39"/>
                  </a:cubicBezTo>
                  <a:cubicBezTo>
                    <a:pt x="2" y="31"/>
                    <a:pt x="2" y="17"/>
                    <a:pt x="0" y="0"/>
                  </a:cubicBezTo>
                </a:path>
              </a:pathLst>
            </a:custGeom>
            <a:solidFill>
              <a:srgbClr val="F6B8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íSḷîdè">
              <a:extLst>
                <a:ext uri="{FF2B5EF4-FFF2-40B4-BE49-F238E27FC236}">
                  <a16:creationId xmlns:a16="http://schemas.microsoft.com/office/drawing/2014/main" id="{E6F598D7-9632-47D7-81EB-87AA54861940}"/>
                </a:ext>
              </a:extLst>
            </p:cNvPr>
            <p:cNvSpPr/>
            <p:nvPr/>
          </p:nvSpPr>
          <p:spPr bwMode="auto">
            <a:xfrm>
              <a:off x="5608639" y="3729038"/>
              <a:ext cx="106363" cy="212725"/>
            </a:xfrm>
            <a:custGeom>
              <a:avLst/>
              <a:gdLst>
                <a:gd name="T0" fmla="*/ 7 w 27"/>
                <a:gd name="T1" fmla="*/ 0 h 54"/>
                <a:gd name="T2" fmla="*/ 0 w 27"/>
                <a:gd name="T3" fmla="*/ 9 h 54"/>
                <a:gd name="T4" fmla="*/ 3 w 27"/>
                <a:gd name="T5" fmla="*/ 48 h 54"/>
                <a:gd name="T6" fmla="*/ 3 w 27"/>
                <a:gd name="T7" fmla="*/ 48 h 54"/>
                <a:gd name="T8" fmla="*/ 3 w 27"/>
                <a:gd name="T9" fmla="*/ 48 h 54"/>
                <a:gd name="T10" fmla="*/ 3 w 27"/>
                <a:gd name="T11" fmla="*/ 48 h 54"/>
                <a:gd name="T12" fmla="*/ 26 w 27"/>
                <a:gd name="T13" fmla="*/ 54 h 54"/>
                <a:gd name="T14" fmla="*/ 27 w 27"/>
                <a:gd name="T15" fmla="*/ 54 h 54"/>
                <a:gd name="T16" fmla="*/ 8 w 27"/>
                <a:gd name="T17" fmla="*/ 34 h 54"/>
                <a:gd name="T18" fmla="*/ 7 w 27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54">
                  <a:moveTo>
                    <a:pt x="7" y="0"/>
                  </a:moveTo>
                  <a:cubicBezTo>
                    <a:pt x="6" y="2"/>
                    <a:pt x="4" y="5"/>
                    <a:pt x="0" y="9"/>
                  </a:cubicBezTo>
                  <a:cubicBezTo>
                    <a:pt x="2" y="26"/>
                    <a:pt x="2" y="40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11" y="52"/>
                    <a:pt x="19" y="54"/>
                    <a:pt x="26" y="54"/>
                  </a:cubicBezTo>
                  <a:cubicBezTo>
                    <a:pt x="26" y="54"/>
                    <a:pt x="27" y="54"/>
                    <a:pt x="27" y="54"/>
                  </a:cubicBezTo>
                  <a:cubicBezTo>
                    <a:pt x="18" y="48"/>
                    <a:pt x="9" y="39"/>
                    <a:pt x="8" y="34"/>
                  </a:cubicBezTo>
                  <a:cubicBezTo>
                    <a:pt x="7" y="29"/>
                    <a:pt x="7" y="11"/>
                    <a:pt x="7" y="0"/>
                  </a:cubicBezTo>
                </a:path>
              </a:pathLst>
            </a:custGeom>
            <a:solidFill>
              <a:srgbClr val="E45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ïṣľïḋè">
              <a:extLst>
                <a:ext uri="{FF2B5EF4-FFF2-40B4-BE49-F238E27FC236}">
                  <a16:creationId xmlns:a16="http://schemas.microsoft.com/office/drawing/2014/main" id="{0B73615C-6D0E-4972-9B1C-4491237847A1}"/>
                </a:ext>
              </a:extLst>
            </p:cNvPr>
            <p:cNvSpPr/>
            <p:nvPr/>
          </p:nvSpPr>
          <p:spPr bwMode="auto">
            <a:xfrm>
              <a:off x="5129214" y="3894138"/>
              <a:ext cx="184150" cy="90488"/>
            </a:xfrm>
            <a:custGeom>
              <a:avLst/>
              <a:gdLst>
                <a:gd name="T0" fmla="*/ 36 w 47"/>
                <a:gd name="T1" fmla="*/ 2 h 23"/>
                <a:gd name="T2" fmla="*/ 13 w 47"/>
                <a:gd name="T3" fmla="*/ 0 h 23"/>
                <a:gd name="T4" fmla="*/ 21 w 47"/>
                <a:gd name="T5" fmla="*/ 6 h 23"/>
                <a:gd name="T6" fmla="*/ 0 w 47"/>
                <a:gd name="T7" fmla="*/ 20 h 23"/>
                <a:gd name="T8" fmla="*/ 20 w 47"/>
                <a:gd name="T9" fmla="*/ 21 h 23"/>
                <a:gd name="T10" fmla="*/ 40 w 47"/>
                <a:gd name="T11" fmla="*/ 13 h 23"/>
                <a:gd name="T12" fmla="*/ 36 w 47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23">
                  <a:moveTo>
                    <a:pt x="36" y="2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12" y="23"/>
                    <a:pt x="20" y="21"/>
                  </a:cubicBezTo>
                  <a:cubicBezTo>
                    <a:pt x="28" y="18"/>
                    <a:pt x="40" y="13"/>
                    <a:pt x="40" y="13"/>
                  </a:cubicBezTo>
                  <a:cubicBezTo>
                    <a:pt x="40" y="13"/>
                    <a:pt x="47" y="6"/>
                    <a:pt x="36" y="2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îşľidê">
              <a:extLst>
                <a:ext uri="{FF2B5EF4-FFF2-40B4-BE49-F238E27FC236}">
                  <a16:creationId xmlns:a16="http://schemas.microsoft.com/office/drawing/2014/main" id="{D2519A2E-1CF7-4F71-AC99-23A60303BD4B}"/>
                </a:ext>
              </a:extLst>
            </p:cNvPr>
            <p:cNvSpPr/>
            <p:nvPr/>
          </p:nvSpPr>
          <p:spPr bwMode="auto">
            <a:xfrm>
              <a:off x="5267326" y="3611563"/>
              <a:ext cx="381000" cy="333375"/>
            </a:xfrm>
            <a:custGeom>
              <a:avLst/>
              <a:gdLst>
                <a:gd name="T0" fmla="*/ 81 w 97"/>
                <a:gd name="T1" fmla="*/ 0 h 85"/>
                <a:gd name="T2" fmla="*/ 95 w 97"/>
                <a:gd name="T3" fmla="*/ 28 h 85"/>
                <a:gd name="T4" fmla="*/ 4 w 97"/>
                <a:gd name="T5" fmla="*/ 85 h 85"/>
                <a:gd name="T6" fmla="*/ 0 w 97"/>
                <a:gd name="T7" fmla="*/ 74 h 85"/>
                <a:gd name="T8" fmla="*/ 47 w 97"/>
                <a:gd name="T9" fmla="*/ 46 h 85"/>
                <a:gd name="T10" fmla="*/ 81 w 97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85">
                  <a:moveTo>
                    <a:pt x="81" y="0"/>
                  </a:moveTo>
                  <a:cubicBezTo>
                    <a:pt x="81" y="0"/>
                    <a:pt x="97" y="10"/>
                    <a:pt x="95" y="28"/>
                  </a:cubicBezTo>
                  <a:cubicBezTo>
                    <a:pt x="94" y="36"/>
                    <a:pt x="65" y="68"/>
                    <a:pt x="4" y="85"/>
                  </a:cubicBezTo>
                  <a:cubicBezTo>
                    <a:pt x="1" y="80"/>
                    <a:pt x="0" y="74"/>
                    <a:pt x="0" y="74"/>
                  </a:cubicBezTo>
                  <a:cubicBezTo>
                    <a:pt x="0" y="74"/>
                    <a:pt x="37" y="57"/>
                    <a:pt x="47" y="46"/>
                  </a:cubicBezTo>
                  <a:cubicBezTo>
                    <a:pt x="57" y="34"/>
                    <a:pt x="71" y="6"/>
                    <a:pt x="81" y="0"/>
                  </a:cubicBezTo>
                </a:path>
              </a:pathLst>
            </a:custGeom>
            <a:solidFill>
              <a:srgbClr val="ED72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íSļíḑè">
              <a:extLst>
                <a:ext uri="{FF2B5EF4-FFF2-40B4-BE49-F238E27FC236}">
                  <a16:creationId xmlns:a16="http://schemas.microsoft.com/office/drawing/2014/main" id="{9683A49D-F438-49A4-916E-397823890E6F}"/>
                </a:ext>
              </a:extLst>
            </p:cNvPr>
            <p:cNvSpPr/>
            <p:nvPr/>
          </p:nvSpPr>
          <p:spPr bwMode="auto">
            <a:xfrm>
              <a:off x="5640389" y="3717926"/>
              <a:ext cx="0" cy="3175"/>
            </a:xfrm>
            <a:custGeom>
              <a:avLst/>
              <a:gdLst>
                <a:gd name="T0" fmla="*/ 1 h 1"/>
                <a:gd name="T1" fmla="*/ 1 h 1"/>
                <a:gd name="T2" fmla="*/ 1 h 1"/>
                <a:gd name="T3" fmla="*/ 1 h 1"/>
                <a:gd name="T4" fmla="*/ 1 h 1"/>
                <a:gd name="T5" fmla="*/ 1 h 1"/>
                <a:gd name="T6" fmla="*/ 0 h 1"/>
                <a:gd name="T7" fmla="*/ 0 h 1"/>
                <a:gd name="T8" fmla="*/ 0 h 1"/>
                <a:gd name="T9" fmla="*/ 0 h 1"/>
                <a:gd name="T10" fmla="*/ 0 h 1"/>
                <a:gd name="T11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45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íS1íde">
              <a:extLst>
                <a:ext uri="{FF2B5EF4-FFF2-40B4-BE49-F238E27FC236}">
                  <a16:creationId xmlns:a16="http://schemas.microsoft.com/office/drawing/2014/main" id="{43E95E6F-CDA2-47F4-AA84-ECD109958108}"/>
                </a:ext>
              </a:extLst>
            </p:cNvPr>
            <p:cNvSpPr/>
            <p:nvPr/>
          </p:nvSpPr>
          <p:spPr bwMode="auto">
            <a:xfrm>
              <a:off x="5443539" y="3654426"/>
              <a:ext cx="200025" cy="228600"/>
            </a:xfrm>
            <a:custGeom>
              <a:avLst/>
              <a:gdLst>
                <a:gd name="T0" fmla="*/ 47 w 51"/>
                <a:gd name="T1" fmla="*/ 0 h 58"/>
                <a:gd name="T2" fmla="*/ 0 w 51"/>
                <a:gd name="T3" fmla="*/ 58 h 58"/>
                <a:gd name="T4" fmla="*/ 50 w 51"/>
                <a:gd name="T5" fmla="*/ 17 h 58"/>
                <a:gd name="T6" fmla="*/ 50 w 51"/>
                <a:gd name="T7" fmla="*/ 17 h 58"/>
                <a:gd name="T8" fmla="*/ 50 w 51"/>
                <a:gd name="T9" fmla="*/ 17 h 58"/>
                <a:gd name="T10" fmla="*/ 50 w 51"/>
                <a:gd name="T11" fmla="*/ 17 h 58"/>
                <a:gd name="T12" fmla="*/ 50 w 51"/>
                <a:gd name="T13" fmla="*/ 17 h 58"/>
                <a:gd name="T14" fmla="*/ 50 w 51"/>
                <a:gd name="T15" fmla="*/ 16 h 58"/>
                <a:gd name="T16" fmla="*/ 50 w 51"/>
                <a:gd name="T17" fmla="*/ 16 h 58"/>
                <a:gd name="T18" fmla="*/ 50 w 51"/>
                <a:gd name="T19" fmla="*/ 16 h 58"/>
                <a:gd name="T20" fmla="*/ 50 w 51"/>
                <a:gd name="T21" fmla="*/ 16 h 58"/>
                <a:gd name="T22" fmla="*/ 47 w 51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58">
                  <a:moveTo>
                    <a:pt x="47" y="0"/>
                  </a:moveTo>
                  <a:cubicBezTo>
                    <a:pt x="46" y="18"/>
                    <a:pt x="2" y="57"/>
                    <a:pt x="0" y="58"/>
                  </a:cubicBezTo>
                  <a:cubicBezTo>
                    <a:pt x="33" y="42"/>
                    <a:pt x="49" y="23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6"/>
                    <a:pt x="50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1" y="10"/>
                    <a:pt x="49" y="5"/>
                    <a:pt x="47" y="0"/>
                  </a:cubicBezTo>
                </a:path>
              </a:pathLst>
            </a:custGeom>
            <a:solidFill>
              <a:srgbClr val="E45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íṧ1ïḑé">
              <a:extLst>
                <a:ext uri="{FF2B5EF4-FFF2-40B4-BE49-F238E27FC236}">
                  <a16:creationId xmlns:a16="http://schemas.microsoft.com/office/drawing/2014/main" id="{61B5DE1B-2DB0-4702-A180-93912A08E053}"/>
                </a:ext>
              </a:extLst>
            </p:cNvPr>
            <p:cNvSpPr/>
            <p:nvPr/>
          </p:nvSpPr>
          <p:spPr bwMode="auto">
            <a:xfrm>
              <a:off x="5765801" y="4071938"/>
              <a:ext cx="263525" cy="242888"/>
            </a:xfrm>
            <a:custGeom>
              <a:avLst/>
              <a:gdLst>
                <a:gd name="T0" fmla="*/ 0 w 67"/>
                <a:gd name="T1" fmla="*/ 0 h 62"/>
                <a:gd name="T2" fmla="*/ 55 w 67"/>
                <a:gd name="T3" fmla="*/ 26 h 62"/>
                <a:gd name="T4" fmla="*/ 55 w 67"/>
                <a:gd name="T5" fmla="*/ 26 h 62"/>
                <a:gd name="T6" fmla="*/ 55 w 67"/>
                <a:gd name="T7" fmla="*/ 26 h 62"/>
                <a:gd name="T8" fmla="*/ 50 w 67"/>
                <a:gd name="T9" fmla="*/ 53 h 62"/>
                <a:gd name="T10" fmla="*/ 60 w 67"/>
                <a:gd name="T11" fmla="*/ 59 h 62"/>
                <a:gd name="T12" fmla="*/ 60 w 67"/>
                <a:gd name="T13" fmla="*/ 61 h 62"/>
                <a:gd name="T14" fmla="*/ 64 w 67"/>
                <a:gd name="T15" fmla="*/ 62 h 62"/>
                <a:gd name="T16" fmla="*/ 67 w 67"/>
                <a:gd name="T17" fmla="*/ 62 h 62"/>
                <a:gd name="T18" fmla="*/ 57 w 67"/>
                <a:gd name="T19" fmla="*/ 42 h 62"/>
                <a:gd name="T20" fmla="*/ 62 w 67"/>
                <a:gd name="T21" fmla="*/ 19 h 62"/>
                <a:gd name="T22" fmla="*/ 0 w 67"/>
                <a:gd name="T2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2">
                  <a:moveTo>
                    <a:pt x="0" y="0"/>
                  </a:moveTo>
                  <a:cubicBezTo>
                    <a:pt x="0" y="0"/>
                    <a:pt x="47" y="17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3" y="34"/>
                    <a:pt x="51" y="43"/>
                    <a:pt x="50" y="53"/>
                  </a:cubicBezTo>
                  <a:cubicBezTo>
                    <a:pt x="55" y="56"/>
                    <a:pt x="60" y="59"/>
                    <a:pt x="60" y="59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2"/>
                    <a:pt x="63" y="62"/>
                    <a:pt x="64" y="62"/>
                  </a:cubicBezTo>
                  <a:cubicBezTo>
                    <a:pt x="65" y="62"/>
                    <a:pt x="66" y="62"/>
                    <a:pt x="67" y="62"/>
                  </a:cubicBezTo>
                  <a:cubicBezTo>
                    <a:pt x="63" y="58"/>
                    <a:pt x="57" y="52"/>
                    <a:pt x="57" y="42"/>
                  </a:cubicBezTo>
                  <a:cubicBezTo>
                    <a:pt x="58" y="29"/>
                    <a:pt x="62" y="19"/>
                    <a:pt x="62" y="19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531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iŝľîḋê">
              <a:extLst>
                <a:ext uri="{FF2B5EF4-FFF2-40B4-BE49-F238E27FC236}">
                  <a16:creationId xmlns:a16="http://schemas.microsoft.com/office/drawing/2014/main" id="{4161CA3A-DF33-44A8-87B0-C7BDBFDF3551}"/>
                </a:ext>
              </a:extLst>
            </p:cNvPr>
            <p:cNvSpPr/>
            <p:nvPr/>
          </p:nvSpPr>
          <p:spPr bwMode="auto">
            <a:xfrm>
              <a:off x="5608639" y="4071938"/>
              <a:ext cx="157163" cy="381000"/>
            </a:xfrm>
            <a:custGeom>
              <a:avLst/>
              <a:gdLst>
                <a:gd name="T0" fmla="*/ 40 w 40"/>
                <a:gd name="T1" fmla="*/ 0 h 97"/>
                <a:gd name="T2" fmla="*/ 14 w 40"/>
                <a:gd name="T3" fmla="*/ 62 h 97"/>
                <a:gd name="T4" fmla="*/ 12 w 40"/>
                <a:gd name="T5" fmla="*/ 79 h 97"/>
                <a:gd name="T6" fmla="*/ 0 w 40"/>
                <a:gd name="T7" fmla="*/ 97 h 97"/>
                <a:gd name="T8" fmla="*/ 1 w 40"/>
                <a:gd name="T9" fmla="*/ 97 h 97"/>
                <a:gd name="T10" fmla="*/ 8 w 40"/>
                <a:gd name="T11" fmla="*/ 96 h 97"/>
                <a:gd name="T12" fmla="*/ 8 w 40"/>
                <a:gd name="T13" fmla="*/ 94 h 97"/>
                <a:gd name="T14" fmla="*/ 18 w 40"/>
                <a:gd name="T15" fmla="*/ 86 h 97"/>
                <a:gd name="T16" fmla="*/ 18 w 40"/>
                <a:gd name="T17" fmla="*/ 86 h 97"/>
                <a:gd name="T18" fmla="*/ 18 w 40"/>
                <a:gd name="T19" fmla="*/ 86 h 97"/>
                <a:gd name="T20" fmla="*/ 17 w 40"/>
                <a:gd name="T21" fmla="*/ 93 h 97"/>
                <a:gd name="T22" fmla="*/ 17 w 40"/>
                <a:gd name="T23" fmla="*/ 93 h 97"/>
                <a:gd name="T24" fmla="*/ 20 w 40"/>
                <a:gd name="T25" fmla="*/ 64 h 97"/>
                <a:gd name="T26" fmla="*/ 40 w 40"/>
                <a:gd name="T2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97">
                  <a:moveTo>
                    <a:pt x="40" y="0"/>
                  </a:move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2" y="67"/>
                    <a:pt x="12" y="79"/>
                  </a:cubicBezTo>
                  <a:cubicBezTo>
                    <a:pt x="13" y="87"/>
                    <a:pt x="5" y="94"/>
                    <a:pt x="0" y="97"/>
                  </a:cubicBezTo>
                  <a:cubicBezTo>
                    <a:pt x="0" y="97"/>
                    <a:pt x="1" y="97"/>
                    <a:pt x="1" y="97"/>
                  </a:cubicBezTo>
                  <a:cubicBezTo>
                    <a:pt x="3" y="97"/>
                    <a:pt x="6" y="97"/>
                    <a:pt x="8" y="96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13" y="89"/>
                    <a:pt x="18" y="86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solidFill>
              <a:srgbClr val="5531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ís1iḍè">
              <a:extLst>
                <a:ext uri="{FF2B5EF4-FFF2-40B4-BE49-F238E27FC236}">
                  <a16:creationId xmlns:a16="http://schemas.microsoft.com/office/drawing/2014/main" id="{1CC228BD-F869-4813-A6F8-6C32DB00308D}"/>
                </a:ext>
              </a:extLst>
            </p:cNvPr>
            <p:cNvSpPr/>
            <p:nvPr/>
          </p:nvSpPr>
          <p:spPr bwMode="auto">
            <a:xfrm>
              <a:off x="5949951" y="4397376"/>
              <a:ext cx="0" cy="42863"/>
            </a:xfrm>
            <a:custGeom>
              <a:avLst/>
              <a:gdLst>
                <a:gd name="T0" fmla="*/ 0 h 11"/>
                <a:gd name="T1" fmla="*/ 11 h 11"/>
                <a:gd name="T2" fmla="*/ 11 h 11"/>
                <a:gd name="T3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4"/>
                    <a:pt x="0" y="8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0" y="4"/>
                    <a:pt x="0" y="0"/>
                  </a:cubicBezTo>
                </a:path>
              </a:pathLst>
            </a:custGeom>
            <a:solidFill>
              <a:srgbClr val="FF91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ïṡļîḋé">
              <a:extLst>
                <a:ext uri="{FF2B5EF4-FFF2-40B4-BE49-F238E27FC236}">
                  <a16:creationId xmlns:a16="http://schemas.microsoft.com/office/drawing/2014/main" id="{18D9DBD5-8469-46D1-AE8A-42DCD87084E1}"/>
                </a:ext>
              </a:extLst>
            </p:cNvPr>
            <p:cNvSpPr/>
            <p:nvPr/>
          </p:nvSpPr>
          <p:spPr bwMode="auto">
            <a:xfrm>
              <a:off x="5946776" y="4440238"/>
              <a:ext cx="3175" cy="31750"/>
            </a:xfrm>
            <a:custGeom>
              <a:avLst/>
              <a:gdLst>
                <a:gd name="T0" fmla="*/ 1 w 1"/>
                <a:gd name="T1" fmla="*/ 0 h 8"/>
                <a:gd name="T2" fmla="*/ 1 w 1"/>
                <a:gd name="T3" fmla="*/ 0 h 8"/>
                <a:gd name="T4" fmla="*/ 0 w 1"/>
                <a:gd name="T5" fmla="*/ 8 h 8"/>
                <a:gd name="T6" fmla="*/ 0 w 1"/>
                <a:gd name="T7" fmla="*/ 8 h 8"/>
                <a:gd name="T8" fmla="*/ 1 w 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8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3"/>
                    <a:pt x="0" y="6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3"/>
                    <a:pt x="1" y="0"/>
                  </a:cubicBezTo>
                </a:path>
              </a:pathLst>
            </a:custGeom>
            <a:solidFill>
              <a:srgbClr val="FF5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íşļíde">
              <a:extLst>
                <a:ext uri="{FF2B5EF4-FFF2-40B4-BE49-F238E27FC236}">
                  <a16:creationId xmlns:a16="http://schemas.microsoft.com/office/drawing/2014/main" id="{B7BEF3FC-2481-46AC-A363-55E3B9488487}"/>
                </a:ext>
              </a:extLst>
            </p:cNvPr>
            <p:cNvSpPr/>
            <p:nvPr/>
          </p:nvSpPr>
          <p:spPr bwMode="auto">
            <a:xfrm>
              <a:off x="5946776" y="4279901"/>
              <a:ext cx="55563" cy="192088"/>
            </a:xfrm>
            <a:custGeom>
              <a:avLst/>
              <a:gdLst>
                <a:gd name="T0" fmla="*/ 4 w 14"/>
                <a:gd name="T1" fmla="*/ 0 h 49"/>
                <a:gd name="T2" fmla="*/ 1 w 14"/>
                <a:gd name="T3" fmla="*/ 30 h 49"/>
                <a:gd name="T4" fmla="*/ 1 w 14"/>
                <a:gd name="T5" fmla="*/ 41 h 49"/>
                <a:gd name="T6" fmla="*/ 0 w 14"/>
                <a:gd name="T7" fmla="*/ 49 h 49"/>
                <a:gd name="T8" fmla="*/ 0 w 14"/>
                <a:gd name="T9" fmla="*/ 49 h 49"/>
                <a:gd name="T10" fmla="*/ 0 w 14"/>
                <a:gd name="T11" fmla="*/ 47 h 49"/>
                <a:gd name="T12" fmla="*/ 5 w 14"/>
                <a:gd name="T13" fmla="*/ 48 h 49"/>
                <a:gd name="T14" fmla="*/ 14 w 14"/>
                <a:gd name="T15" fmla="*/ 8 h 49"/>
                <a:gd name="T16" fmla="*/ 9 w 14"/>
                <a:gd name="T17" fmla="*/ 7 h 49"/>
                <a:gd name="T18" fmla="*/ 9 w 14"/>
                <a:gd name="T19" fmla="*/ 7 h 49"/>
                <a:gd name="T20" fmla="*/ 9 w 14"/>
                <a:gd name="T21" fmla="*/ 7 h 49"/>
                <a:gd name="T22" fmla="*/ 4 w 14"/>
                <a:gd name="T23" fmla="*/ 4 h 49"/>
                <a:gd name="T24" fmla="*/ 4 w 14"/>
                <a:gd name="T25" fmla="*/ 4 h 49"/>
                <a:gd name="T26" fmla="*/ 4 w 14"/>
                <a:gd name="T27" fmla="*/ 4 h 49"/>
                <a:gd name="T28" fmla="*/ 4 w 14"/>
                <a:gd name="T29" fmla="*/ 4 h 49"/>
                <a:gd name="T30" fmla="*/ 4 w 14"/>
                <a:gd name="T31" fmla="*/ 0 h 49"/>
                <a:gd name="T32" fmla="*/ 4 w 14"/>
                <a:gd name="T3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49">
                  <a:moveTo>
                    <a:pt x="4" y="0"/>
                  </a:moveTo>
                  <a:cubicBezTo>
                    <a:pt x="3" y="10"/>
                    <a:pt x="2" y="21"/>
                    <a:pt x="1" y="30"/>
                  </a:cubicBezTo>
                  <a:cubicBezTo>
                    <a:pt x="1" y="34"/>
                    <a:pt x="1" y="38"/>
                    <a:pt x="1" y="41"/>
                  </a:cubicBezTo>
                  <a:cubicBezTo>
                    <a:pt x="0" y="44"/>
                    <a:pt x="0" y="47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8"/>
                    <a:pt x="0" y="48"/>
                    <a:pt x="0" y="47"/>
                  </a:cubicBezTo>
                  <a:cubicBezTo>
                    <a:pt x="2" y="47"/>
                    <a:pt x="3" y="48"/>
                    <a:pt x="5" y="4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2" y="8"/>
                    <a:pt x="10" y="8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6"/>
                    <a:pt x="5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íṩļíḍè">
              <a:extLst>
                <a:ext uri="{FF2B5EF4-FFF2-40B4-BE49-F238E27FC236}">
                  <a16:creationId xmlns:a16="http://schemas.microsoft.com/office/drawing/2014/main" id="{59E30FD9-F2A6-4327-A4CA-AFC45D49DA19}"/>
                </a:ext>
              </a:extLst>
            </p:cNvPr>
            <p:cNvSpPr/>
            <p:nvPr/>
          </p:nvSpPr>
          <p:spPr bwMode="auto">
            <a:xfrm>
              <a:off x="5981701" y="4306888"/>
              <a:ext cx="20638" cy="3175"/>
            </a:xfrm>
            <a:custGeom>
              <a:avLst/>
              <a:gdLst>
                <a:gd name="T0" fmla="*/ 0 w 5"/>
                <a:gd name="T1" fmla="*/ 0 h 1"/>
                <a:gd name="T2" fmla="*/ 5 w 5"/>
                <a:gd name="T3" fmla="*/ 1 h 1"/>
                <a:gd name="T4" fmla="*/ 5 w 5"/>
                <a:gd name="T5" fmla="*/ 1 h 1"/>
                <a:gd name="T6" fmla="*/ 0 w 5"/>
                <a:gd name="T7" fmla="*/ 0 h 1"/>
                <a:gd name="T8" fmla="*/ 0 w 5"/>
                <a:gd name="T9" fmla="*/ 0 h 1"/>
                <a:gd name="T10" fmla="*/ 0 w 5"/>
                <a:gd name="T11" fmla="*/ 0 h 1"/>
                <a:gd name="T12" fmla="*/ 0 w 5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1" y="1"/>
                    <a:pt x="3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1" y="1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54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iṧľïďè">
              <a:extLst>
                <a:ext uri="{FF2B5EF4-FFF2-40B4-BE49-F238E27FC236}">
                  <a16:creationId xmlns:a16="http://schemas.microsoft.com/office/drawing/2014/main" id="{0368ACBA-EC0A-4590-A05D-ED8C3ECA1BDF}"/>
                </a:ext>
              </a:extLst>
            </p:cNvPr>
            <p:cNvSpPr/>
            <p:nvPr/>
          </p:nvSpPr>
          <p:spPr bwMode="auto">
            <a:xfrm>
              <a:off x="5946776" y="4464051"/>
              <a:ext cx="19050" cy="11113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2 h 3"/>
                <a:gd name="T4" fmla="*/ 4 w 5"/>
                <a:gd name="T5" fmla="*/ 3 h 3"/>
                <a:gd name="T6" fmla="*/ 5 w 5"/>
                <a:gd name="T7" fmla="*/ 1 h 3"/>
                <a:gd name="T8" fmla="*/ 0 w 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2" y="3"/>
                    <a:pt x="4" y="3"/>
                    <a:pt x="4" y="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" y="1"/>
                    <a:pt x="2" y="0"/>
                    <a:pt x="0" y="0"/>
                  </a:cubicBezTo>
                </a:path>
              </a:pathLst>
            </a:custGeom>
            <a:solidFill>
              <a:srgbClr val="754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íŝḻîďè">
              <a:extLst>
                <a:ext uri="{FF2B5EF4-FFF2-40B4-BE49-F238E27FC236}">
                  <a16:creationId xmlns:a16="http://schemas.microsoft.com/office/drawing/2014/main" id="{52D122F9-184D-4CAF-812C-3636B7FB3D09}"/>
                </a:ext>
              </a:extLst>
            </p:cNvPr>
            <p:cNvSpPr/>
            <p:nvPr/>
          </p:nvSpPr>
          <p:spPr bwMode="auto">
            <a:xfrm>
              <a:off x="5962651" y="4295776"/>
              <a:ext cx="19050" cy="11113"/>
            </a:xfrm>
            <a:custGeom>
              <a:avLst/>
              <a:gdLst>
                <a:gd name="T0" fmla="*/ 5 w 5"/>
                <a:gd name="T1" fmla="*/ 3 h 3"/>
                <a:gd name="T2" fmla="*/ 5 w 5"/>
                <a:gd name="T3" fmla="*/ 3 h 3"/>
                <a:gd name="T4" fmla="*/ 5 w 5"/>
                <a:gd name="T5" fmla="*/ 3 h 3"/>
                <a:gd name="T6" fmla="*/ 0 w 5"/>
                <a:gd name="T7" fmla="*/ 0 h 3"/>
                <a:gd name="T8" fmla="*/ 5 w 5"/>
                <a:gd name="T9" fmla="*/ 3 h 3"/>
                <a:gd name="T10" fmla="*/ 0 w 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moveTo>
                    <a:pt x="0" y="0"/>
                  </a:moveTo>
                  <a:cubicBezTo>
                    <a:pt x="1" y="1"/>
                    <a:pt x="3" y="2"/>
                    <a:pt x="5" y="3"/>
                  </a:cubicBezTo>
                  <a:cubicBezTo>
                    <a:pt x="3" y="2"/>
                    <a:pt x="1" y="1"/>
                    <a:pt x="0" y="0"/>
                  </a:cubicBezTo>
                </a:path>
              </a:pathLst>
            </a:custGeom>
            <a:solidFill>
              <a:srgbClr val="BA80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iṡļîḑé">
              <a:extLst>
                <a:ext uri="{FF2B5EF4-FFF2-40B4-BE49-F238E27FC236}">
                  <a16:creationId xmlns:a16="http://schemas.microsoft.com/office/drawing/2014/main" id="{3A9F9F4C-9EAA-4DB6-905D-EB40737BF934}"/>
                </a:ext>
              </a:extLst>
            </p:cNvPr>
            <p:cNvSpPr/>
            <p:nvPr/>
          </p:nvSpPr>
          <p:spPr bwMode="auto">
            <a:xfrm>
              <a:off x="5962651" y="4279901"/>
              <a:ext cx="39688" cy="30163"/>
            </a:xfrm>
            <a:custGeom>
              <a:avLst/>
              <a:gdLst>
                <a:gd name="T0" fmla="*/ 0 w 10"/>
                <a:gd name="T1" fmla="*/ 0 h 8"/>
                <a:gd name="T2" fmla="*/ 0 w 10"/>
                <a:gd name="T3" fmla="*/ 4 h 8"/>
                <a:gd name="T4" fmla="*/ 0 w 10"/>
                <a:gd name="T5" fmla="*/ 4 h 8"/>
                <a:gd name="T6" fmla="*/ 5 w 10"/>
                <a:gd name="T7" fmla="*/ 7 h 8"/>
                <a:gd name="T8" fmla="*/ 5 w 10"/>
                <a:gd name="T9" fmla="*/ 7 h 8"/>
                <a:gd name="T10" fmla="*/ 5 w 10"/>
                <a:gd name="T11" fmla="*/ 7 h 8"/>
                <a:gd name="T12" fmla="*/ 10 w 10"/>
                <a:gd name="T13" fmla="*/ 8 h 8"/>
                <a:gd name="T14" fmla="*/ 10 w 10"/>
                <a:gd name="T15" fmla="*/ 6 h 8"/>
                <a:gd name="T16" fmla="*/ 0 w 10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8">
                  <a:moveTo>
                    <a:pt x="0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3" y="6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8"/>
                    <a:pt x="8" y="8"/>
                    <a:pt x="10" y="8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5" y="3"/>
                    <a:pt x="0" y="0"/>
                  </a:cubicBezTo>
                </a:path>
              </a:pathLst>
            </a:custGeom>
            <a:solidFill>
              <a:srgbClr val="552A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îŝļîḋé">
              <a:extLst>
                <a:ext uri="{FF2B5EF4-FFF2-40B4-BE49-F238E27FC236}">
                  <a16:creationId xmlns:a16="http://schemas.microsoft.com/office/drawing/2014/main" id="{69152ABF-45EB-4B11-8933-796133337D2B}"/>
                </a:ext>
              </a:extLst>
            </p:cNvPr>
            <p:cNvSpPr/>
            <p:nvPr/>
          </p:nvSpPr>
          <p:spPr bwMode="auto">
            <a:xfrm>
              <a:off x="5640389" y="4437063"/>
              <a:ext cx="34925" cy="187325"/>
            </a:xfrm>
            <a:custGeom>
              <a:avLst/>
              <a:gdLst>
                <a:gd name="T0" fmla="*/ 9 w 9"/>
                <a:gd name="T1" fmla="*/ 0 h 48"/>
                <a:gd name="T2" fmla="*/ 0 w 9"/>
                <a:gd name="T3" fmla="*/ 3 h 48"/>
                <a:gd name="T4" fmla="*/ 0 w 9"/>
                <a:gd name="T5" fmla="*/ 48 h 48"/>
                <a:gd name="T6" fmla="*/ 5 w 9"/>
                <a:gd name="T7" fmla="*/ 47 h 48"/>
                <a:gd name="T8" fmla="*/ 4 w 9"/>
                <a:gd name="T9" fmla="*/ 45 h 48"/>
                <a:gd name="T10" fmla="*/ 9 w 9"/>
                <a:gd name="T1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8">
                  <a:moveTo>
                    <a:pt x="9" y="0"/>
                  </a:moveTo>
                  <a:cubicBezTo>
                    <a:pt x="9" y="0"/>
                    <a:pt x="5" y="2"/>
                    <a:pt x="0" y="3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iŝļíḍé">
              <a:extLst>
                <a:ext uri="{FF2B5EF4-FFF2-40B4-BE49-F238E27FC236}">
                  <a16:creationId xmlns:a16="http://schemas.microsoft.com/office/drawing/2014/main" id="{371C60C9-688F-425A-B8A8-858EDEFF5F1D}"/>
                </a:ext>
              </a:extLst>
            </p:cNvPr>
            <p:cNvSpPr/>
            <p:nvPr/>
          </p:nvSpPr>
          <p:spPr bwMode="auto">
            <a:xfrm>
              <a:off x="5640389" y="4437063"/>
              <a:ext cx="34925" cy="11113"/>
            </a:xfrm>
            <a:custGeom>
              <a:avLst/>
              <a:gdLst>
                <a:gd name="T0" fmla="*/ 9 w 9"/>
                <a:gd name="T1" fmla="*/ 0 h 3"/>
                <a:gd name="T2" fmla="*/ 0 w 9"/>
                <a:gd name="T3" fmla="*/ 3 h 3"/>
                <a:gd name="T4" fmla="*/ 0 w 9"/>
                <a:gd name="T5" fmla="*/ 3 h 3"/>
                <a:gd name="T6" fmla="*/ 9 w 9"/>
                <a:gd name="T7" fmla="*/ 0 h 3"/>
                <a:gd name="T8" fmla="*/ 9 w 9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9" y="0"/>
                  </a:moveTo>
                  <a:cubicBezTo>
                    <a:pt x="9" y="0"/>
                    <a:pt x="5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2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754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í$ḷîďé">
              <a:extLst>
                <a:ext uri="{FF2B5EF4-FFF2-40B4-BE49-F238E27FC236}">
                  <a16:creationId xmlns:a16="http://schemas.microsoft.com/office/drawing/2014/main" id="{627C4C3D-65C9-4710-BEA6-5D924E75E933}"/>
                </a:ext>
              </a:extLst>
            </p:cNvPr>
            <p:cNvSpPr/>
            <p:nvPr/>
          </p:nvSpPr>
          <p:spPr bwMode="auto">
            <a:xfrm>
              <a:off x="5640389" y="4408488"/>
              <a:ext cx="39688" cy="39688"/>
            </a:xfrm>
            <a:custGeom>
              <a:avLst/>
              <a:gdLst>
                <a:gd name="T0" fmla="*/ 10 w 10"/>
                <a:gd name="T1" fmla="*/ 0 h 10"/>
                <a:gd name="T2" fmla="*/ 0 w 10"/>
                <a:gd name="T3" fmla="*/ 8 h 10"/>
                <a:gd name="T4" fmla="*/ 0 w 10"/>
                <a:gd name="T5" fmla="*/ 10 h 10"/>
                <a:gd name="T6" fmla="*/ 9 w 10"/>
                <a:gd name="T7" fmla="*/ 7 h 10"/>
                <a:gd name="T8" fmla="*/ 10 w 10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10" y="0"/>
                  </a:moveTo>
                  <a:cubicBezTo>
                    <a:pt x="5" y="3"/>
                    <a:pt x="0" y="8"/>
                    <a:pt x="0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5" y="9"/>
                    <a:pt x="9" y="7"/>
                    <a:pt x="9" y="7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552A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işľiḋé">
              <a:extLst>
                <a:ext uri="{FF2B5EF4-FFF2-40B4-BE49-F238E27FC236}">
                  <a16:creationId xmlns:a16="http://schemas.microsoft.com/office/drawing/2014/main" id="{EFE76658-6E68-4286-A670-5393E99410A1}"/>
                </a:ext>
              </a:extLst>
            </p:cNvPr>
            <p:cNvSpPr/>
            <p:nvPr/>
          </p:nvSpPr>
          <p:spPr bwMode="auto">
            <a:xfrm>
              <a:off x="5526089" y="4613276"/>
              <a:ext cx="146050" cy="101600"/>
            </a:xfrm>
            <a:custGeom>
              <a:avLst/>
              <a:gdLst>
                <a:gd name="T0" fmla="*/ 37 w 37"/>
                <a:gd name="T1" fmla="*/ 15 h 26"/>
                <a:gd name="T2" fmla="*/ 33 w 37"/>
                <a:gd name="T3" fmla="*/ 0 h 26"/>
                <a:gd name="T4" fmla="*/ 19 w 37"/>
                <a:gd name="T5" fmla="*/ 3 h 26"/>
                <a:gd name="T6" fmla="*/ 0 w 37"/>
                <a:gd name="T7" fmla="*/ 26 h 26"/>
                <a:gd name="T8" fmla="*/ 37 w 37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6">
                  <a:moveTo>
                    <a:pt x="37" y="15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27" y="6"/>
                    <a:pt x="19" y="3"/>
                    <a:pt x="19" y="3"/>
                  </a:cubicBezTo>
                  <a:cubicBezTo>
                    <a:pt x="0" y="26"/>
                    <a:pt x="0" y="26"/>
                    <a:pt x="0" y="26"/>
                  </a:cubicBezTo>
                  <a:lnTo>
                    <a:pt x="37" y="15"/>
                  </a:lnTo>
                  <a:close/>
                </a:path>
              </a:pathLst>
            </a:custGeom>
            <a:solidFill>
              <a:srgbClr val="754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îšḻidê">
              <a:extLst>
                <a:ext uri="{FF2B5EF4-FFF2-40B4-BE49-F238E27FC236}">
                  <a16:creationId xmlns:a16="http://schemas.microsoft.com/office/drawing/2014/main" id="{C8730446-67FB-4FF2-9C3E-765F98FC2ECF}"/>
                </a:ext>
              </a:extLst>
            </p:cNvPr>
            <p:cNvSpPr/>
            <p:nvPr/>
          </p:nvSpPr>
          <p:spPr bwMode="auto">
            <a:xfrm>
              <a:off x="3781426" y="4695826"/>
              <a:ext cx="530225" cy="796925"/>
            </a:xfrm>
            <a:custGeom>
              <a:avLst/>
              <a:gdLst>
                <a:gd name="T0" fmla="*/ 66 w 135"/>
                <a:gd name="T1" fmla="*/ 4 h 203"/>
                <a:gd name="T2" fmla="*/ 125 w 135"/>
                <a:gd name="T3" fmla="*/ 50 h 203"/>
                <a:gd name="T4" fmla="*/ 113 w 135"/>
                <a:gd name="T5" fmla="*/ 139 h 203"/>
                <a:gd name="T6" fmla="*/ 135 w 135"/>
                <a:gd name="T7" fmla="*/ 147 h 203"/>
                <a:gd name="T8" fmla="*/ 98 w 135"/>
                <a:gd name="T9" fmla="*/ 153 h 203"/>
                <a:gd name="T10" fmla="*/ 100 w 135"/>
                <a:gd name="T11" fmla="*/ 75 h 203"/>
                <a:gd name="T12" fmla="*/ 50 w 135"/>
                <a:gd name="T13" fmla="*/ 49 h 203"/>
                <a:gd name="T14" fmla="*/ 43 w 135"/>
                <a:gd name="T15" fmla="*/ 114 h 203"/>
                <a:gd name="T16" fmla="*/ 52 w 135"/>
                <a:gd name="T17" fmla="*/ 185 h 203"/>
                <a:gd name="T18" fmla="*/ 25 w 135"/>
                <a:gd name="T19" fmla="*/ 203 h 203"/>
                <a:gd name="T20" fmla="*/ 37 w 135"/>
                <a:gd name="T21" fmla="*/ 179 h 203"/>
                <a:gd name="T22" fmla="*/ 12 w 135"/>
                <a:gd name="T23" fmla="*/ 116 h 203"/>
                <a:gd name="T24" fmla="*/ 2 w 135"/>
                <a:gd name="T25" fmla="*/ 28 h 203"/>
                <a:gd name="T26" fmla="*/ 66 w 135"/>
                <a:gd name="T27" fmla="*/ 4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5" h="203">
                  <a:moveTo>
                    <a:pt x="66" y="4"/>
                  </a:moveTo>
                  <a:cubicBezTo>
                    <a:pt x="66" y="4"/>
                    <a:pt x="118" y="36"/>
                    <a:pt x="125" y="50"/>
                  </a:cubicBezTo>
                  <a:cubicBezTo>
                    <a:pt x="132" y="63"/>
                    <a:pt x="113" y="139"/>
                    <a:pt x="113" y="139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98" y="153"/>
                    <a:pt x="97" y="96"/>
                    <a:pt x="100" y="75"/>
                  </a:cubicBezTo>
                  <a:cubicBezTo>
                    <a:pt x="87" y="70"/>
                    <a:pt x="50" y="49"/>
                    <a:pt x="50" y="49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25" y="203"/>
                    <a:pt x="25" y="203"/>
                    <a:pt x="25" y="203"/>
                  </a:cubicBezTo>
                  <a:cubicBezTo>
                    <a:pt x="37" y="179"/>
                    <a:pt x="37" y="179"/>
                    <a:pt x="37" y="179"/>
                  </a:cubicBezTo>
                  <a:cubicBezTo>
                    <a:pt x="37" y="179"/>
                    <a:pt x="19" y="130"/>
                    <a:pt x="12" y="116"/>
                  </a:cubicBezTo>
                  <a:cubicBezTo>
                    <a:pt x="6" y="102"/>
                    <a:pt x="3" y="46"/>
                    <a:pt x="2" y="28"/>
                  </a:cubicBezTo>
                  <a:cubicBezTo>
                    <a:pt x="0" y="11"/>
                    <a:pt x="53" y="0"/>
                    <a:pt x="66" y="4"/>
                  </a:cubicBezTo>
                </a:path>
              </a:pathLst>
            </a:custGeom>
            <a:solidFill>
              <a:srgbClr val="1C75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îṣḷïḓé">
              <a:extLst>
                <a:ext uri="{FF2B5EF4-FFF2-40B4-BE49-F238E27FC236}">
                  <a16:creationId xmlns:a16="http://schemas.microsoft.com/office/drawing/2014/main" id="{A2B0DD34-0BFC-404E-88E4-152A544D46DB}"/>
                </a:ext>
              </a:extLst>
            </p:cNvPr>
            <p:cNvSpPr/>
            <p:nvPr/>
          </p:nvSpPr>
          <p:spPr bwMode="auto">
            <a:xfrm>
              <a:off x="3949701" y="5135563"/>
              <a:ext cx="0" cy="11113"/>
            </a:xfrm>
            <a:custGeom>
              <a:avLst/>
              <a:gdLst>
                <a:gd name="T0" fmla="*/ 0 h 3"/>
                <a:gd name="T1" fmla="*/ 2 h 3"/>
                <a:gd name="T2" fmla="*/ 3 h 3"/>
                <a:gd name="T3" fmla="*/ 3 h 3"/>
                <a:gd name="T4" fmla="*/ 2 h 3"/>
                <a:gd name="T5" fmla="*/ 0 h 3"/>
                <a:gd name="T6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3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ïṣľïḓe">
              <a:extLst>
                <a:ext uri="{FF2B5EF4-FFF2-40B4-BE49-F238E27FC236}">
                  <a16:creationId xmlns:a16="http://schemas.microsoft.com/office/drawing/2014/main" id="{913A3591-EADE-4F31-A9A7-3378E6799CAB}"/>
                </a:ext>
              </a:extLst>
            </p:cNvPr>
            <p:cNvSpPr/>
            <p:nvPr/>
          </p:nvSpPr>
          <p:spPr bwMode="auto">
            <a:xfrm>
              <a:off x="3938589" y="4848226"/>
              <a:ext cx="258763" cy="373063"/>
            </a:xfrm>
            <a:custGeom>
              <a:avLst/>
              <a:gdLst>
                <a:gd name="T0" fmla="*/ 63 w 66"/>
                <a:gd name="T1" fmla="*/ 94 h 95"/>
                <a:gd name="T2" fmla="*/ 64 w 66"/>
                <a:gd name="T3" fmla="*/ 94 h 95"/>
                <a:gd name="T4" fmla="*/ 64 w 66"/>
                <a:gd name="T5" fmla="*/ 82 h 95"/>
                <a:gd name="T6" fmla="*/ 64 w 66"/>
                <a:gd name="T7" fmla="*/ 87 h 95"/>
                <a:gd name="T8" fmla="*/ 64 w 66"/>
                <a:gd name="T9" fmla="*/ 82 h 95"/>
                <a:gd name="T10" fmla="*/ 64 w 66"/>
                <a:gd name="T11" fmla="*/ 74 h 95"/>
                <a:gd name="T12" fmla="*/ 64 w 66"/>
                <a:gd name="T13" fmla="*/ 79 h 95"/>
                <a:gd name="T14" fmla="*/ 64 w 66"/>
                <a:gd name="T15" fmla="*/ 74 h 95"/>
                <a:gd name="T16" fmla="*/ 64 w 66"/>
                <a:gd name="T17" fmla="*/ 70 h 95"/>
                <a:gd name="T18" fmla="*/ 65 w 66"/>
                <a:gd name="T19" fmla="*/ 70 h 95"/>
                <a:gd name="T20" fmla="*/ 65 w 66"/>
                <a:gd name="T21" fmla="*/ 57 h 95"/>
                <a:gd name="T22" fmla="*/ 64 w 66"/>
                <a:gd name="T23" fmla="*/ 62 h 95"/>
                <a:gd name="T24" fmla="*/ 65 w 66"/>
                <a:gd name="T25" fmla="*/ 62 h 95"/>
                <a:gd name="T26" fmla="*/ 65 w 66"/>
                <a:gd name="T27" fmla="*/ 49 h 95"/>
                <a:gd name="T28" fmla="*/ 64 w 66"/>
                <a:gd name="T29" fmla="*/ 54 h 95"/>
                <a:gd name="T30" fmla="*/ 65 w 66"/>
                <a:gd name="T31" fmla="*/ 54 h 95"/>
                <a:gd name="T32" fmla="*/ 0 w 66"/>
                <a:gd name="T33" fmla="*/ 49 h 95"/>
                <a:gd name="T34" fmla="*/ 0 w 66"/>
                <a:gd name="T35" fmla="*/ 53 h 95"/>
                <a:gd name="T36" fmla="*/ 65 w 66"/>
                <a:gd name="T37" fmla="*/ 41 h 95"/>
                <a:gd name="T38" fmla="*/ 65 w 66"/>
                <a:gd name="T39" fmla="*/ 46 h 95"/>
                <a:gd name="T40" fmla="*/ 66 w 66"/>
                <a:gd name="T41" fmla="*/ 46 h 95"/>
                <a:gd name="T42" fmla="*/ 0 w 66"/>
                <a:gd name="T43" fmla="*/ 40 h 95"/>
                <a:gd name="T44" fmla="*/ 0 w 66"/>
                <a:gd name="T45" fmla="*/ 46 h 95"/>
                <a:gd name="T46" fmla="*/ 1 w 66"/>
                <a:gd name="T47" fmla="*/ 41 h 95"/>
                <a:gd name="T48" fmla="*/ 65 w 66"/>
                <a:gd name="T49" fmla="*/ 38 h 95"/>
                <a:gd name="T50" fmla="*/ 66 w 66"/>
                <a:gd name="T51" fmla="*/ 33 h 95"/>
                <a:gd name="T52" fmla="*/ 0 w 66"/>
                <a:gd name="T53" fmla="*/ 33 h 95"/>
                <a:gd name="T54" fmla="*/ 0 w 66"/>
                <a:gd name="T55" fmla="*/ 37 h 95"/>
                <a:gd name="T56" fmla="*/ 0 w 66"/>
                <a:gd name="T57" fmla="*/ 32 h 95"/>
                <a:gd name="T58" fmla="*/ 61 w 66"/>
                <a:gd name="T59" fmla="*/ 27 h 95"/>
                <a:gd name="T60" fmla="*/ 65 w 66"/>
                <a:gd name="T61" fmla="*/ 29 h 95"/>
                <a:gd name="T62" fmla="*/ 0 w 66"/>
                <a:gd name="T63" fmla="*/ 25 h 95"/>
                <a:gd name="T64" fmla="*/ 0 w 66"/>
                <a:gd name="T65" fmla="*/ 29 h 95"/>
                <a:gd name="T66" fmla="*/ 1 w 66"/>
                <a:gd name="T67" fmla="*/ 24 h 95"/>
                <a:gd name="T68" fmla="*/ 55 w 66"/>
                <a:gd name="T69" fmla="*/ 22 h 95"/>
                <a:gd name="T70" fmla="*/ 59 w 66"/>
                <a:gd name="T71" fmla="*/ 25 h 95"/>
                <a:gd name="T72" fmla="*/ 48 w 66"/>
                <a:gd name="T73" fmla="*/ 17 h 95"/>
                <a:gd name="T74" fmla="*/ 51 w 66"/>
                <a:gd name="T75" fmla="*/ 20 h 95"/>
                <a:gd name="T76" fmla="*/ 52 w 66"/>
                <a:gd name="T77" fmla="*/ 19 h 95"/>
                <a:gd name="T78" fmla="*/ 1 w 66"/>
                <a:gd name="T79" fmla="*/ 17 h 95"/>
                <a:gd name="T80" fmla="*/ 1 w 66"/>
                <a:gd name="T81" fmla="*/ 21 h 95"/>
                <a:gd name="T82" fmla="*/ 2 w 66"/>
                <a:gd name="T83" fmla="*/ 16 h 95"/>
                <a:gd name="T84" fmla="*/ 41 w 66"/>
                <a:gd name="T85" fmla="*/ 14 h 95"/>
                <a:gd name="T86" fmla="*/ 45 w 66"/>
                <a:gd name="T87" fmla="*/ 16 h 95"/>
                <a:gd name="T88" fmla="*/ 34 w 66"/>
                <a:gd name="T89" fmla="*/ 9 h 95"/>
                <a:gd name="T90" fmla="*/ 37 w 66"/>
                <a:gd name="T91" fmla="*/ 12 h 95"/>
                <a:gd name="T92" fmla="*/ 38 w 66"/>
                <a:gd name="T93" fmla="*/ 11 h 95"/>
                <a:gd name="T94" fmla="*/ 3 w 66"/>
                <a:gd name="T95" fmla="*/ 9 h 95"/>
                <a:gd name="T96" fmla="*/ 2 w 66"/>
                <a:gd name="T97" fmla="*/ 13 h 95"/>
                <a:gd name="T98" fmla="*/ 4 w 66"/>
                <a:gd name="T99" fmla="*/ 8 h 95"/>
                <a:gd name="T100" fmla="*/ 26 w 66"/>
                <a:gd name="T101" fmla="*/ 6 h 95"/>
                <a:gd name="T102" fmla="*/ 31 w 66"/>
                <a:gd name="T103" fmla="*/ 8 h 95"/>
                <a:gd name="T104" fmla="*/ 19 w 66"/>
                <a:gd name="T105" fmla="*/ 2 h 95"/>
                <a:gd name="T106" fmla="*/ 23 w 66"/>
                <a:gd name="T107" fmla="*/ 5 h 95"/>
                <a:gd name="T108" fmla="*/ 23 w 66"/>
                <a:gd name="T109" fmla="*/ 4 h 95"/>
                <a:gd name="T110" fmla="*/ 6 w 66"/>
                <a:gd name="T111" fmla="*/ 2 h 95"/>
                <a:gd name="T112" fmla="*/ 5 w 66"/>
                <a:gd name="T113" fmla="*/ 6 h 95"/>
                <a:gd name="T114" fmla="*/ 8 w 66"/>
                <a:gd name="T115" fmla="*/ 2 h 95"/>
                <a:gd name="T116" fmla="*/ 11 w 66"/>
                <a:gd name="T117" fmla="*/ 0 h 95"/>
                <a:gd name="T118" fmla="*/ 15 w 66"/>
                <a:gd name="T119" fmla="*/ 2 h 95"/>
                <a:gd name="T120" fmla="*/ 15 w 66"/>
                <a:gd name="T121" fmla="*/ 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6" h="95">
                  <a:moveTo>
                    <a:pt x="63" y="90"/>
                  </a:moveTo>
                  <a:cubicBezTo>
                    <a:pt x="63" y="90"/>
                    <a:pt x="63" y="90"/>
                    <a:pt x="63" y="90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3" y="90"/>
                    <a:pt x="63" y="90"/>
                    <a:pt x="63" y="90"/>
                  </a:cubicBezTo>
                  <a:moveTo>
                    <a:pt x="64" y="82"/>
                  </a:moveTo>
                  <a:cubicBezTo>
                    <a:pt x="63" y="82"/>
                    <a:pt x="63" y="82"/>
                    <a:pt x="63" y="82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4" y="82"/>
                    <a:pt x="64" y="82"/>
                    <a:pt x="64" y="82"/>
                  </a:cubicBezTo>
                  <a:moveTo>
                    <a:pt x="64" y="74"/>
                  </a:moveTo>
                  <a:cubicBezTo>
                    <a:pt x="64" y="74"/>
                    <a:pt x="64" y="74"/>
                    <a:pt x="64" y="74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64" y="74"/>
                    <a:pt x="64" y="74"/>
                    <a:pt x="64" y="74"/>
                  </a:cubicBezTo>
                  <a:moveTo>
                    <a:pt x="64" y="65"/>
                  </a:moveTo>
                  <a:cubicBezTo>
                    <a:pt x="64" y="66"/>
                    <a:pt x="64" y="66"/>
                    <a:pt x="64" y="66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4" y="65"/>
                    <a:pt x="64" y="65"/>
                    <a:pt x="64" y="65"/>
                  </a:cubicBezTo>
                  <a:moveTo>
                    <a:pt x="65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7"/>
                    <a:pt x="65" y="57"/>
                    <a:pt x="65" y="57"/>
                  </a:cubicBezTo>
                  <a:moveTo>
                    <a:pt x="65" y="49"/>
                  </a:move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49"/>
                    <a:pt x="65" y="49"/>
                    <a:pt x="65" y="49"/>
                  </a:cubicBezTo>
                  <a:moveTo>
                    <a:pt x="0" y="49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0" y="51"/>
                    <a:pt x="0" y="53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moveTo>
                    <a:pt x="65" y="4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5" y="41"/>
                    <a:pt x="65" y="41"/>
                    <a:pt x="65" y="41"/>
                  </a:cubicBezTo>
                  <a:moveTo>
                    <a:pt x="0" y="4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42"/>
                    <a:pt x="0" y="44"/>
                    <a:pt x="0" y="4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4"/>
                    <a:pt x="1" y="42"/>
                    <a:pt x="1" y="41"/>
                  </a:cubicBezTo>
                  <a:cubicBezTo>
                    <a:pt x="0" y="40"/>
                    <a:pt x="0" y="40"/>
                    <a:pt x="0" y="40"/>
                  </a:cubicBezTo>
                  <a:moveTo>
                    <a:pt x="66" y="33"/>
                  </a:moveTo>
                  <a:cubicBezTo>
                    <a:pt x="65" y="38"/>
                    <a:pt x="65" y="38"/>
                    <a:pt x="65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6"/>
                    <a:pt x="66" y="35"/>
                    <a:pt x="66" y="33"/>
                  </a:cubicBezTo>
                  <a:cubicBezTo>
                    <a:pt x="66" y="33"/>
                    <a:pt x="66" y="33"/>
                    <a:pt x="66" y="33"/>
                  </a:cubicBezTo>
                  <a:moveTo>
                    <a:pt x="0" y="3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0" y="36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6"/>
                    <a:pt x="1" y="34"/>
                    <a:pt x="1" y="33"/>
                  </a:cubicBezTo>
                  <a:cubicBezTo>
                    <a:pt x="0" y="32"/>
                    <a:pt x="0" y="32"/>
                    <a:pt x="0" y="32"/>
                  </a:cubicBezTo>
                  <a:moveTo>
                    <a:pt x="62" y="27"/>
                  </a:moveTo>
                  <a:cubicBezTo>
                    <a:pt x="61" y="27"/>
                    <a:pt x="61" y="27"/>
                    <a:pt x="61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2" y="28"/>
                    <a:pt x="63" y="29"/>
                    <a:pt x="63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4" y="29"/>
                    <a:pt x="63" y="28"/>
                    <a:pt x="62" y="27"/>
                  </a:cubicBezTo>
                  <a:moveTo>
                    <a:pt x="1" y="24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7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7"/>
                    <a:pt x="1" y="26"/>
                    <a:pt x="1" y="25"/>
                  </a:cubicBezTo>
                  <a:cubicBezTo>
                    <a:pt x="1" y="24"/>
                    <a:pt x="1" y="24"/>
                    <a:pt x="1" y="24"/>
                  </a:cubicBezTo>
                  <a:moveTo>
                    <a:pt x="55" y="22"/>
                  </a:moveTo>
                  <a:cubicBezTo>
                    <a:pt x="54" y="22"/>
                    <a:pt x="54" y="22"/>
                    <a:pt x="54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6" y="23"/>
                    <a:pt x="57" y="24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7" y="23"/>
                    <a:pt x="56" y="22"/>
                    <a:pt x="55" y="22"/>
                  </a:cubicBezTo>
                  <a:moveTo>
                    <a:pt x="48" y="17"/>
                  </a:moveTo>
                  <a:cubicBezTo>
                    <a:pt x="48" y="17"/>
                    <a:pt x="48" y="17"/>
                    <a:pt x="48" y="17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9" y="19"/>
                    <a:pt x="50" y="19"/>
                    <a:pt x="51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19"/>
                    <a:pt x="50" y="18"/>
                    <a:pt x="48" y="17"/>
                  </a:cubicBezTo>
                  <a:moveTo>
                    <a:pt x="2" y="16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1" y="18"/>
                    <a:pt x="1" y="19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9"/>
                    <a:pt x="2" y="18"/>
                    <a:pt x="2" y="17"/>
                  </a:cubicBezTo>
                  <a:cubicBezTo>
                    <a:pt x="2" y="16"/>
                    <a:pt x="2" y="16"/>
                    <a:pt x="2" y="16"/>
                  </a:cubicBezTo>
                  <a:moveTo>
                    <a:pt x="41" y="13"/>
                  </a:moveTo>
                  <a:cubicBezTo>
                    <a:pt x="41" y="13"/>
                    <a:pt x="41" y="13"/>
                    <a:pt x="41" y="13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2" y="14"/>
                    <a:pt x="43" y="15"/>
                    <a:pt x="44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4"/>
                    <a:pt x="43" y="14"/>
                    <a:pt x="41" y="13"/>
                  </a:cubicBezTo>
                  <a:moveTo>
                    <a:pt x="34" y="9"/>
                  </a:moveTo>
                  <a:cubicBezTo>
                    <a:pt x="34" y="9"/>
                    <a:pt x="34" y="9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6" y="11"/>
                    <a:pt x="37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10"/>
                    <a:pt x="35" y="10"/>
                    <a:pt x="34" y="9"/>
                  </a:cubicBezTo>
                  <a:moveTo>
                    <a:pt x="4" y="8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2" y="11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1"/>
                    <a:pt x="4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moveTo>
                    <a:pt x="27" y="5"/>
                  </a:move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8" y="7"/>
                    <a:pt x="29" y="7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29" y="7"/>
                    <a:pt x="28" y="6"/>
                    <a:pt x="27" y="5"/>
                  </a:cubicBezTo>
                  <a:moveTo>
                    <a:pt x="19" y="2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4"/>
                    <a:pt x="21" y="4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2" y="3"/>
                    <a:pt x="21" y="3"/>
                    <a:pt x="19" y="2"/>
                  </a:cubicBezTo>
                  <a:moveTo>
                    <a:pt x="7" y="1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6" y="3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moveTo>
                    <a:pt x="11" y="0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2" y="2"/>
                    <a:pt x="14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4" y="1"/>
                    <a:pt x="12" y="1"/>
                    <a:pt x="11" y="0"/>
                  </a:cubicBezTo>
                </a:path>
              </a:pathLst>
            </a:custGeom>
            <a:solidFill>
              <a:srgbClr val="0F55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îSliḋê">
              <a:extLst>
                <a:ext uri="{FF2B5EF4-FFF2-40B4-BE49-F238E27FC236}">
                  <a16:creationId xmlns:a16="http://schemas.microsoft.com/office/drawing/2014/main" id="{EFB7FAE0-2797-4EF1-8D1B-9BBF9E5CADC6}"/>
                </a:ext>
              </a:extLst>
            </p:cNvPr>
            <p:cNvSpPr/>
            <p:nvPr/>
          </p:nvSpPr>
          <p:spPr bwMode="auto">
            <a:xfrm>
              <a:off x="4167189" y="4989513"/>
              <a:ext cx="7938" cy="252413"/>
            </a:xfrm>
            <a:custGeom>
              <a:avLst/>
              <a:gdLst>
                <a:gd name="T0" fmla="*/ 2 w 2"/>
                <a:gd name="T1" fmla="*/ 0 h 64"/>
                <a:gd name="T2" fmla="*/ 0 w 2"/>
                <a:gd name="T3" fmla="*/ 64 h 64"/>
                <a:gd name="T4" fmla="*/ 0 w 2"/>
                <a:gd name="T5" fmla="*/ 64 h 64"/>
                <a:gd name="T6" fmla="*/ 2 w 2"/>
                <a:gd name="T7" fmla="*/ 0 h 64"/>
                <a:gd name="T8" fmla="*/ 2 w 2"/>
                <a:gd name="T9" fmla="*/ 0 h 64"/>
                <a:gd name="T10" fmla="*/ 2 w 2"/>
                <a:gd name="T11" fmla="*/ 0 h 64"/>
                <a:gd name="T12" fmla="*/ 2 w 2"/>
                <a:gd name="T13" fmla="*/ 0 h 64"/>
                <a:gd name="T14" fmla="*/ 2 w 2"/>
                <a:gd name="T15" fmla="*/ 0 h 64"/>
                <a:gd name="T16" fmla="*/ 2 w 2"/>
                <a:gd name="T17" fmla="*/ 0 h 64"/>
                <a:gd name="T18" fmla="*/ 2 w 2"/>
                <a:gd name="T19" fmla="*/ 0 h 64"/>
                <a:gd name="T20" fmla="*/ 2 w 2"/>
                <a:gd name="T21" fmla="*/ 0 h 64"/>
                <a:gd name="T22" fmla="*/ 2 w 2"/>
                <a:gd name="T23" fmla="*/ 0 h 64"/>
                <a:gd name="T24" fmla="*/ 2 w 2"/>
                <a:gd name="T25" fmla="*/ 0 h 64"/>
                <a:gd name="T26" fmla="*/ 2 w 2"/>
                <a:gd name="T2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64">
                  <a:moveTo>
                    <a:pt x="2" y="0"/>
                  </a:moveTo>
                  <a:cubicBezTo>
                    <a:pt x="0" y="14"/>
                    <a:pt x="0" y="46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46"/>
                    <a:pt x="0" y="14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43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îṣľïḑé">
              <a:extLst>
                <a:ext uri="{FF2B5EF4-FFF2-40B4-BE49-F238E27FC236}">
                  <a16:creationId xmlns:a16="http://schemas.microsoft.com/office/drawing/2014/main" id="{BEA1970D-6356-4878-86B8-0D0E3704418E}"/>
                </a:ext>
              </a:extLst>
            </p:cNvPr>
            <p:cNvSpPr/>
            <p:nvPr/>
          </p:nvSpPr>
          <p:spPr bwMode="auto">
            <a:xfrm>
              <a:off x="4167189" y="5241926"/>
              <a:ext cx="85725" cy="39688"/>
            </a:xfrm>
            <a:custGeom>
              <a:avLst/>
              <a:gdLst>
                <a:gd name="T0" fmla="*/ 0 w 22"/>
                <a:gd name="T1" fmla="*/ 0 h 10"/>
                <a:gd name="T2" fmla="*/ 0 w 22"/>
                <a:gd name="T3" fmla="*/ 0 h 10"/>
                <a:gd name="T4" fmla="*/ 0 w 22"/>
                <a:gd name="T5" fmla="*/ 10 h 10"/>
                <a:gd name="T6" fmla="*/ 0 w 22"/>
                <a:gd name="T7" fmla="*/ 10 h 10"/>
                <a:gd name="T8" fmla="*/ 0 w 22"/>
                <a:gd name="T9" fmla="*/ 0 h 10"/>
                <a:gd name="T10" fmla="*/ 15 w 22"/>
                <a:gd name="T11" fmla="*/ 0 h 10"/>
                <a:gd name="T12" fmla="*/ 15 w 22"/>
                <a:gd name="T13" fmla="*/ 0 h 10"/>
                <a:gd name="T14" fmla="*/ 22 w 22"/>
                <a:gd name="T15" fmla="*/ 3 h 10"/>
                <a:gd name="T16" fmla="*/ 22 w 22"/>
                <a:gd name="T17" fmla="*/ 3 h 10"/>
                <a:gd name="T18" fmla="*/ 15 w 22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8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8"/>
                    <a:pt x="0" y="4"/>
                    <a:pt x="0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8D4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íṡľïďè">
              <a:extLst>
                <a:ext uri="{FF2B5EF4-FFF2-40B4-BE49-F238E27FC236}">
                  <a16:creationId xmlns:a16="http://schemas.microsoft.com/office/drawing/2014/main" id="{7F685AEB-BA45-4008-AE54-A62BEEF37E6E}"/>
                </a:ext>
              </a:extLst>
            </p:cNvPr>
            <p:cNvSpPr/>
            <p:nvPr/>
          </p:nvSpPr>
          <p:spPr bwMode="auto">
            <a:xfrm>
              <a:off x="3978276" y="4887913"/>
              <a:ext cx="279400" cy="393700"/>
            </a:xfrm>
            <a:custGeom>
              <a:avLst/>
              <a:gdLst>
                <a:gd name="T0" fmla="*/ 53 w 71"/>
                <a:gd name="T1" fmla="*/ 91 h 100"/>
                <a:gd name="T2" fmla="*/ 52 w 71"/>
                <a:gd name="T3" fmla="*/ 90 h 100"/>
                <a:gd name="T4" fmla="*/ 53 w 71"/>
                <a:gd name="T5" fmla="*/ 88 h 100"/>
                <a:gd name="T6" fmla="*/ 53 w 71"/>
                <a:gd name="T7" fmla="*/ 88 h 100"/>
                <a:gd name="T8" fmla="*/ 54 w 71"/>
                <a:gd name="T9" fmla="*/ 88 h 100"/>
                <a:gd name="T10" fmla="*/ 53 w 71"/>
                <a:gd name="T11" fmla="*/ 90 h 100"/>
                <a:gd name="T12" fmla="*/ 53 w 71"/>
                <a:gd name="T13" fmla="*/ 91 h 100"/>
                <a:gd name="T14" fmla="*/ 53 w 71"/>
                <a:gd name="T15" fmla="*/ 91 h 100"/>
                <a:gd name="T16" fmla="*/ 0 w 71"/>
                <a:gd name="T17" fmla="*/ 0 h 100"/>
                <a:gd name="T18" fmla="*/ 50 w 71"/>
                <a:gd name="T19" fmla="*/ 26 h 100"/>
                <a:gd name="T20" fmla="*/ 50 w 71"/>
                <a:gd name="T21" fmla="*/ 26 h 100"/>
                <a:gd name="T22" fmla="*/ 50 w 71"/>
                <a:gd name="T23" fmla="*/ 26 h 100"/>
                <a:gd name="T24" fmla="*/ 50 w 71"/>
                <a:gd name="T25" fmla="*/ 26 h 100"/>
                <a:gd name="T26" fmla="*/ 50 w 71"/>
                <a:gd name="T27" fmla="*/ 26 h 100"/>
                <a:gd name="T28" fmla="*/ 50 w 71"/>
                <a:gd name="T29" fmla="*/ 26 h 100"/>
                <a:gd name="T30" fmla="*/ 50 w 71"/>
                <a:gd name="T31" fmla="*/ 26 h 100"/>
                <a:gd name="T32" fmla="*/ 50 w 71"/>
                <a:gd name="T33" fmla="*/ 26 h 100"/>
                <a:gd name="T34" fmla="*/ 50 w 71"/>
                <a:gd name="T35" fmla="*/ 26 h 100"/>
                <a:gd name="T36" fmla="*/ 48 w 71"/>
                <a:gd name="T37" fmla="*/ 90 h 100"/>
                <a:gd name="T38" fmla="*/ 48 w 71"/>
                <a:gd name="T39" fmla="*/ 100 h 100"/>
                <a:gd name="T40" fmla="*/ 67 w 71"/>
                <a:gd name="T41" fmla="*/ 97 h 100"/>
                <a:gd name="T42" fmla="*/ 70 w 71"/>
                <a:gd name="T43" fmla="*/ 93 h 100"/>
                <a:gd name="T44" fmla="*/ 63 w 71"/>
                <a:gd name="T45" fmla="*/ 90 h 100"/>
                <a:gd name="T46" fmla="*/ 63 w 71"/>
                <a:gd name="T47" fmla="*/ 90 h 100"/>
                <a:gd name="T48" fmla="*/ 63 w 71"/>
                <a:gd name="T49" fmla="*/ 90 h 100"/>
                <a:gd name="T50" fmla="*/ 51 w 71"/>
                <a:gd name="T51" fmla="*/ 85 h 100"/>
                <a:gd name="T52" fmla="*/ 54 w 71"/>
                <a:gd name="T53" fmla="*/ 40 h 100"/>
                <a:gd name="T54" fmla="*/ 54 w 71"/>
                <a:gd name="T55" fmla="*/ 40 h 100"/>
                <a:gd name="T56" fmla="*/ 54 w 71"/>
                <a:gd name="T57" fmla="*/ 40 h 100"/>
                <a:gd name="T58" fmla="*/ 55 w 71"/>
                <a:gd name="T59" fmla="*/ 36 h 100"/>
                <a:gd name="T60" fmla="*/ 55 w 71"/>
                <a:gd name="T61" fmla="*/ 36 h 100"/>
                <a:gd name="T62" fmla="*/ 55 w 71"/>
                <a:gd name="T63" fmla="*/ 32 h 100"/>
                <a:gd name="T64" fmla="*/ 55 w 71"/>
                <a:gd name="T65" fmla="*/ 31 h 100"/>
                <a:gd name="T66" fmla="*/ 55 w 71"/>
                <a:gd name="T67" fmla="*/ 28 h 100"/>
                <a:gd name="T68" fmla="*/ 55 w 71"/>
                <a:gd name="T69" fmla="*/ 28 h 100"/>
                <a:gd name="T70" fmla="*/ 55 w 71"/>
                <a:gd name="T71" fmla="*/ 28 h 100"/>
                <a:gd name="T72" fmla="*/ 55 w 71"/>
                <a:gd name="T73" fmla="*/ 27 h 100"/>
                <a:gd name="T74" fmla="*/ 55 w 71"/>
                <a:gd name="T75" fmla="*/ 23 h 100"/>
                <a:gd name="T76" fmla="*/ 55 w 71"/>
                <a:gd name="T77" fmla="*/ 23 h 100"/>
                <a:gd name="T78" fmla="*/ 55 w 71"/>
                <a:gd name="T79" fmla="*/ 23 h 100"/>
                <a:gd name="T80" fmla="*/ 56 w 71"/>
                <a:gd name="T81" fmla="*/ 23 h 100"/>
                <a:gd name="T82" fmla="*/ 56 w 71"/>
                <a:gd name="T83" fmla="*/ 21 h 100"/>
                <a:gd name="T84" fmla="*/ 55 w 71"/>
                <a:gd name="T85" fmla="*/ 20 h 100"/>
                <a:gd name="T86" fmla="*/ 55 w 71"/>
                <a:gd name="T87" fmla="*/ 20 h 100"/>
                <a:gd name="T88" fmla="*/ 54 w 71"/>
                <a:gd name="T89" fmla="*/ 20 h 100"/>
                <a:gd name="T90" fmla="*/ 54 w 71"/>
                <a:gd name="T91" fmla="*/ 20 h 100"/>
                <a:gd name="T92" fmla="*/ 53 w 71"/>
                <a:gd name="T93" fmla="*/ 20 h 100"/>
                <a:gd name="T94" fmla="*/ 0 w 71"/>
                <a:gd name="T9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1" h="100">
                  <a:moveTo>
                    <a:pt x="53" y="91"/>
                  </a:moveTo>
                  <a:cubicBezTo>
                    <a:pt x="52" y="90"/>
                    <a:pt x="52" y="90"/>
                    <a:pt x="52" y="90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1"/>
                  </a:cubicBezTo>
                  <a:moveTo>
                    <a:pt x="0" y="0"/>
                  </a:moveTo>
                  <a:cubicBezTo>
                    <a:pt x="0" y="0"/>
                    <a:pt x="37" y="21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48" y="40"/>
                    <a:pt x="48" y="72"/>
                    <a:pt x="48" y="90"/>
                  </a:cubicBezTo>
                  <a:cubicBezTo>
                    <a:pt x="48" y="94"/>
                    <a:pt x="48" y="98"/>
                    <a:pt x="48" y="100"/>
                  </a:cubicBezTo>
                  <a:cubicBezTo>
                    <a:pt x="56" y="99"/>
                    <a:pt x="63" y="98"/>
                    <a:pt x="67" y="97"/>
                  </a:cubicBezTo>
                  <a:cubicBezTo>
                    <a:pt x="70" y="96"/>
                    <a:pt x="71" y="94"/>
                    <a:pt x="70" y="93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55" y="90"/>
                    <a:pt x="51" y="85"/>
                    <a:pt x="51" y="85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6"/>
                    <a:pt x="55" y="25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3" y="2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F55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îşļïḓê">
              <a:extLst>
                <a:ext uri="{FF2B5EF4-FFF2-40B4-BE49-F238E27FC236}">
                  <a16:creationId xmlns:a16="http://schemas.microsoft.com/office/drawing/2014/main" id="{CDCE9CD1-C2FB-4B74-9050-8D86F1F584EC}"/>
                </a:ext>
              </a:extLst>
            </p:cNvPr>
            <p:cNvSpPr/>
            <p:nvPr/>
          </p:nvSpPr>
          <p:spPr bwMode="auto">
            <a:xfrm>
              <a:off x="4186239" y="4967288"/>
              <a:ext cx="11113" cy="77788"/>
            </a:xfrm>
            <a:custGeom>
              <a:avLst/>
              <a:gdLst>
                <a:gd name="T0" fmla="*/ 1 w 3"/>
                <a:gd name="T1" fmla="*/ 20 h 20"/>
                <a:gd name="T2" fmla="*/ 1 w 3"/>
                <a:gd name="T3" fmla="*/ 20 h 20"/>
                <a:gd name="T4" fmla="*/ 1 w 3"/>
                <a:gd name="T5" fmla="*/ 20 h 20"/>
                <a:gd name="T6" fmla="*/ 1 w 3"/>
                <a:gd name="T7" fmla="*/ 20 h 20"/>
                <a:gd name="T8" fmla="*/ 2 w 3"/>
                <a:gd name="T9" fmla="*/ 11 h 20"/>
                <a:gd name="T10" fmla="*/ 2 w 3"/>
                <a:gd name="T11" fmla="*/ 12 h 20"/>
                <a:gd name="T12" fmla="*/ 2 w 3"/>
                <a:gd name="T13" fmla="*/ 16 h 20"/>
                <a:gd name="T14" fmla="*/ 2 w 3"/>
                <a:gd name="T15" fmla="*/ 16 h 20"/>
                <a:gd name="T16" fmla="*/ 2 w 3"/>
                <a:gd name="T17" fmla="*/ 11 h 20"/>
                <a:gd name="T18" fmla="*/ 2 w 3"/>
                <a:gd name="T19" fmla="*/ 3 h 20"/>
                <a:gd name="T20" fmla="*/ 2 w 3"/>
                <a:gd name="T21" fmla="*/ 3 h 20"/>
                <a:gd name="T22" fmla="*/ 2 w 3"/>
                <a:gd name="T23" fmla="*/ 3 h 20"/>
                <a:gd name="T24" fmla="*/ 2 w 3"/>
                <a:gd name="T25" fmla="*/ 7 h 20"/>
                <a:gd name="T26" fmla="*/ 2 w 3"/>
                <a:gd name="T27" fmla="*/ 8 h 20"/>
                <a:gd name="T28" fmla="*/ 2 w 3"/>
                <a:gd name="T29" fmla="*/ 8 h 20"/>
                <a:gd name="T30" fmla="*/ 2 w 3"/>
                <a:gd name="T31" fmla="*/ 8 h 20"/>
                <a:gd name="T32" fmla="*/ 3 w 3"/>
                <a:gd name="T33" fmla="*/ 3 h 20"/>
                <a:gd name="T34" fmla="*/ 2 w 3"/>
                <a:gd name="T35" fmla="*/ 3 h 20"/>
                <a:gd name="T36" fmla="*/ 0 w 3"/>
                <a:gd name="T37" fmla="*/ 0 h 20"/>
                <a:gd name="T38" fmla="*/ 1 w 3"/>
                <a:gd name="T39" fmla="*/ 0 h 20"/>
                <a:gd name="T40" fmla="*/ 1 w 3"/>
                <a:gd name="T41" fmla="*/ 0 h 20"/>
                <a:gd name="T42" fmla="*/ 2 w 3"/>
                <a:gd name="T43" fmla="*/ 0 h 20"/>
                <a:gd name="T44" fmla="*/ 2 w 3"/>
                <a:gd name="T45" fmla="*/ 0 h 20"/>
                <a:gd name="T46" fmla="*/ 0 w 3"/>
                <a:gd name="T4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" h="20">
                  <a:moveTo>
                    <a:pt x="1" y="20"/>
                  </a:move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moveTo>
                    <a:pt x="2" y="11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1"/>
                    <a:pt x="2" y="11"/>
                    <a:pt x="2" y="11"/>
                  </a:cubicBezTo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5"/>
                    <a:pt x="2" y="6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83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ïśľiḓe">
              <a:extLst>
                <a:ext uri="{FF2B5EF4-FFF2-40B4-BE49-F238E27FC236}">
                  <a16:creationId xmlns:a16="http://schemas.microsoft.com/office/drawing/2014/main" id="{5E7B2B5C-9001-4163-8587-0669E3E0F7A3}"/>
                </a:ext>
              </a:extLst>
            </p:cNvPr>
            <p:cNvSpPr/>
            <p:nvPr/>
          </p:nvSpPr>
          <p:spPr bwMode="auto">
            <a:xfrm>
              <a:off x="4181476" y="5233988"/>
              <a:ext cx="7938" cy="11113"/>
            </a:xfrm>
            <a:custGeom>
              <a:avLst/>
              <a:gdLst>
                <a:gd name="T0" fmla="*/ 3 w 5"/>
                <a:gd name="T1" fmla="*/ 0 h 7"/>
                <a:gd name="T2" fmla="*/ 3 w 5"/>
                <a:gd name="T3" fmla="*/ 0 h 7"/>
                <a:gd name="T4" fmla="*/ 0 w 5"/>
                <a:gd name="T5" fmla="*/ 5 h 7"/>
                <a:gd name="T6" fmla="*/ 3 w 5"/>
                <a:gd name="T7" fmla="*/ 7 h 7"/>
                <a:gd name="T8" fmla="*/ 3 w 5"/>
                <a:gd name="T9" fmla="*/ 7 h 7"/>
                <a:gd name="T10" fmla="*/ 3 w 5"/>
                <a:gd name="T11" fmla="*/ 5 h 7"/>
                <a:gd name="T12" fmla="*/ 5 w 5"/>
                <a:gd name="T13" fmla="*/ 0 h 7"/>
                <a:gd name="T14" fmla="*/ 3 w 5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7">
                  <a:moveTo>
                    <a:pt x="3" y="0"/>
                  </a:moveTo>
                  <a:lnTo>
                    <a:pt x="3" y="0"/>
                  </a:lnTo>
                  <a:lnTo>
                    <a:pt x="0" y="5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5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83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i$liḍe">
              <a:extLst>
                <a:ext uri="{FF2B5EF4-FFF2-40B4-BE49-F238E27FC236}">
                  <a16:creationId xmlns:a16="http://schemas.microsoft.com/office/drawing/2014/main" id="{4F65F642-CD90-4A00-920C-7DE6E7849878}"/>
                </a:ext>
              </a:extLst>
            </p:cNvPr>
            <p:cNvSpPr/>
            <p:nvPr/>
          </p:nvSpPr>
          <p:spPr bwMode="auto">
            <a:xfrm>
              <a:off x="4181476" y="5233988"/>
              <a:ext cx="7938" cy="11113"/>
            </a:xfrm>
            <a:custGeom>
              <a:avLst/>
              <a:gdLst>
                <a:gd name="T0" fmla="*/ 3 w 5"/>
                <a:gd name="T1" fmla="*/ 0 h 7"/>
                <a:gd name="T2" fmla="*/ 3 w 5"/>
                <a:gd name="T3" fmla="*/ 0 h 7"/>
                <a:gd name="T4" fmla="*/ 0 w 5"/>
                <a:gd name="T5" fmla="*/ 5 h 7"/>
                <a:gd name="T6" fmla="*/ 3 w 5"/>
                <a:gd name="T7" fmla="*/ 7 h 7"/>
                <a:gd name="T8" fmla="*/ 3 w 5"/>
                <a:gd name="T9" fmla="*/ 7 h 7"/>
                <a:gd name="T10" fmla="*/ 3 w 5"/>
                <a:gd name="T11" fmla="*/ 5 h 7"/>
                <a:gd name="T12" fmla="*/ 5 w 5"/>
                <a:gd name="T13" fmla="*/ 0 h 7"/>
                <a:gd name="T14" fmla="*/ 3 w 5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7">
                  <a:moveTo>
                    <a:pt x="3" y="0"/>
                  </a:moveTo>
                  <a:lnTo>
                    <a:pt x="3" y="0"/>
                  </a:lnTo>
                  <a:lnTo>
                    <a:pt x="0" y="5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5"/>
                  </a:lnTo>
                  <a:lnTo>
                    <a:pt x="5" y="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íṥļiḍé">
              <a:extLst>
                <a:ext uri="{FF2B5EF4-FFF2-40B4-BE49-F238E27FC236}">
                  <a16:creationId xmlns:a16="http://schemas.microsoft.com/office/drawing/2014/main" id="{0FFFC62B-3AAB-4CBE-8129-2B3D6B4CA19A}"/>
                </a:ext>
              </a:extLst>
            </p:cNvPr>
            <p:cNvSpPr/>
            <p:nvPr/>
          </p:nvSpPr>
          <p:spPr bwMode="auto">
            <a:xfrm>
              <a:off x="3922714" y="4887913"/>
              <a:ext cx="55563" cy="471488"/>
            </a:xfrm>
            <a:custGeom>
              <a:avLst/>
              <a:gdLst>
                <a:gd name="T0" fmla="*/ 6 w 14"/>
                <a:gd name="T1" fmla="*/ 60 h 120"/>
                <a:gd name="T2" fmla="*/ 5 w 14"/>
                <a:gd name="T3" fmla="*/ 59 h 120"/>
                <a:gd name="T4" fmla="*/ 5 w 14"/>
                <a:gd name="T5" fmla="*/ 55 h 120"/>
                <a:gd name="T6" fmla="*/ 5 w 14"/>
                <a:gd name="T7" fmla="*/ 55 h 120"/>
                <a:gd name="T8" fmla="*/ 6 w 14"/>
                <a:gd name="T9" fmla="*/ 55 h 120"/>
                <a:gd name="T10" fmla="*/ 6 w 14"/>
                <a:gd name="T11" fmla="*/ 59 h 120"/>
                <a:gd name="T12" fmla="*/ 6 w 14"/>
                <a:gd name="T13" fmla="*/ 60 h 120"/>
                <a:gd name="T14" fmla="*/ 6 w 14"/>
                <a:gd name="T15" fmla="*/ 60 h 120"/>
                <a:gd name="T16" fmla="*/ 5 w 14"/>
                <a:gd name="T17" fmla="*/ 52 h 120"/>
                <a:gd name="T18" fmla="*/ 5 w 14"/>
                <a:gd name="T19" fmla="*/ 51 h 120"/>
                <a:gd name="T20" fmla="*/ 4 w 14"/>
                <a:gd name="T21" fmla="*/ 47 h 120"/>
                <a:gd name="T22" fmla="*/ 5 w 14"/>
                <a:gd name="T23" fmla="*/ 47 h 120"/>
                <a:gd name="T24" fmla="*/ 5 w 14"/>
                <a:gd name="T25" fmla="*/ 47 h 120"/>
                <a:gd name="T26" fmla="*/ 6 w 14"/>
                <a:gd name="T27" fmla="*/ 51 h 120"/>
                <a:gd name="T28" fmla="*/ 5 w 14"/>
                <a:gd name="T29" fmla="*/ 52 h 120"/>
                <a:gd name="T30" fmla="*/ 5 w 14"/>
                <a:gd name="T31" fmla="*/ 52 h 120"/>
                <a:gd name="T32" fmla="*/ 14 w 14"/>
                <a:gd name="T33" fmla="*/ 0 h 120"/>
                <a:gd name="T34" fmla="*/ 5 w 14"/>
                <a:gd name="T35" fmla="*/ 39 h 120"/>
                <a:gd name="T36" fmla="*/ 5 w 14"/>
                <a:gd name="T37" fmla="*/ 39 h 120"/>
                <a:gd name="T38" fmla="*/ 5 w 14"/>
                <a:gd name="T39" fmla="*/ 43 h 120"/>
                <a:gd name="T40" fmla="*/ 5 w 14"/>
                <a:gd name="T41" fmla="*/ 44 h 120"/>
                <a:gd name="T42" fmla="*/ 5 w 14"/>
                <a:gd name="T43" fmla="*/ 44 h 120"/>
                <a:gd name="T44" fmla="*/ 4 w 14"/>
                <a:gd name="T45" fmla="*/ 43 h 120"/>
                <a:gd name="T46" fmla="*/ 4 w 14"/>
                <a:gd name="T47" fmla="*/ 43 h 120"/>
                <a:gd name="T48" fmla="*/ 0 w 14"/>
                <a:gd name="T49" fmla="*/ 59 h 120"/>
                <a:gd name="T50" fmla="*/ 14 w 14"/>
                <a:gd name="T51" fmla="*/ 120 h 120"/>
                <a:gd name="T52" fmla="*/ 7 w 14"/>
                <a:gd name="T53" fmla="*/ 66 h 120"/>
                <a:gd name="T54" fmla="*/ 7 w 14"/>
                <a:gd name="T55" fmla="*/ 66 h 120"/>
                <a:gd name="T56" fmla="*/ 6 w 14"/>
                <a:gd name="T57" fmla="*/ 65 h 120"/>
                <a:gd name="T58" fmla="*/ 6 w 14"/>
                <a:gd name="T59" fmla="*/ 63 h 120"/>
                <a:gd name="T60" fmla="*/ 6 w 14"/>
                <a:gd name="T61" fmla="*/ 63 h 120"/>
                <a:gd name="T62" fmla="*/ 7 w 14"/>
                <a:gd name="T63" fmla="*/ 63 h 120"/>
                <a:gd name="T64" fmla="*/ 14 w 14"/>
                <a:gd name="T6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" h="120">
                  <a:moveTo>
                    <a:pt x="6" y="60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5" y="58"/>
                    <a:pt x="5" y="57"/>
                    <a:pt x="5" y="5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57"/>
                    <a:pt x="6" y="58"/>
                    <a:pt x="6" y="5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moveTo>
                    <a:pt x="5" y="52"/>
                  </a:moveTo>
                  <a:cubicBezTo>
                    <a:pt x="5" y="51"/>
                    <a:pt x="5" y="51"/>
                    <a:pt x="5" y="51"/>
                  </a:cubicBezTo>
                  <a:cubicBezTo>
                    <a:pt x="5" y="50"/>
                    <a:pt x="4" y="49"/>
                    <a:pt x="4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9"/>
                    <a:pt x="6" y="50"/>
                    <a:pt x="6" y="51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moveTo>
                    <a:pt x="14" y="0"/>
                  </a:move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40"/>
                    <a:pt x="5" y="42"/>
                    <a:pt x="5" y="43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4" y="120"/>
                    <a:pt x="14" y="120"/>
                    <a:pt x="14" y="120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5"/>
                    <a:pt x="6" y="65"/>
                    <a:pt x="6" y="63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0F55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íŝ1iḓè">
              <a:extLst>
                <a:ext uri="{FF2B5EF4-FFF2-40B4-BE49-F238E27FC236}">
                  <a16:creationId xmlns:a16="http://schemas.microsoft.com/office/drawing/2014/main" id="{A67F66F9-117E-45EC-BB04-8F99E02D6334}"/>
                </a:ext>
              </a:extLst>
            </p:cNvPr>
            <p:cNvSpPr/>
            <p:nvPr/>
          </p:nvSpPr>
          <p:spPr bwMode="auto">
            <a:xfrm>
              <a:off x="3946526" y="5135563"/>
              <a:ext cx="3175" cy="11113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2 h 3"/>
                <a:gd name="T6" fmla="*/ 1 w 1"/>
                <a:gd name="T7" fmla="*/ 3 h 3"/>
                <a:gd name="T8" fmla="*/ 1 w 1"/>
                <a:gd name="T9" fmla="*/ 3 h 3"/>
                <a:gd name="T10" fmla="*/ 1 w 1"/>
                <a:gd name="T11" fmla="*/ 2 h 3"/>
                <a:gd name="T12" fmla="*/ 1 w 1"/>
                <a:gd name="T13" fmla="*/ 0 h 3"/>
                <a:gd name="T14" fmla="*/ 0 w 1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83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íšḷiḋê">
              <a:extLst>
                <a:ext uri="{FF2B5EF4-FFF2-40B4-BE49-F238E27FC236}">
                  <a16:creationId xmlns:a16="http://schemas.microsoft.com/office/drawing/2014/main" id="{6C5B63F7-5ACA-4EBC-9BE5-5BEB754477F7}"/>
                </a:ext>
              </a:extLst>
            </p:cNvPr>
            <p:cNvSpPr/>
            <p:nvPr/>
          </p:nvSpPr>
          <p:spPr bwMode="auto">
            <a:xfrm>
              <a:off x="3938589" y="5041901"/>
              <a:ext cx="7938" cy="82550"/>
            </a:xfrm>
            <a:custGeom>
              <a:avLst/>
              <a:gdLst>
                <a:gd name="T0" fmla="*/ 1 w 2"/>
                <a:gd name="T1" fmla="*/ 16 h 21"/>
                <a:gd name="T2" fmla="*/ 1 w 2"/>
                <a:gd name="T3" fmla="*/ 16 h 21"/>
                <a:gd name="T4" fmla="*/ 1 w 2"/>
                <a:gd name="T5" fmla="*/ 20 h 21"/>
                <a:gd name="T6" fmla="*/ 2 w 2"/>
                <a:gd name="T7" fmla="*/ 21 h 21"/>
                <a:gd name="T8" fmla="*/ 2 w 2"/>
                <a:gd name="T9" fmla="*/ 21 h 21"/>
                <a:gd name="T10" fmla="*/ 2 w 2"/>
                <a:gd name="T11" fmla="*/ 20 h 21"/>
                <a:gd name="T12" fmla="*/ 2 w 2"/>
                <a:gd name="T13" fmla="*/ 16 h 21"/>
                <a:gd name="T14" fmla="*/ 1 w 2"/>
                <a:gd name="T15" fmla="*/ 16 h 21"/>
                <a:gd name="T16" fmla="*/ 1 w 2"/>
                <a:gd name="T17" fmla="*/ 8 h 21"/>
                <a:gd name="T18" fmla="*/ 0 w 2"/>
                <a:gd name="T19" fmla="*/ 8 h 21"/>
                <a:gd name="T20" fmla="*/ 1 w 2"/>
                <a:gd name="T21" fmla="*/ 12 h 21"/>
                <a:gd name="T22" fmla="*/ 1 w 2"/>
                <a:gd name="T23" fmla="*/ 13 h 21"/>
                <a:gd name="T24" fmla="*/ 1 w 2"/>
                <a:gd name="T25" fmla="*/ 13 h 21"/>
                <a:gd name="T26" fmla="*/ 2 w 2"/>
                <a:gd name="T27" fmla="*/ 12 h 21"/>
                <a:gd name="T28" fmla="*/ 1 w 2"/>
                <a:gd name="T29" fmla="*/ 8 h 21"/>
                <a:gd name="T30" fmla="*/ 1 w 2"/>
                <a:gd name="T31" fmla="*/ 8 h 21"/>
                <a:gd name="T32" fmla="*/ 1 w 2"/>
                <a:gd name="T33" fmla="*/ 0 h 21"/>
                <a:gd name="T34" fmla="*/ 0 w 2"/>
                <a:gd name="T35" fmla="*/ 4 h 21"/>
                <a:gd name="T36" fmla="*/ 0 w 2"/>
                <a:gd name="T37" fmla="*/ 4 h 21"/>
                <a:gd name="T38" fmla="*/ 1 w 2"/>
                <a:gd name="T39" fmla="*/ 5 h 21"/>
                <a:gd name="T40" fmla="*/ 1 w 2"/>
                <a:gd name="T41" fmla="*/ 5 h 21"/>
                <a:gd name="T42" fmla="*/ 1 w 2"/>
                <a:gd name="T43" fmla="*/ 4 h 21"/>
                <a:gd name="T44" fmla="*/ 1 w 2"/>
                <a:gd name="T45" fmla="*/ 0 h 21"/>
                <a:gd name="T46" fmla="*/ 1 w 2"/>
                <a:gd name="T4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" h="21">
                  <a:moveTo>
                    <a:pt x="1" y="16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1" y="18"/>
                    <a:pt x="1" y="19"/>
                    <a:pt x="1" y="20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9"/>
                    <a:pt x="2" y="18"/>
                    <a:pt x="2" y="16"/>
                  </a:cubicBezTo>
                  <a:cubicBezTo>
                    <a:pt x="1" y="16"/>
                    <a:pt x="1" y="16"/>
                    <a:pt x="1" y="16"/>
                  </a:cubicBezTo>
                  <a:moveTo>
                    <a:pt x="1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1" y="11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moveTo>
                    <a:pt x="1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083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îşlíḋê">
              <a:extLst>
                <a:ext uri="{FF2B5EF4-FFF2-40B4-BE49-F238E27FC236}">
                  <a16:creationId xmlns:a16="http://schemas.microsoft.com/office/drawing/2014/main" id="{32C56656-E2ED-4517-AF54-C4D084DC1FA0}"/>
                </a:ext>
              </a:extLst>
            </p:cNvPr>
            <p:cNvSpPr/>
            <p:nvPr/>
          </p:nvSpPr>
          <p:spPr bwMode="auto">
            <a:xfrm>
              <a:off x="3789364" y="4797426"/>
              <a:ext cx="98425" cy="322263"/>
            </a:xfrm>
            <a:custGeom>
              <a:avLst/>
              <a:gdLst>
                <a:gd name="T0" fmla="*/ 25 w 25"/>
                <a:gd name="T1" fmla="*/ 0 h 82"/>
                <a:gd name="T2" fmla="*/ 6 w 25"/>
                <a:gd name="T3" fmla="*/ 3 h 82"/>
                <a:gd name="T4" fmla="*/ 0 w 25"/>
                <a:gd name="T5" fmla="*/ 2 h 82"/>
                <a:gd name="T6" fmla="*/ 0 w 25"/>
                <a:gd name="T7" fmla="*/ 2 h 82"/>
                <a:gd name="T8" fmla="*/ 0 w 25"/>
                <a:gd name="T9" fmla="*/ 2 h 82"/>
                <a:gd name="T10" fmla="*/ 0 w 25"/>
                <a:gd name="T11" fmla="*/ 2 h 82"/>
                <a:gd name="T12" fmla="*/ 8 w 25"/>
                <a:gd name="T13" fmla="*/ 82 h 82"/>
                <a:gd name="T14" fmla="*/ 25 w 25"/>
                <a:gd name="T15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82">
                  <a:moveTo>
                    <a:pt x="25" y="0"/>
                  </a:moveTo>
                  <a:cubicBezTo>
                    <a:pt x="19" y="2"/>
                    <a:pt x="12" y="3"/>
                    <a:pt x="6" y="3"/>
                  </a:cubicBezTo>
                  <a:cubicBezTo>
                    <a:pt x="4" y="3"/>
                    <a:pt x="2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8"/>
                    <a:pt x="3" y="62"/>
                    <a:pt x="8" y="82"/>
                  </a:cubicBezTo>
                  <a:cubicBezTo>
                    <a:pt x="4" y="52"/>
                    <a:pt x="19" y="13"/>
                    <a:pt x="25" y="0"/>
                  </a:cubicBezTo>
                </a:path>
              </a:pathLst>
            </a:custGeom>
            <a:solidFill>
              <a:srgbClr val="0F55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íŝḷíḓè">
              <a:extLst>
                <a:ext uri="{FF2B5EF4-FFF2-40B4-BE49-F238E27FC236}">
                  <a16:creationId xmlns:a16="http://schemas.microsoft.com/office/drawing/2014/main" id="{A9229794-2DE1-489D-9113-C6174C40916F}"/>
                </a:ext>
              </a:extLst>
            </p:cNvPr>
            <p:cNvSpPr/>
            <p:nvPr/>
          </p:nvSpPr>
          <p:spPr bwMode="auto">
            <a:xfrm>
              <a:off x="3919539" y="4168776"/>
              <a:ext cx="85725" cy="247650"/>
            </a:xfrm>
            <a:custGeom>
              <a:avLst/>
              <a:gdLst>
                <a:gd name="T0" fmla="*/ 0 w 22"/>
                <a:gd name="T1" fmla="*/ 4 h 63"/>
                <a:gd name="T2" fmla="*/ 4 w 22"/>
                <a:gd name="T3" fmla="*/ 61 h 63"/>
                <a:gd name="T4" fmla="*/ 19 w 22"/>
                <a:gd name="T5" fmla="*/ 56 h 63"/>
                <a:gd name="T6" fmla="*/ 9 w 22"/>
                <a:gd name="T7" fmla="*/ 0 h 63"/>
                <a:gd name="T8" fmla="*/ 0 w 22"/>
                <a:gd name="T9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63">
                  <a:moveTo>
                    <a:pt x="0" y="4"/>
                  </a:moveTo>
                  <a:cubicBezTo>
                    <a:pt x="1" y="6"/>
                    <a:pt x="4" y="61"/>
                    <a:pt x="4" y="61"/>
                  </a:cubicBezTo>
                  <a:cubicBezTo>
                    <a:pt x="4" y="61"/>
                    <a:pt x="17" y="63"/>
                    <a:pt x="19" y="56"/>
                  </a:cubicBezTo>
                  <a:cubicBezTo>
                    <a:pt x="22" y="48"/>
                    <a:pt x="9" y="0"/>
                    <a:pt x="9" y="0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íSḻiḑè">
              <a:extLst>
                <a:ext uri="{FF2B5EF4-FFF2-40B4-BE49-F238E27FC236}">
                  <a16:creationId xmlns:a16="http://schemas.microsoft.com/office/drawing/2014/main" id="{1F9B8D2B-36EE-4FF7-AAB8-153372C89796}"/>
                </a:ext>
              </a:extLst>
            </p:cNvPr>
            <p:cNvSpPr/>
            <p:nvPr/>
          </p:nvSpPr>
          <p:spPr bwMode="auto">
            <a:xfrm>
              <a:off x="3922714" y="4243388"/>
              <a:ext cx="4763" cy="31750"/>
            </a:xfrm>
            <a:custGeom>
              <a:avLst/>
              <a:gdLst>
                <a:gd name="T0" fmla="*/ 0 w 1"/>
                <a:gd name="T1" fmla="*/ 0 h 8"/>
                <a:gd name="T2" fmla="*/ 1 w 1"/>
                <a:gd name="T3" fmla="*/ 8 h 8"/>
                <a:gd name="T4" fmla="*/ 1 w 1"/>
                <a:gd name="T5" fmla="*/ 8 h 8"/>
                <a:gd name="T6" fmla="*/ 0 w 1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8">
                  <a:moveTo>
                    <a:pt x="0" y="0"/>
                  </a:moveTo>
                  <a:cubicBezTo>
                    <a:pt x="0" y="2"/>
                    <a:pt x="1" y="5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5"/>
                    <a:pt x="0" y="2"/>
                    <a:pt x="0" y="0"/>
                  </a:cubicBezTo>
                </a:path>
              </a:pathLst>
            </a:custGeom>
            <a:solidFill>
              <a:srgbClr val="FFD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ïṡľiḑe">
              <a:extLst>
                <a:ext uri="{FF2B5EF4-FFF2-40B4-BE49-F238E27FC236}">
                  <a16:creationId xmlns:a16="http://schemas.microsoft.com/office/drawing/2014/main" id="{A75EB17F-2165-4B27-B589-430887F173B6}"/>
                </a:ext>
              </a:extLst>
            </p:cNvPr>
            <p:cNvSpPr/>
            <p:nvPr/>
          </p:nvSpPr>
          <p:spPr bwMode="auto">
            <a:xfrm>
              <a:off x="3922714" y="4181476"/>
              <a:ext cx="39688" cy="93663"/>
            </a:xfrm>
            <a:custGeom>
              <a:avLst/>
              <a:gdLst>
                <a:gd name="T0" fmla="*/ 9 w 10"/>
                <a:gd name="T1" fmla="*/ 0 h 24"/>
                <a:gd name="T2" fmla="*/ 0 w 10"/>
                <a:gd name="T3" fmla="*/ 5 h 24"/>
                <a:gd name="T4" fmla="*/ 0 w 10"/>
                <a:gd name="T5" fmla="*/ 16 h 24"/>
                <a:gd name="T6" fmla="*/ 1 w 10"/>
                <a:gd name="T7" fmla="*/ 24 h 24"/>
                <a:gd name="T8" fmla="*/ 3 w 10"/>
                <a:gd name="T9" fmla="*/ 14 h 24"/>
                <a:gd name="T10" fmla="*/ 10 w 10"/>
                <a:gd name="T11" fmla="*/ 5 h 24"/>
                <a:gd name="T12" fmla="*/ 9 w 10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4">
                  <a:moveTo>
                    <a:pt x="9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8"/>
                    <a:pt x="0" y="12"/>
                    <a:pt x="0" y="16"/>
                  </a:cubicBezTo>
                  <a:cubicBezTo>
                    <a:pt x="0" y="18"/>
                    <a:pt x="1" y="21"/>
                    <a:pt x="1" y="2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9" y="1"/>
                    <a:pt x="9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ïṧļïḓê">
              <a:extLst>
                <a:ext uri="{FF2B5EF4-FFF2-40B4-BE49-F238E27FC236}">
                  <a16:creationId xmlns:a16="http://schemas.microsoft.com/office/drawing/2014/main" id="{B99ED464-6D1F-4D44-8E51-2614A7DC2D10}"/>
                </a:ext>
              </a:extLst>
            </p:cNvPr>
            <p:cNvSpPr/>
            <p:nvPr/>
          </p:nvSpPr>
          <p:spPr bwMode="auto">
            <a:xfrm>
              <a:off x="3844926" y="4000501"/>
              <a:ext cx="282575" cy="242888"/>
            </a:xfrm>
            <a:custGeom>
              <a:avLst/>
              <a:gdLst>
                <a:gd name="T0" fmla="*/ 0 w 72"/>
                <a:gd name="T1" fmla="*/ 55 h 62"/>
                <a:gd name="T2" fmla="*/ 59 w 72"/>
                <a:gd name="T3" fmla="*/ 0 h 62"/>
                <a:gd name="T4" fmla="*/ 72 w 72"/>
                <a:gd name="T5" fmla="*/ 22 h 62"/>
                <a:gd name="T6" fmla="*/ 4 w 72"/>
                <a:gd name="T7" fmla="*/ 60 h 62"/>
                <a:gd name="T8" fmla="*/ 0 w 72"/>
                <a:gd name="T9" fmla="*/ 5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62">
                  <a:moveTo>
                    <a:pt x="0" y="55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72" y="12"/>
                    <a:pt x="72" y="22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1" y="62"/>
                    <a:pt x="0" y="55"/>
                  </a:cubicBezTo>
                </a:path>
              </a:pathLst>
            </a:custGeom>
            <a:solidFill>
              <a:srgbClr val="6039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íSḻîḑé">
              <a:extLst>
                <a:ext uri="{FF2B5EF4-FFF2-40B4-BE49-F238E27FC236}">
                  <a16:creationId xmlns:a16="http://schemas.microsoft.com/office/drawing/2014/main" id="{239EC923-BD54-46FF-AB1B-88369FD67C8A}"/>
                </a:ext>
              </a:extLst>
            </p:cNvPr>
            <p:cNvSpPr/>
            <p:nvPr/>
          </p:nvSpPr>
          <p:spPr bwMode="auto">
            <a:xfrm>
              <a:off x="3848101" y="4000501"/>
              <a:ext cx="279400" cy="234950"/>
            </a:xfrm>
            <a:custGeom>
              <a:avLst/>
              <a:gdLst>
                <a:gd name="T0" fmla="*/ 58 w 71"/>
                <a:gd name="T1" fmla="*/ 0 h 60"/>
                <a:gd name="T2" fmla="*/ 58 w 71"/>
                <a:gd name="T3" fmla="*/ 22 h 60"/>
                <a:gd name="T4" fmla="*/ 57 w 71"/>
                <a:gd name="T5" fmla="*/ 22 h 60"/>
                <a:gd name="T6" fmla="*/ 53 w 71"/>
                <a:gd name="T7" fmla="*/ 21 h 60"/>
                <a:gd name="T8" fmla="*/ 49 w 71"/>
                <a:gd name="T9" fmla="*/ 19 h 60"/>
                <a:gd name="T10" fmla="*/ 47 w 71"/>
                <a:gd name="T11" fmla="*/ 20 h 60"/>
                <a:gd name="T12" fmla="*/ 40 w 71"/>
                <a:gd name="T13" fmla="*/ 30 h 60"/>
                <a:gd name="T14" fmla="*/ 0 w 71"/>
                <a:gd name="T15" fmla="*/ 59 h 60"/>
                <a:gd name="T16" fmla="*/ 2 w 71"/>
                <a:gd name="T17" fmla="*/ 60 h 60"/>
                <a:gd name="T18" fmla="*/ 3 w 71"/>
                <a:gd name="T19" fmla="*/ 60 h 60"/>
                <a:gd name="T20" fmla="*/ 71 w 71"/>
                <a:gd name="T21" fmla="*/ 22 h 60"/>
                <a:gd name="T22" fmla="*/ 58 w 71"/>
                <a:gd name="T2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" h="60">
                  <a:moveTo>
                    <a:pt x="58" y="0"/>
                  </a:moveTo>
                  <a:cubicBezTo>
                    <a:pt x="58" y="0"/>
                    <a:pt x="64" y="19"/>
                    <a:pt x="58" y="22"/>
                  </a:cubicBezTo>
                  <a:cubicBezTo>
                    <a:pt x="58" y="22"/>
                    <a:pt x="58" y="22"/>
                    <a:pt x="57" y="22"/>
                  </a:cubicBezTo>
                  <a:cubicBezTo>
                    <a:pt x="56" y="22"/>
                    <a:pt x="54" y="21"/>
                    <a:pt x="53" y="21"/>
                  </a:cubicBezTo>
                  <a:cubicBezTo>
                    <a:pt x="52" y="20"/>
                    <a:pt x="50" y="19"/>
                    <a:pt x="49" y="19"/>
                  </a:cubicBezTo>
                  <a:cubicBezTo>
                    <a:pt x="49" y="19"/>
                    <a:pt x="48" y="19"/>
                    <a:pt x="47" y="20"/>
                  </a:cubicBezTo>
                  <a:cubicBezTo>
                    <a:pt x="44" y="22"/>
                    <a:pt x="38" y="27"/>
                    <a:pt x="40" y="30"/>
                  </a:cubicBezTo>
                  <a:cubicBezTo>
                    <a:pt x="41" y="33"/>
                    <a:pt x="9" y="53"/>
                    <a:pt x="0" y="59"/>
                  </a:cubicBezTo>
                  <a:cubicBezTo>
                    <a:pt x="1" y="60"/>
                    <a:pt x="2" y="60"/>
                    <a:pt x="2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12"/>
                    <a:pt x="58" y="0"/>
                    <a:pt x="58" y="0"/>
                  </a:cubicBezTo>
                </a:path>
              </a:pathLst>
            </a:custGeom>
            <a:solidFill>
              <a:srgbClr val="4223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ïSľîḓê">
              <a:extLst>
                <a:ext uri="{FF2B5EF4-FFF2-40B4-BE49-F238E27FC236}">
                  <a16:creationId xmlns:a16="http://schemas.microsoft.com/office/drawing/2014/main" id="{6C1787EE-FFE3-4117-B2D6-E2E1FF4B3595}"/>
                </a:ext>
              </a:extLst>
            </p:cNvPr>
            <p:cNvSpPr/>
            <p:nvPr/>
          </p:nvSpPr>
          <p:spPr bwMode="auto">
            <a:xfrm>
              <a:off x="3746501" y="4362451"/>
              <a:ext cx="93663" cy="117475"/>
            </a:xfrm>
            <a:custGeom>
              <a:avLst/>
              <a:gdLst>
                <a:gd name="T0" fmla="*/ 12 w 24"/>
                <a:gd name="T1" fmla="*/ 1 h 30"/>
                <a:gd name="T2" fmla="*/ 23 w 24"/>
                <a:gd name="T3" fmla="*/ 16 h 30"/>
                <a:gd name="T4" fmla="*/ 16 w 24"/>
                <a:gd name="T5" fmla="*/ 27 h 30"/>
                <a:gd name="T6" fmla="*/ 4 w 24"/>
                <a:gd name="T7" fmla="*/ 25 h 30"/>
                <a:gd name="T8" fmla="*/ 0 w 24"/>
                <a:gd name="T9" fmla="*/ 5 h 30"/>
                <a:gd name="T10" fmla="*/ 12 w 24"/>
                <a:gd name="T11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30">
                  <a:moveTo>
                    <a:pt x="12" y="1"/>
                  </a:moveTo>
                  <a:cubicBezTo>
                    <a:pt x="23" y="16"/>
                    <a:pt x="23" y="16"/>
                    <a:pt x="23" y="16"/>
                  </a:cubicBezTo>
                  <a:cubicBezTo>
                    <a:pt x="23" y="16"/>
                    <a:pt x="24" y="24"/>
                    <a:pt x="16" y="27"/>
                  </a:cubicBezTo>
                  <a:cubicBezTo>
                    <a:pt x="7" y="30"/>
                    <a:pt x="4" y="25"/>
                    <a:pt x="4" y="2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7" y="0"/>
                    <a:pt x="12" y="1"/>
                  </a:cubicBezTo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îşḻîḓé">
              <a:extLst>
                <a:ext uri="{FF2B5EF4-FFF2-40B4-BE49-F238E27FC236}">
                  <a16:creationId xmlns:a16="http://schemas.microsoft.com/office/drawing/2014/main" id="{AA7B8DA7-7E13-408D-8AD5-B85BA5F46EFE}"/>
                </a:ext>
              </a:extLst>
            </p:cNvPr>
            <p:cNvSpPr/>
            <p:nvPr/>
          </p:nvSpPr>
          <p:spPr bwMode="auto">
            <a:xfrm>
              <a:off x="3989389" y="4083051"/>
              <a:ext cx="146050" cy="376238"/>
            </a:xfrm>
            <a:custGeom>
              <a:avLst/>
              <a:gdLst>
                <a:gd name="T0" fmla="*/ 8 w 37"/>
                <a:gd name="T1" fmla="*/ 69 h 96"/>
                <a:gd name="T2" fmla="*/ 16 w 37"/>
                <a:gd name="T3" fmla="*/ 64 h 96"/>
                <a:gd name="T4" fmla="*/ 12 w 37"/>
                <a:gd name="T5" fmla="*/ 26 h 96"/>
                <a:gd name="T6" fmla="*/ 1 w 37"/>
                <a:gd name="T7" fmla="*/ 20 h 96"/>
                <a:gd name="T8" fmla="*/ 6 w 37"/>
                <a:gd name="T9" fmla="*/ 16 h 96"/>
                <a:gd name="T10" fmla="*/ 3 w 37"/>
                <a:gd name="T11" fmla="*/ 5 h 96"/>
                <a:gd name="T12" fmla="*/ 12 w 37"/>
                <a:gd name="T13" fmla="*/ 0 h 96"/>
                <a:gd name="T14" fmla="*/ 20 w 37"/>
                <a:gd name="T15" fmla="*/ 20 h 96"/>
                <a:gd name="T16" fmla="*/ 35 w 37"/>
                <a:gd name="T17" fmla="*/ 76 h 96"/>
                <a:gd name="T18" fmla="*/ 20 w 37"/>
                <a:gd name="T19" fmla="*/ 92 h 96"/>
                <a:gd name="T20" fmla="*/ 6 w 37"/>
                <a:gd name="T21" fmla="*/ 87 h 96"/>
                <a:gd name="T22" fmla="*/ 8 w 37"/>
                <a:gd name="T23" fmla="*/ 6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6">
                  <a:moveTo>
                    <a:pt x="8" y="69"/>
                  </a:moveTo>
                  <a:cubicBezTo>
                    <a:pt x="16" y="64"/>
                    <a:pt x="16" y="64"/>
                    <a:pt x="16" y="64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3" y="9"/>
                    <a:pt x="3" y="5"/>
                  </a:cubicBezTo>
                  <a:cubicBezTo>
                    <a:pt x="3" y="1"/>
                    <a:pt x="5" y="0"/>
                    <a:pt x="12" y="0"/>
                  </a:cubicBezTo>
                  <a:cubicBezTo>
                    <a:pt x="16" y="1"/>
                    <a:pt x="22" y="12"/>
                    <a:pt x="20" y="20"/>
                  </a:cubicBezTo>
                  <a:cubicBezTo>
                    <a:pt x="19" y="27"/>
                    <a:pt x="32" y="69"/>
                    <a:pt x="35" y="76"/>
                  </a:cubicBezTo>
                  <a:cubicBezTo>
                    <a:pt x="37" y="82"/>
                    <a:pt x="20" y="92"/>
                    <a:pt x="20" y="92"/>
                  </a:cubicBezTo>
                  <a:cubicBezTo>
                    <a:pt x="20" y="92"/>
                    <a:pt x="11" y="96"/>
                    <a:pt x="6" y="87"/>
                  </a:cubicBezTo>
                  <a:cubicBezTo>
                    <a:pt x="0" y="79"/>
                    <a:pt x="8" y="69"/>
                    <a:pt x="8" y="69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îslíḋê">
              <a:extLst>
                <a:ext uri="{FF2B5EF4-FFF2-40B4-BE49-F238E27FC236}">
                  <a16:creationId xmlns:a16="http://schemas.microsoft.com/office/drawing/2014/main" id="{6781DC8B-4B61-47ED-B86F-C56114C7B5A2}"/>
                </a:ext>
              </a:extLst>
            </p:cNvPr>
            <p:cNvSpPr/>
            <p:nvPr/>
          </p:nvSpPr>
          <p:spPr bwMode="auto">
            <a:xfrm>
              <a:off x="3722689" y="4354513"/>
              <a:ext cx="346075" cy="466725"/>
            </a:xfrm>
            <a:custGeom>
              <a:avLst/>
              <a:gdLst>
                <a:gd name="T0" fmla="*/ 21 w 88"/>
                <a:gd name="T1" fmla="*/ 17 h 119"/>
                <a:gd name="T2" fmla="*/ 45 w 88"/>
                <a:gd name="T3" fmla="*/ 9 h 119"/>
                <a:gd name="T4" fmla="*/ 76 w 88"/>
                <a:gd name="T5" fmla="*/ 0 h 119"/>
                <a:gd name="T6" fmla="*/ 88 w 88"/>
                <a:gd name="T7" fmla="*/ 23 h 119"/>
                <a:gd name="T8" fmla="*/ 59 w 88"/>
                <a:gd name="T9" fmla="*/ 43 h 119"/>
                <a:gd name="T10" fmla="*/ 81 w 88"/>
                <a:gd name="T11" fmla="*/ 91 h 119"/>
                <a:gd name="T12" fmla="*/ 17 w 88"/>
                <a:gd name="T13" fmla="*/ 115 h 119"/>
                <a:gd name="T14" fmla="*/ 2 w 88"/>
                <a:gd name="T15" fmla="*/ 55 h 119"/>
                <a:gd name="T16" fmla="*/ 21 w 88"/>
                <a:gd name="T17" fmla="*/ 1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119">
                  <a:moveTo>
                    <a:pt x="21" y="17"/>
                  </a:moveTo>
                  <a:cubicBezTo>
                    <a:pt x="27" y="14"/>
                    <a:pt x="35" y="11"/>
                    <a:pt x="45" y="9"/>
                  </a:cubicBezTo>
                  <a:cubicBezTo>
                    <a:pt x="61" y="5"/>
                    <a:pt x="76" y="0"/>
                    <a:pt x="76" y="0"/>
                  </a:cubicBezTo>
                  <a:cubicBezTo>
                    <a:pt x="76" y="0"/>
                    <a:pt x="86" y="9"/>
                    <a:pt x="88" y="23"/>
                  </a:cubicBezTo>
                  <a:cubicBezTo>
                    <a:pt x="88" y="23"/>
                    <a:pt x="75" y="38"/>
                    <a:pt x="59" y="43"/>
                  </a:cubicBezTo>
                  <a:cubicBezTo>
                    <a:pt x="59" y="51"/>
                    <a:pt x="72" y="84"/>
                    <a:pt x="81" y="91"/>
                  </a:cubicBezTo>
                  <a:cubicBezTo>
                    <a:pt x="78" y="99"/>
                    <a:pt x="42" y="119"/>
                    <a:pt x="17" y="115"/>
                  </a:cubicBezTo>
                  <a:cubicBezTo>
                    <a:pt x="11" y="109"/>
                    <a:pt x="5" y="76"/>
                    <a:pt x="2" y="55"/>
                  </a:cubicBezTo>
                  <a:cubicBezTo>
                    <a:pt x="0" y="39"/>
                    <a:pt x="7" y="24"/>
                    <a:pt x="21" y="17"/>
                  </a:cubicBezTo>
                </a:path>
              </a:pathLst>
            </a:custGeom>
            <a:solidFill>
              <a:srgbClr val="FFC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íṩľiḑè">
              <a:extLst>
                <a:ext uri="{FF2B5EF4-FFF2-40B4-BE49-F238E27FC236}">
                  <a16:creationId xmlns:a16="http://schemas.microsoft.com/office/drawing/2014/main" id="{EE5A8A67-F49A-4EB8-9830-2D4CB4C86CDC}"/>
                </a:ext>
              </a:extLst>
            </p:cNvPr>
            <p:cNvSpPr/>
            <p:nvPr/>
          </p:nvSpPr>
          <p:spPr bwMode="auto">
            <a:xfrm>
              <a:off x="3746501" y="4365626"/>
              <a:ext cx="38100" cy="15875"/>
            </a:xfrm>
            <a:custGeom>
              <a:avLst/>
              <a:gdLst>
                <a:gd name="T0" fmla="*/ 10 w 10"/>
                <a:gd name="T1" fmla="*/ 0 h 4"/>
                <a:gd name="T2" fmla="*/ 0 w 10"/>
                <a:gd name="T3" fmla="*/ 4 h 4"/>
                <a:gd name="T4" fmla="*/ 0 w 10"/>
                <a:gd name="T5" fmla="*/ 4 h 4"/>
                <a:gd name="T6" fmla="*/ 10 w 10"/>
                <a:gd name="T7" fmla="*/ 0 h 4"/>
                <a:gd name="T8" fmla="*/ 10 w 10"/>
                <a:gd name="T9" fmla="*/ 0 h 4"/>
                <a:gd name="T10" fmla="*/ 10 w 10"/>
                <a:gd name="T11" fmla="*/ 0 h 4"/>
                <a:gd name="T12" fmla="*/ 10 w 10"/>
                <a:gd name="T13" fmla="*/ 0 h 4"/>
                <a:gd name="T14" fmla="*/ 10 w 10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4">
                  <a:moveTo>
                    <a:pt x="10" y="0"/>
                  </a:moveTo>
                  <a:cubicBezTo>
                    <a:pt x="6" y="0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6" y="0"/>
                    <a:pt x="10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FFD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íṡḻïďé">
              <a:extLst>
                <a:ext uri="{FF2B5EF4-FFF2-40B4-BE49-F238E27FC236}">
                  <a16:creationId xmlns:a16="http://schemas.microsoft.com/office/drawing/2014/main" id="{99BFDB18-81CB-4958-9AE7-4FEA9A8F4E21}"/>
                </a:ext>
              </a:extLst>
            </p:cNvPr>
            <p:cNvSpPr/>
            <p:nvPr/>
          </p:nvSpPr>
          <p:spPr bwMode="auto">
            <a:xfrm>
              <a:off x="3746501" y="4365626"/>
              <a:ext cx="53975" cy="71438"/>
            </a:xfrm>
            <a:custGeom>
              <a:avLst/>
              <a:gdLst>
                <a:gd name="T0" fmla="*/ 10 w 14"/>
                <a:gd name="T1" fmla="*/ 0 h 18"/>
                <a:gd name="T2" fmla="*/ 10 w 14"/>
                <a:gd name="T3" fmla="*/ 0 h 18"/>
                <a:gd name="T4" fmla="*/ 0 w 14"/>
                <a:gd name="T5" fmla="*/ 4 h 18"/>
                <a:gd name="T6" fmla="*/ 3 w 14"/>
                <a:gd name="T7" fmla="*/ 18 h 18"/>
                <a:gd name="T8" fmla="*/ 14 w 14"/>
                <a:gd name="T9" fmla="*/ 4 h 18"/>
                <a:gd name="T10" fmla="*/ 12 w 14"/>
                <a:gd name="T11" fmla="*/ 0 h 18"/>
                <a:gd name="T12" fmla="*/ 12 w 14"/>
                <a:gd name="T13" fmla="*/ 0 h 18"/>
                <a:gd name="T14" fmla="*/ 10 w 14"/>
                <a:gd name="T15" fmla="*/ 0 h 18"/>
                <a:gd name="T16" fmla="*/ 10 w 14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8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6" y="0"/>
                    <a:pt x="0" y="4"/>
                    <a:pt x="0" y="4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0" y="15"/>
                    <a:pt x="14" y="4"/>
                    <a:pt x="14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íṧľíḋé">
              <a:extLst>
                <a:ext uri="{FF2B5EF4-FFF2-40B4-BE49-F238E27FC236}">
                  <a16:creationId xmlns:a16="http://schemas.microsoft.com/office/drawing/2014/main" id="{3DC0CC15-F1F3-427B-B4AB-D115392329AF}"/>
                </a:ext>
              </a:extLst>
            </p:cNvPr>
            <p:cNvSpPr/>
            <p:nvPr/>
          </p:nvSpPr>
          <p:spPr bwMode="auto">
            <a:xfrm>
              <a:off x="3659189" y="4243388"/>
              <a:ext cx="180975" cy="165100"/>
            </a:xfrm>
            <a:custGeom>
              <a:avLst/>
              <a:gdLst>
                <a:gd name="T0" fmla="*/ 28 w 46"/>
                <a:gd name="T1" fmla="*/ 3 h 42"/>
                <a:gd name="T2" fmla="*/ 45 w 46"/>
                <a:gd name="T3" fmla="*/ 21 h 42"/>
                <a:gd name="T4" fmla="*/ 24 w 46"/>
                <a:gd name="T5" fmla="*/ 41 h 42"/>
                <a:gd name="T6" fmla="*/ 6 w 46"/>
                <a:gd name="T7" fmla="*/ 23 h 42"/>
                <a:gd name="T8" fmla="*/ 28 w 46"/>
                <a:gd name="T9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2">
                  <a:moveTo>
                    <a:pt x="28" y="3"/>
                  </a:moveTo>
                  <a:cubicBezTo>
                    <a:pt x="28" y="3"/>
                    <a:pt x="45" y="14"/>
                    <a:pt x="45" y="21"/>
                  </a:cubicBezTo>
                  <a:cubicBezTo>
                    <a:pt x="46" y="27"/>
                    <a:pt x="40" y="34"/>
                    <a:pt x="24" y="41"/>
                  </a:cubicBezTo>
                  <a:cubicBezTo>
                    <a:pt x="18" y="42"/>
                    <a:pt x="7" y="27"/>
                    <a:pt x="6" y="23"/>
                  </a:cubicBezTo>
                  <a:cubicBezTo>
                    <a:pt x="0" y="0"/>
                    <a:pt x="21" y="1"/>
                    <a:pt x="28" y="3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ïsļîḍé">
              <a:extLst>
                <a:ext uri="{FF2B5EF4-FFF2-40B4-BE49-F238E27FC236}">
                  <a16:creationId xmlns:a16="http://schemas.microsoft.com/office/drawing/2014/main" id="{3353D8C2-1558-4790-9A7A-4EEDC15498B4}"/>
                </a:ext>
              </a:extLst>
            </p:cNvPr>
            <p:cNvSpPr/>
            <p:nvPr/>
          </p:nvSpPr>
          <p:spPr bwMode="auto">
            <a:xfrm>
              <a:off x="3616326" y="4173538"/>
              <a:ext cx="184150" cy="247650"/>
            </a:xfrm>
            <a:custGeom>
              <a:avLst/>
              <a:gdLst>
                <a:gd name="T0" fmla="*/ 26 w 47"/>
                <a:gd name="T1" fmla="*/ 34 h 63"/>
                <a:gd name="T2" fmla="*/ 46 w 47"/>
                <a:gd name="T3" fmla="*/ 12 h 63"/>
                <a:gd name="T4" fmla="*/ 18 w 47"/>
                <a:gd name="T5" fmla="*/ 6 h 63"/>
                <a:gd name="T6" fmla="*/ 13 w 47"/>
                <a:gd name="T7" fmla="*/ 15 h 63"/>
                <a:gd name="T8" fmla="*/ 7 w 47"/>
                <a:gd name="T9" fmla="*/ 24 h 63"/>
                <a:gd name="T10" fmla="*/ 4 w 47"/>
                <a:gd name="T11" fmla="*/ 27 h 63"/>
                <a:gd name="T12" fmla="*/ 6 w 47"/>
                <a:gd name="T13" fmla="*/ 43 h 63"/>
                <a:gd name="T14" fmla="*/ 16 w 47"/>
                <a:gd name="T15" fmla="*/ 57 h 63"/>
                <a:gd name="T16" fmla="*/ 33 w 47"/>
                <a:gd name="T17" fmla="*/ 53 h 63"/>
                <a:gd name="T18" fmla="*/ 26 w 47"/>
                <a:gd name="T19" fmla="*/ 3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63">
                  <a:moveTo>
                    <a:pt x="26" y="34"/>
                  </a:moveTo>
                  <a:cubicBezTo>
                    <a:pt x="26" y="34"/>
                    <a:pt x="47" y="24"/>
                    <a:pt x="46" y="12"/>
                  </a:cubicBezTo>
                  <a:cubicBezTo>
                    <a:pt x="45" y="1"/>
                    <a:pt x="25" y="0"/>
                    <a:pt x="18" y="6"/>
                  </a:cubicBezTo>
                  <a:cubicBezTo>
                    <a:pt x="15" y="9"/>
                    <a:pt x="14" y="12"/>
                    <a:pt x="13" y="15"/>
                  </a:cubicBezTo>
                  <a:cubicBezTo>
                    <a:pt x="12" y="19"/>
                    <a:pt x="10" y="21"/>
                    <a:pt x="7" y="24"/>
                  </a:cubicBezTo>
                  <a:cubicBezTo>
                    <a:pt x="6" y="25"/>
                    <a:pt x="5" y="26"/>
                    <a:pt x="4" y="27"/>
                  </a:cubicBezTo>
                  <a:cubicBezTo>
                    <a:pt x="0" y="33"/>
                    <a:pt x="3" y="37"/>
                    <a:pt x="6" y="43"/>
                  </a:cubicBezTo>
                  <a:cubicBezTo>
                    <a:pt x="8" y="48"/>
                    <a:pt x="11" y="53"/>
                    <a:pt x="16" y="57"/>
                  </a:cubicBezTo>
                  <a:cubicBezTo>
                    <a:pt x="25" y="63"/>
                    <a:pt x="35" y="58"/>
                    <a:pt x="33" y="53"/>
                  </a:cubicBezTo>
                  <a:cubicBezTo>
                    <a:pt x="31" y="47"/>
                    <a:pt x="21" y="37"/>
                    <a:pt x="26" y="34"/>
                  </a:cubicBezTo>
                  <a:close/>
                </a:path>
              </a:pathLst>
            </a:custGeom>
            <a:solidFill>
              <a:srgbClr val="754C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isḻïḍé">
              <a:extLst>
                <a:ext uri="{FF2B5EF4-FFF2-40B4-BE49-F238E27FC236}">
                  <a16:creationId xmlns:a16="http://schemas.microsoft.com/office/drawing/2014/main" id="{1A2BF824-42BA-4FBF-842C-53DF0E9747EE}"/>
                </a:ext>
              </a:extLst>
            </p:cNvPr>
            <p:cNvSpPr/>
            <p:nvPr/>
          </p:nvSpPr>
          <p:spPr bwMode="auto">
            <a:xfrm>
              <a:off x="3875089" y="4522788"/>
              <a:ext cx="165100" cy="188913"/>
            </a:xfrm>
            <a:custGeom>
              <a:avLst/>
              <a:gdLst>
                <a:gd name="T0" fmla="*/ 20 w 42"/>
                <a:gd name="T1" fmla="*/ 0 h 48"/>
                <a:gd name="T2" fmla="*/ 0 w 42"/>
                <a:gd name="T3" fmla="*/ 5 h 48"/>
                <a:gd name="T4" fmla="*/ 42 w 42"/>
                <a:gd name="T5" fmla="*/ 48 h 48"/>
                <a:gd name="T6" fmla="*/ 20 w 42"/>
                <a:gd name="T7" fmla="*/ 0 h 48"/>
                <a:gd name="T8" fmla="*/ 20 w 42"/>
                <a:gd name="T9" fmla="*/ 0 h 48"/>
                <a:gd name="T10" fmla="*/ 20 w 42"/>
                <a:gd name="T1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8">
                  <a:moveTo>
                    <a:pt x="2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22" y="44"/>
                    <a:pt x="42" y="48"/>
                  </a:cubicBezTo>
                  <a:cubicBezTo>
                    <a:pt x="33" y="41"/>
                    <a:pt x="20" y="8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FFBB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îšḷiḋe">
              <a:extLst>
                <a:ext uri="{FF2B5EF4-FFF2-40B4-BE49-F238E27FC236}">
                  <a16:creationId xmlns:a16="http://schemas.microsoft.com/office/drawing/2014/main" id="{213FFBC3-1087-45BD-866B-436F38C2158B}"/>
                </a:ext>
              </a:extLst>
            </p:cNvPr>
            <p:cNvSpPr/>
            <p:nvPr/>
          </p:nvSpPr>
          <p:spPr bwMode="auto">
            <a:xfrm>
              <a:off x="4167189" y="5241926"/>
              <a:ext cx="144463" cy="53975"/>
            </a:xfrm>
            <a:custGeom>
              <a:avLst/>
              <a:gdLst>
                <a:gd name="T0" fmla="*/ 15 w 37"/>
                <a:gd name="T1" fmla="*/ 0 h 14"/>
                <a:gd name="T2" fmla="*/ 0 w 37"/>
                <a:gd name="T3" fmla="*/ 3 h 14"/>
                <a:gd name="T4" fmla="*/ 0 w 37"/>
                <a:gd name="T5" fmla="*/ 14 h 14"/>
                <a:gd name="T6" fmla="*/ 37 w 37"/>
                <a:gd name="T7" fmla="*/ 8 h 14"/>
                <a:gd name="T8" fmla="*/ 15 w 3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4">
                  <a:moveTo>
                    <a:pt x="15" y="0"/>
                  </a:moveTo>
                  <a:cubicBezTo>
                    <a:pt x="15" y="0"/>
                    <a:pt x="5" y="3"/>
                    <a:pt x="0" y="3"/>
                  </a:cubicBezTo>
                  <a:cubicBezTo>
                    <a:pt x="0" y="10"/>
                    <a:pt x="0" y="14"/>
                    <a:pt x="0" y="14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790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iŝľïḋè">
              <a:extLst>
                <a:ext uri="{FF2B5EF4-FFF2-40B4-BE49-F238E27FC236}">
                  <a16:creationId xmlns:a16="http://schemas.microsoft.com/office/drawing/2014/main" id="{56B0CD24-525C-4AB2-AD37-E0F537B32D51}"/>
                </a:ext>
              </a:extLst>
            </p:cNvPr>
            <p:cNvSpPr/>
            <p:nvPr/>
          </p:nvSpPr>
          <p:spPr bwMode="auto">
            <a:xfrm>
              <a:off x="3879851" y="5375276"/>
              <a:ext cx="106363" cy="117475"/>
            </a:xfrm>
            <a:custGeom>
              <a:avLst/>
              <a:gdLst>
                <a:gd name="T0" fmla="*/ 25 w 27"/>
                <a:gd name="T1" fmla="*/ 0 h 30"/>
                <a:gd name="T2" fmla="*/ 12 w 27"/>
                <a:gd name="T3" fmla="*/ 6 h 30"/>
                <a:gd name="T4" fmla="*/ 0 w 27"/>
                <a:gd name="T5" fmla="*/ 30 h 30"/>
                <a:gd name="T6" fmla="*/ 27 w 27"/>
                <a:gd name="T7" fmla="*/ 12 h 30"/>
                <a:gd name="T8" fmla="*/ 25 w 27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0">
                  <a:moveTo>
                    <a:pt x="25" y="0"/>
                  </a:moveTo>
                  <a:cubicBezTo>
                    <a:pt x="21" y="4"/>
                    <a:pt x="12" y="6"/>
                    <a:pt x="12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7" y="12"/>
                    <a:pt x="27" y="12"/>
                    <a:pt x="27" y="12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790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ïş1iḍe">
              <a:extLst>
                <a:ext uri="{FF2B5EF4-FFF2-40B4-BE49-F238E27FC236}">
                  <a16:creationId xmlns:a16="http://schemas.microsoft.com/office/drawing/2014/main" id="{5F273C57-A78E-4AFC-AC7C-9BB7A21EC168}"/>
                </a:ext>
              </a:extLst>
            </p:cNvPr>
            <p:cNvSpPr/>
            <p:nvPr/>
          </p:nvSpPr>
          <p:spPr bwMode="auto">
            <a:xfrm>
              <a:off x="5659439" y="4914901"/>
              <a:ext cx="708025" cy="687388"/>
            </a:xfrm>
            <a:custGeom>
              <a:avLst/>
              <a:gdLst>
                <a:gd name="T0" fmla="*/ 446 w 446"/>
                <a:gd name="T1" fmla="*/ 0 h 433"/>
                <a:gd name="T2" fmla="*/ 446 w 446"/>
                <a:gd name="T3" fmla="*/ 433 h 433"/>
                <a:gd name="T4" fmla="*/ 0 w 446"/>
                <a:gd name="T5" fmla="*/ 433 h 433"/>
                <a:gd name="T6" fmla="*/ 0 w 446"/>
                <a:gd name="T7" fmla="*/ 206 h 433"/>
                <a:gd name="T8" fmla="*/ 446 w 446"/>
                <a:gd name="T9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433">
                  <a:moveTo>
                    <a:pt x="446" y="0"/>
                  </a:moveTo>
                  <a:lnTo>
                    <a:pt x="446" y="433"/>
                  </a:lnTo>
                  <a:lnTo>
                    <a:pt x="0" y="433"/>
                  </a:lnTo>
                  <a:lnTo>
                    <a:pt x="0" y="206"/>
                  </a:lnTo>
                  <a:lnTo>
                    <a:pt x="446" y="0"/>
                  </a:lnTo>
                  <a:close/>
                </a:path>
              </a:pathLst>
            </a:custGeom>
            <a:solidFill>
              <a:srgbClr val="FF6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i$ḻîḑe">
              <a:extLst>
                <a:ext uri="{FF2B5EF4-FFF2-40B4-BE49-F238E27FC236}">
                  <a16:creationId xmlns:a16="http://schemas.microsoft.com/office/drawing/2014/main" id="{278E6C3B-E252-490F-8A0C-89250443A3A0}"/>
                </a:ext>
              </a:extLst>
            </p:cNvPr>
            <p:cNvSpPr/>
            <p:nvPr/>
          </p:nvSpPr>
          <p:spPr bwMode="auto">
            <a:xfrm>
              <a:off x="5129214" y="4778376"/>
              <a:ext cx="628650" cy="879475"/>
            </a:xfrm>
            <a:custGeom>
              <a:avLst/>
              <a:gdLst>
                <a:gd name="T0" fmla="*/ 126 w 160"/>
                <a:gd name="T1" fmla="*/ 69 h 224"/>
                <a:gd name="T2" fmla="*/ 107 w 160"/>
                <a:gd name="T3" fmla="*/ 45 h 224"/>
                <a:gd name="T4" fmla="*/ 71 w 160"/>
                <a:gd name="T5" fmla="*/ 19 h 224"/>
                <a:gd name="T6" fmla="*/ 16 w 160"/>
                <a:gd name="T7" fmla="*/ 6 h 224"/>
                <a:gd name="T8" fmla="*/ 160 w 160"/>
                <a:gd name="T9" fmla="*/ 223 h 224"/>
                <a:gd name="T10" fmla="*/ 156 w 160"/>
                <a:gd name="T11" fmla="*/ 155 h 224"/>
                <a:gd name="T12" fmla="*/ 126 w 160"/>
                <a:gd name="T13" fmla="*/ 6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4">
                  <a:moveTo>
                    <a:pt x="126" y="69"/>
                  </a:moveTo>
                  <a:cubicBezTo>
                    <a:pt x="120" y="60"/>
                    <a:pt x="114" y="52"/>
                    <a:pt x="107" y="45"/>
                  </a:cubicBezTo>
                  <a:cubicBezTo>
                    <a:pt x="96" y="34"/>
                    <a:pt x="84" y="25"/>
                    <a:pt x="71" y="19"/>
                  </a:cubicBezTo>
                  <a:cubicBezTo>
                    <a:pt x="66" y="16"/>
                    <a:pt x="17" y="0"/>
                    <a:pt x="16" y="6"/>
                  </a:cubicBezTo>
                  <a:cubicBezTo>
                    <a:pt x="16" y="6"/>
                    <a:pt x="0" y="185"/>
                    <a:pt x="160" y="223"/>
                  </a:cubicBezTo>
                  <a:cubicBezTo>
                    <a:pt x="160" y="224"/>
                    <a:pt x="157" y="160"/>
                    <a:pt x="156" y="155"/>
                  </a:cubicBezTo>
                  <a:cubicBezTo>
                    <a:pt x="151" y="126"/>
                    <a:pt x="142" y="95"/>
                    <a:pt x="126" y="69"/>
                  </a:cubicBezTo>
                  <a:close/>
                </a:path>
              </a:pathLst>
            </a:custGeom>
            <a:solidFill>
              <a:srgbClr val="4AC6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íṣ1ïdè">
              <a:extLst>
                <a:ext uri="{FF2B5EF4-FFF2-40B4-BE49-F238E27FC236}">
                  <a16:creationId xmlns:a16="http://schemas.microsoft.com/office/drawing/2014/main" id="{CB8E185B-135B-4DAA-85E0-EFC5DF9C6D8D}"/>
                </a:ext>
              </a:extLst>
            </p:cNvPr>
            <p:cNvSpPr/>
            <p:nvPr/>
          </p:nvSpPr>
          <p:spPr bwMode="auto">
            <a:xfrm>
              <a:off x="5254626" y="4876801"/>
              <a:ext cx="479425" cy="709613"/>
            </a:xfrm>
            <a:custGeom>
              <a:avLst/>
              <a:gdLst>
                <a:gd name="T0" fmla="*/ 1 w 122"/>
                <a:gd name="T1" fmla="*/ 3 h 181"/>
                <a:gd name="T2" fmla="*/ 23 w 122"/>
                <a:gd name="T3" fmla="*/ 51 h 181"/>
                <a:gd name="T4" fmla="*/ 48 w 122"/>
                <a:gd name="T5" fmla="*/ 97 h 181"/>
                <a:gd name="T6" fmla="*/ 77 w 122"/>
                <a:gd name="T7" fmla="*/ 140 h 181"/>
                <a:gd name="T8" fmla="*/ 113 w 122"/>
                <a:gd name="T9" fmla="*/ 179 h 181"/>
                <a:gd name="T10" fmla="*/ 120 w 122"/>
                <a:gd name="T11" fmla="*/ 179 h 181"/>
                <a:gd name="T12" fmla="*/ 120 w 122"/>
                <a:gd name="T13" fmla="*/ 172 h 181"/>
                <a:gd name="T14" fmla="*/ 119 w 122"/>
                <a:gd name="T15" fmla="*/ 172 h 181"/>
                <a:gd name="T16" fmla="*/ 119 w 122"/>
                <a:gd name="T17" fmla="*/ 172 h 181"/>
                <a:gd name="T18" fmla="*/ 84 w 122"/>
                <a:gd name="T19" fmla="*/ 135 h 181"/>
                <a:gd name="T20" fmla="*/ 54 w 122"/>
                <a:gd name="T21" fmla="*/ 93 h 181"/>
                <a:gd name="T22" fmla="*/ 28 w 122"/>
                <a:gd name="T23" fmla="*/ 48 h 181"/>
                <a:gd name="T24" fmla="*/ 6 w 122"/>
                <a:gd name="T25" fmla="*/ 1 h 181"/>
                <a:gd name="T26" fmla="*/ 6 w 122"/>
                <a:gd name="T27" fmla="*/ 1 h 181"/>
                <a:gd name="T28" fmla="*/ 2 w 122"/>
                <a:gd name="T29" fmla="*/ 0 h 181"/>
                <a:gd name="T30" fmla="*/ 1 w 122"/>
                <a:gd name="T31" fmla="*/ 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181">
                  <a:moveTo>
                    <a:pt x="1" y="3"/>
                  </a:moveTo>
                  <a:cubicBezTo>
                    <a:pt x="8" y="20"/>
                    <a:pt x="15" y="35"/>
                    <a:pt x="23" y="51"/>
                  </a:cubicBezTo>
                  <a:cubicBezTo>
                    <a:pt x="30" y="66"/>
                    <a:pt x="39" y="82"/>
                    <a:pt x="48" y="97"/>
                  </a:cubicBezTo>
                  <a:cubicBezTo>
                    <a:pt x="57" y="112"/>
                    <a:pt x="67" y="126"/>
                    <a:pt x="77" y="140"/>
                  </a:cubicBezTo>
                  <a:cubicBezTo>
                    <a:pt x="88" y="154"/>
                    <a:pt x="100" y="167"/>
                    <a:pt x="113" y="179"/>
                  </a:cubicBezTo>
                  <a:cubicBezTo>
                    <a:pt x="115" y="181"/>
                    <a:pt x="118" y="181"/>
                    <a:pt x="120" y="179"/>
                  </a:cubicBezTo>
                  <a:cubicBezTo>
                    <a:pt x="122" y="177"/>
                    <a:pt x="121" y="174"/>
                    <a:pt x="120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07" y="161"/>
                    <a:pt x="95" y="148"/>
                    <a:pt x="84" y="135"/>
                  </a:cubicBezTo>
                  <a:cubicBezTo>
                    <a:pt x="74" y="121"/>
                    <a:pt x="64" y="107"/>
                    <a:pt x="54" y="93"/>
                  </a:cubicBezTo>
                  <a:cubicBezTo>
                    <a:pt x="45" y="78"/>
                    <a:pt x="36" y="63"/>
                    <a:pt x="28" y="48"/>
                  </a:cubicBezTo>
                  <a:cubicBezTo>
                    <a:pt x="20" y="33"/>
                    <a:pt x="12" y="17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1" y="1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ṩḻidê">
              <a:extLst>
                <a:ext uri="{FF2B5EF4-FFF2-40B4-BE49-F238E27FC236}">
                  <a16:creationId xmlns:a16="http://schemas.microsoft.com/office/drawing/2014/main" id="{8C722EDE-C608-4D41-B0B8-DD30539C1FEC}"/>
                </a:ext>
              </a:extLst>
            </p:cNvPr>
            <p:cNvSpPr/>
            <p:nvPr/>
          </p:nvSpPr>
          <p:spPr bwMode="auto">
            <a:xfrm>
              <a:off x="5435601" y="4970463"/>
              <a:ext cx="58738" cy="200025"/>
            </a:xfrm>
            <a:custGeom>
              <a:avLst/>
              <a:gdLst>
                <a:gd name="T0" fmla="*/ 7 w 15"/>
                <a:gd name="T1" fmla="*/ 51 h 51"/>
                <a:gd name="T2" fmla="*/ 9 w 15"/>
                <a:gd name="T3" fmla="*/ 48 h 51"/>
                <a:gd name="T4" fmla="*/ 14 w 15"/>
                <a:gd name="T5" fmla="*/ 4 h 51"/>
                <a:gd name="T6" fmla="*/ 13 w 15"/>
                <a:gd name="T7" fmla="*/ 1 h 51"/>
                <a:gd name="T8" fmla="*/ 10 w 15"/>
                <a:gd name="T9" fmla="*/ 2 h 51"/>
                <a:gd name="T10" fmla="*/ 4 w 15"/>
                <a:gd name="T11" fmla="*/ 49 h 51"/>
                <a:gd name="T12" fmla="*/ 7 w 15"/>
                <a:gd name="T1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1">
                  <a:moveTo>
                    <a:pt x="7" y="51"/>
                  </a:moveTo>
                  <a:cubicBezTo>
                    <a:pt x="9" y="50"/>
                    <a:pt x="10" y="49"/>
                    <a:pt x="9" y="48"/>
                  </a:cubicBezTo>
                  <a:cubicBezTo>
                    <a:pt x="5" y="29"/>
                    <a:pt x="14" y="4"/>
                    <a:pt x="14" y="4"/>
                  </a:cubicBezTo>
                  <a:cubicBezTo>
                    <a:pt x="15" y="3"/>
                    <a:pt x="14" y="1"/>
                    <a:pt x="13" y="1"/>
                  </a:cubicBezTo>
                  <a:cubicBezTo>
                    <a:pt x="12" y="0"/>
                    <a:pt x="10" y="1"/>
                    <a:pt x="10" y="2"/>
                  </a:cubicBezTo>
                  <a:cubicBezTo>
                    <a:pt x="9" y="3"/>
                    <a:pt x="0" y="29"/>
                    <a:pt x="4" y="49"/>
                  </a:cubicBezTo>
                  <a:cubicBezTo>
                    <a:pt x="5" y="50"/>
                    <a:pt x="6" y="51"/>
                    <a:pt x="7" y="51"/>
                  </a:cubicBez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ïśļíḋè">
              <a:extLst>
                <a:ext uri="{FF2B5EF4-FFF2-40B4-BE49-F238E27FC236}">
                  <a16:creationId xmlns:a16="http://schemas.microsoft.com/office/drawing/2014/main" id="{E02231C0-A473-463B-A429-F59387FE90DC}"/>
                </a:ext>
              </a:extLst>
            </p:cNvPr>
            <p:cNvSpPr/>
            <p:nvPr/>
          </p:nvSpPr>
          <p:spPr bwMode="auto">
            <a:xfrm>
              <a:off x="5262564" y="5151438"/>
              <a:ext cx="138113" cy="66675"/>
            </a:xfrm>
            <a:custGeom>
              <a:avLst/>
              <a:gdLst>
                <a:gd name="T0" fmla="*/ 33 w 35"/>
                <a:gd name="T1" fmla="*/ 16 h 17"/>
                <a:gd name="T2" fmla="*/ 34 w 35"/>
                <a:gd name="T3" fmla="*/ 16 h 17"/>
                <a:gd name="T4" fmla="*/ 34 w 35"/>
                <a:gd name="T5" fmla="*/ 12 h 17"/>
                <a:gd name="T6" fmla="*/ 2 w 35"/>
                <a:gd name="T7" fmla="*/ 0 h 17"/>
                <a:gd name="T8" fmla="*/ 0 w 35"/>
                <a:gd name="T9" fmla="*/ 3 h 17"/>
                <a:gd name="T10" fmla="*/ 2 w 35"/>
                <a:gd name="T11" fmla="*/ 5 h 17"/>
                <a:gd name="T12" fmla="*/ 31 w 35"/>
                <a:gd name="T13" fmla="*/ 16 h 17"/>
                <a:gd name="T14" fmla="*/ 33 w 35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17">
                  <a:moveTo>
                    <a:pt x="33" y="16"/>
                  </a:moveTo>
                  <a:cubicBezTo>
                    <a:pt x="33" y="16"/>
                    <a:pt x="34" y="16"/>
                    <a:pt x="34" y="16"/>
                  </a:cubicBezTo>
                  <a:cubicBezTo>
                    <a:pt x="35" y="14"/>
                    <a:pt x="35" y="13"/>
                    <a:pt x="34" y="12"/>
                  </a:cubicBezTo>
                  <a:cubicBezTo>
                    <a:pt x="33" y="12"/>
                    <a:pt x="18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16" y="5"/>
                    <a:pt x="30" y="16"/>
                    <a:pt x="31" y="16"/>
                  </a:cubicBezTo>
                  <a:cubicBezTo>
                    <a:pt x="31" y="16"/>
                    <a:pt x="32" y="17"/>
                    <a:pt x="33" y="16"/>
                  </a:cubicBez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iSḷiḓè">
              <a:extLst>
                <a:ext uri="{FF2B5EF4-FFF2-40B4-BE49-F238E27FC236}">
                  <a16:creationId xmlns:a16="http://schemas.microsoft.com/office/drawing/2014/main" id="{A167F9E2-F959-4501-BE86-AD1043C897C1}"/>
                </a:ext>
              </a:extLst>
            </p:cNvPr>
            <p:cNvSpPr/>
            <p:nvPr/>
          </p:nvSpPr>
          <p:spPr bwMode="auto">
            <a:xfrm>
              <a:off x="5589589" y="5183188"/>
              <a:ext cx="53975" cy="211138"/>
            </a:xfrm>
            <a:custGeom>
              <a:avLst/>
              <a:gdLst>
                <a:gd name="T0" fmla="*/ 5 w 14"/>
                <a:gd name="T1" fmla="*/ 54 h 54"/>
                <a:gd name="T2" fmla="*/ 6 w 14"/>
                <a:gd name="T3" fmla="*/ 51 h 54"/>
                <a:gd name="T4" fmla="*/ 13 w 14"/>
                <a:gd name="T5" fmla="*/ 3 h 54"/>
                <a:gd name="T6" fmla="*/ 12 w 14"/>
                <a:gd name="T7" fmla="*/ 0 h 54"/>
                <a:gd name="T8" fmla="*/ 9 w 14"/>
                <a:gd name="T9" fmla="*/ 2 h 54"/>
                <a:gd name="T10" fmla="*/ 1 w 14"/>
                <a:gd name="T11" fmla="*/ 52 h 54"/>
                <a:gd name="T12" fmla="*/ 4 w 14"/>
                <a:gd name="T13" fmla="*/ 54 h 54"/>
                <a:gd name="T14" fmla="*/ 5 w 14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54">
                  <a:moveTo>
                    <a:pt x="5" y="54"/>
                  </a:moveTo>
                  <a:cubicBezTo>
                    <a:pt x="6" y="54"/>
                    <a:pt x="7" y="53"/>
                    <a:pt x="6" y="51"/>
                  </a:cubicBezTo>
                  <a:cubicBezTo>
                    <a:pt x="5" y="33"/>
                    <a:pt x="13" y="3"/>
                    <a:pt x="13" y="3"/>
                  </a:cubicBezTo>
                  <a:cubicBezTo>
                    <a:pt x="14" y="2"/>
                    <a:pt x="13" y="0"/>
                    <a:pt x="12" y="0"/>
                  </a:cubicBezTo>
                  <a:cubicBezTo>
                    <a:pt x="10" y="0"/>
                    <a:pt x="9" y="0"/>
                    <a:pt x="9" y="2"/>
                  </a:cubicBezTo>
                  <a:cubicBezTo>
                    <a:pt x="8" y="3"/>
                    <a:pt x="0" y="32"/>
                    <a:pt x="1" y="52"/>
                  </a:cubicBezTo>
                  <a:cubicBezTo>
                    <a:pt x="2" y="53"/>
                    <a:pt x="3" y="54"/>
                    <a:pt x="4" y="54"/>
                  </a:cubicBezTo>
                  <a:lnTo>
                    <a:pt x="5" y="54"/>
                  </a:ln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îşḷïḓè">
              <a:extLst>
                <a:ext uri="{FF2B5EF4-FFF2-40B4-BE49-F238E27FC236}">
                  <a16:creationId xmlns:a16="http://schemas.microsoft.com/office/drawing/2014/main" id="{BCC3CEA4-0ADB-4EF1-A887-4D5965DF0ABF}"/>
                </a:ext>
              </a:extLst>
            </p:cNvPr>
            <p:cNvSpPr/>
            <p:nvPr/>
          </p:nvSpPr>
          <p:spPr bwMode="auto">
            <a:xfrm>
              <a:off x="5408614" y="5407026"/>
              <a:ext cx="152400" cy="53975"/>
            </a:xfrm>
            <a:custGeom>
              <a:avLst/>
              <a:gdLst>
                <a:gd name="T0" fmla="*/ 36 w 39"/>
                <a:gd name="T1" fmla="*/ 14 h 14"/>
                <a:gd name="T2" fmla="*/ 38 w 39"/>
                <a:gd name="T3" fmla="*/ 13 h 14"/>
                <a:gd name="T4" fmla="*/ 37 w 39"/>
                <a:gd name="T5" fmla="*/ 10 h 14"/>
                <a:gd name="T6" fmla="*/ 2 w 39"/>
                <a:gd name="T7" fmla="*/ 3 h 14"/>
                <a:gd name="T8" fmla="*/ 0 w 39"/>
                <a:gd name="T9" fmla="*/ 6 h 14"/>
                <a:gd name="T10" fmla="*/ 3 w 39"/>
                <a:gd name="T11" fmla="*/ 8 h 14"/>
                <a:gd name="T12" fmla="*/ 35 w 39"/>
                <a:gd name="T13" fmla="*/ 14 h 14"/>
                <a:gd name="T14" fmla="*/ 36 w 39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14">
                  <a:moveTo>
                    <a:pt x="36" y="14"/>
                  </a:moveTo>
                  <a:cubicBezTo>
                    <a:pt x="37" y="14"/>
                    <a:pt x="38" y="14"/>
                    <a:pt x="38" y="13"/>
                  </a:cubicBezTo>
                  <a:cubicBezTo>
                    <a:pt x="39" y="12"/>
                    <a:pt x="38" y="10"/>
                    <a:pt x="37" y="10"/>
                  </a:cubicBezTo>
                  <a:cubicBezTo>
                    <a:pt x="37" y="9"/>
                    <a:pt x="21" y="0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1" y="8"/>
                    <a:pt x="2" y="9"/>
                    <a:pt x="3" y="8"/>
                  </a:cubicBezTo>
                  <a:cubicBezTo>
                    <a:pt x="20" y="5"/>
                    <a:pt x="34" y="14"/>
                    <a:pt x="35" y="14"/>
                  </a:cubicBezTo>
                  <a:cubicBezTo>
                    <a:pt x="35" y="14"/>
                    <a:pt x="36" y="14"/>
                    <a:pt x="36" y="14"/>
                  </a:cubicBezTo>
                  <a:close/>
                </a:path>
              </a:pathLst>
            </a:custGeom>
            <a:solidFill>
              <a:srgbClr val="32A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ïSľîḓé">
              <a:extLst>
                <a:ext uri="{FF2B5EF4-FFF2-40B4-BE49-F238E27FC236}">
                  <a16:creationId xmlns:a16="http://schemas.microsoft.com/office/drawing/2014/main" id="{4BE8E421-B6B1-4C43-81C2-66D5BB466314}"/>
                </a:ext>
              </a:extLst>
            </p:cNvPr>
            <p:cNvSpPr/>
            <p:nvPr/>
          </p:nvSpPr>
          <p:spPr bwMode="auto">
            <a:xfrm>
              <a:off x="5765801" y="4981576"/>
              <a:ext cx="98425" cy="628650"/>
            </a:xfrm>
            <a:custGeom>
              <a:avLst/>
              <a:gdLst>
                <a:gd name="T0" fmla="*/ 24 w 25"/>
                <a:gd name="T1" fmla="*/ 1 h 160"/>
                <a:gd name="T2" fmla="*/ 25 w 25"/>
                <a:gd name="T3" fmla="*/ 41 h 160"/>
                <a:gd name="T4" fmla="*/ 23 w 25"/>
                <a:gd name="T5" fmla="*/ 80 h 160"/>
                <a:gd name="T6" fmla="*/ 18 w 25"/>
                <a:gd name="T7" fmla="*/ 119 h 160"/>
                <a:gd name="T8" fmla="*/ 7 w 25"/>
                <a:gd name="T9" fmla="*/ 157 h 160"/>
                <a:gd name="T10" fmla="*/ 2 w 25"/>
                <a:gd name="T11" fmla="*/ 160 h 160"/>
                <a:gd name="T12" fmla="*/ 0 w 25"/>
                <a:gd name="T13" fmla="*/ 155 h 160"/>
                <a:gd name="T14" fmla="*/ 0 w 25"/>
                <a:gd name="T15" fmla="*/ 155 h 160"/>
                <a:gd name="T16" fmla="*/ 0 w 25"/>
                <a:gd name="T17" fmla="*/ 155 h 160"/>
                <a:gd name="T18" fmla="*/ 12 w 25"/>
                <a:gd name="T19" fmla="*/ 118 h 160"/>
                <a:gd name="T20" fmla="*/ 18 w 25"/>
                <a:gd name="T21" fmla="*/ 80 h 160"/>
                <a:gd name="T22" fmla="*/ 21 w 25"/>
                <a:gd name="T23" fmla="*/ 41 h 160"/>
                <a:gd name="T24" fmla="*/ 20 w 25"/>
                <a:gd name="T25" fmla="*/ 2 h 160"/>
                <a:gd name="T26" fmla="*/ 20 w 25"/>
                <a:gd name="T27" fmla="*/ 2 h 160"/>
                <a:gd name="T28" fmla="*/ 22 w 25"/>
                <a:gd name="T29" fmla="*/ 0 h 160"/>
                <a:gd name="T30" fmla="*/ 24 w 25"/>
                <a:gd name="T31" fmla="*/ 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160">
                  <a:moveTo>
                    <a:pt x="24" y="1"/>
                  </a:moveTo>
                  <a:cubicBezTo>
                    <a:pt x="25" y="14"/>
                    <a:pt x="25" y="28"/>
                    <a:pt x="25" y="41"/>
                  </a:cubicBezTo>
                  <a:cubicBezTo>
                    <a:pt x="25" y="54"/>
                    <a:pt x="25" y="67"/>
                    <a:pt x="23" y="80"/>
                  </a:cubicBezTo>
                  <a:cubicBezTo>
                    <a:pt x="22" y="93"/>
                    <a:pt x="20" y="106"/>
                    <a:pt x="18" y="119"/>
                  </a:cubicBezTo>
                  <a:cubicBezTo>
                    <a:pt x="15" y="132"/>
                    <a:pt x="12" y="145"/>
                    <a:pt x="7" y="157"/>
                  </a:cubicBezTo>
                  <a:cubicBezTo>
                    <a:pt x="7" y="159"/>
                    <a:pt x="4" y="160"/>
                    <a:pt x="2" y="160"/>
                  </a:cubicBezTo>
                  <a:cubicBezTo>
                    <a:pt x="1" y="159"/>
                    <a:pt x="0" y="157"/>
                    <a:pt x="0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5" y="143"/>
                    <a:pt x="9" y="130"/>
                    <a:pt x="12" y="118"/>
                  </a:cubicBezTo>
                  <a:cubicBezTo>
                    <a:pt x="14" y="105"/>
                    <a:pt x="16" y="92"/>
                    <a:pt x="18" y="80"/>
                  </a:cubicBezTo>
                  <a:cubicBezTo>
                    <a:pt x="19" y="67"/>
                    <a:pt x="20" y="54"/>
                    <a:pt x="21" y="41"/>
                  </a:cubicBezTo>
                  <a:cubicBezTo>
                    <a:pt x="21" y="28"/>
                    <a:pt x="21" y="15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1" y="0"/>
                    <a:pt x="22" y="0"/>
                  </a:cubicBezTo>
                  <a:cubicBezTo>
                    <a:pt x="23" y="0"/>
                    <a:pt x="24" y="0"/>
                    <a:pt x="24" y="1"/>
                  </a:cubicBezTo>
                  <a:close/>
                </a:path>
              </a:pathLst>
            </a:custGeom>
            <a:solidFill>
              <a:srgbClr val="00A5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iṡḷiḍê">
              <a:extLst>
                <a:ext uri="{FF2B5EF4-FFF2-40B4-BE49-F238E27FC236}">
                  <a16:creationId xmlns:a16="http://schemas.microsoft.com/office/drawing/2014/main" id="{96BD27AE-459F-43DD-8B8E-9D821C86DFC3}"/>
                </a:ext>
              </a:extLst>
            </p:cNvPr>
            <p:cNvSpPr/>
            <p:nvPr/>
          </p:nvSpPr>
          <p:spPr bwMode="auto">
            <a:xfrm>
              <a:off x="5730876" y="5116513"/>
              <a:ext cx="90488" cy="128588"/>
            </a:xfrm>
            <a:custGeom>
              <a:avLst/>
              <a:gdLst>
                <a:gd name="T0" fmla="*/ 21 w 23"/>
                <a:gd name="T1" fmla="*/ 33 h 33"/>
                <a:gd name="T2" fmla="*/ 19 w 23"/>
                <a:gd name="T3" fmla="*/ 32 h 33"/>
                <a:gd name="T4" fmla="*/ 1 w 23"/>
                <a:gd name="T5" fmla="*/ 4 h 33"/>
                <a:gd name="T6" fmla="*/ 1 w 23"/>
                <a:gd name="T7" fmla="*/ 1 h 33"/>
                <a:gd name="T8" fmla="*/ 4 w 23"/>
                <a:gd name="T9" fmla="*/ 1 h 33"/>
                <a:gd name="T10" fmla="*/ 23 w 23"/>
                <a:gd name="T11" fmla="*/ 31 h 33"/>
                <a:gd name="T12" fmla="*/ 21 w 23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33">
                  <a:moveTo>
                    <a:pt x="21" y="33"/>
                  </a:moveTo>
                  <a:cubicBezTo>
                    <a:pt x="20" y="33"/>
                    <a:pt x="19" y="33"/>
                    <a:pt x="19" y="32"/>
                  </a:cubicBezTo>
                  <a:cubicBezTo>
                    <a:pt x="16" y="18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" y="2"/>
                    <a:pt x="19" y="16"/>
                    <a:pt x="23" y="31"/>
                  </a:cubicBezTo>
                  <a:cubicBezTo>
                    <a:pt x="23" y="32"/>
                    <a:pt x="22" y="33"/>
                    <a:pt x="21" y="33"/>
                  </a:cubicBezTo>
                  <a:close/>
                </a:path>
              </a:pathLst>
            </a:custGeom>
            <a:solidFill>
              <a:srgbClr val="00A5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íŝḷiḍe">
              <a:extLst>
                <a:ext uri="{FF2B5EF4-FFF2-40B4-BE49-F238E27FC236}">
                  <a16:creationId xmlns:a16="http://schemas.microsoft.com/office/drawing/2014/main" id="{B588CD56-8252-4B06-8511-CC8D6F98FC88}"/>
                </a:ext>
              </a:extLst>
            </p:cNvPr>
            <p:cNvSpPr/>
            <p:nvPr/>
          </p:nvSpPr>
          <p:spPr bwMode="auto">
            <a:xfrm>
              <a:off x="5867401" y="5167313"/>
              <a:ext cx="82550" cy="85725"/>
            </a:xfrm>
            <a:custGeom>
              <a:avLst/>
              <a:gdLst>
                <a:gd name="T0" fmla="*/ 3 w 21"/>
                <a:gd name="T1" fmla="*/ 22 h 22"/>
                <a:gd name="T2" fmla="*/ 2 w 21"/>
                <a:gd name="T3" fmla="*/ 22 h 22"/>
                <a:gd name="T4" fmla="*/ 1 w 21"/>
                <a:gd name="T5" fmla="*/ 19 h 22"/>
                <a:gd name="T6" fmla="*/ 18 w 21"/>
                <a:gd name="T7" fmla="*/ 0 h 22"/>
                <a:gd name="T8" fmla="*/ 21 w 21"/>
                <a:gd name="T9" fmla="*/ 1 h 22"/>
                <a:gd name="T10" fmla="*/ 20 w 21"/>
                <a:gd name="T11" fmla="*/ 4 h 22"/>
                <a:gd name="T12" fmla="*/ 4 w 21"/>
                <a:gd name="T13" fmla="*/ 21 h 22"/>
                <a:gd name="T14" fmla="*/ 3 w 21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2">
                  <a:moveTo>
                    <a:pt x="3" y="22"/>
                  </a:moveTo>
                  <a:cubicBezTo>
                    <a:pt x="3" y="22"/>
                    <a:pt x="2" y="22"/>
                    <a:pt x="2" y="22"/>
                  </a:cubicBezTo>
                  <a:cubicBezTo>
                    <a:pt x="1" y="21"/>
                    <a:pt x="0" y="20"/>
                    <a:pt x="1" y="19"/>
                  </a:cubicBezTo>
                  <a:cubicBezTo>
                    <a:pt x="1" y="18"/>
                    <a:pt x="8" y="6"/>
                    <a:pt x="18" y="0"/>
                  </a:cubicBezTo>
                  <a:cubicBezTo>
                    <a:pt x="19" y="0"/>
                    <a:pt x="20" y="0"/>
                    <a:pt x="21" y="1"/>
                  </a:cubicBezTo>
                  <a:cubicBezTo>
                    <a:pt x="21" y="2"/>
                    <a:pt x="21" y="3"/>
                    <a:pt x="20" y="4"/>
                  </a:cubicBezTo>
                  <a:cubicBezTo>
                    <a:pt x="11" y="9"/>
                    <a:pt x="4" y="21"/>
                    <a:pt x="4" y="21"/>
                  </a:cubicBezTo>
                  <a:cubicBezTo>
                    <a:pt x="4" y="21"/>
                    <a:pt x="4" y="22"/>
                    <a:pt x="3" y="22"/>
                  </a:cubicBezTo>
                  <a:close/>
                </a:path>
              </a:pathLst>
            </a:custGeom>
            <a:solidFill>
              <a:srgbClr val="00A5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íşḻíḑè">
              <a:extLst>
                <a:ext uri="{FF2B5EF4-FFF2-40B4-BE49-F238E27FC236}">
                  <a16:creationId xmlns:a16="http://schemas.microsoft.com/office/drawing/2014/main" id="{6FABF861-7C85-4D0E-9375-82F8AECF5D92}"/>
                </a:ext>
              </a:extLst>
            </p:cNvPr>
            <p:cNvSpPr/>
            <p:nvPr/>
          </p:nvSpPr>
          <p:spPr bwMode="auto">
            <a:xfrm>
              <a:off x="5699126" y="5308601"/>
              <a:ext cx="101600" cy="136525"/>
            </a:xfrm>
            <a:custGeom>
              <a:avLst/>
              <a:gdLst>
                <a:gd name="T0" fmla="*/ 24 w 26"/>
                <a:gd name="T1" fmla="*/ 35 h 35"/>
                <a:gd name="T2" fmla="*/ 22 w 26"/>
                <a:gd name="T3" fmla="*/ 34 h 35"/>
                <a:gd name="T4" fmla="*/ 1 w 26"/>
                <a:gd name="T5" fmla="*/ 3 h 35"/>
                <a:gd name="T6" fmla="*/ 1 w 26"/>
                <a:gd name="T7" fmla="*/ 1 h 35"/>
                <a:gd name="T8" fmla="*/ 4 w 26"/>
                <a:gd name="T9" fmla="*/ 1 h 35"/>
                <a:gd name="T10" fmla="*/ 26 w 26"/>
                <a:gd name="T11" fmla="*/ 32 h 35"/>
                <a:gd name="T12" fmla="*/ 24 w 26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5">
                  <a:moveTo>
                    <a:pt x="24" y="35"/>
                  </a:moveTo>
                  <a:cubicBezTo>
                    <a:pt x="23" y="35"/>
                    <a:pt x="22" y="35"/>
                    <a:pt x="22" y="34"/>
                  </a:cubicBezTo>
                  <a:cubicBezTo>
                    <a:pt x="17" y="20"/>
                    <a:pt x="1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2"/>
                    <a:pt x="20" y="18"/>
                    <a:pt x="26" y="32"/>
                  </a:cubicBezTo>
                  <a:cubicBezTo>
                    <a:pt x="26" y="33"/>
                    <a:pt x="25" y="34"/>
                    <a:pt x="24" y="35"/>
                  </a:cubicBezTo>
                  <a:close/>
                </a:path>
              </a:pathLst>
            </a:custGeom>
            <a:solidFill>
              <a:srgbClr val="00A5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í$ḻîḋe">
              <a:extLst>
                <a:ext uri="{FF2B5EF4-FFF2-40B4-BE49-F238E27FC236}">
                  <a16:creationId xmlns:a16="http://schemas.microsoft.com/office/drawing/2014/main" id="{1426FD30-479A-438C-860F-5ED7BFC9E41C}"/>
                </a:ext>
              </a:extLst>
            </p:cNvPr>
            <p:cNvSpPr/>
            <p:nvPr/>
          </p:nvSpPr>
          <p:spPr bwMode="auto">
            <a:xfrm>
              <a:off x="5845176" y="5399088"/>
              <a:ext cx="93663" cy="74613"/>
            </a:xfrm>
            <a:custGeom>
              <a:avLst/>
              <a:gdLst>
                <a:gd name="T0" fmla="*/ 2 w 24"/>
                <a:gd name="T1" fmla="*/ 19 h 19"/>
                <a:gd name="T2" fmla="*/ 1 w 24"/>
                <a:gd name="T3" fmla="*/ 18 h 19"/>
                <a:gd name="T4" fmla="*/ 0 w 24"/>
                <a:gd name="T5" fmla="*/ 16 h 19"/>
                <a:gd name="T6" fmla="*/ 22 w 24"/>
                <a:gd name="T7" fmla="*/ 0 h 19"/>
                <a:gd name="T8" fmla="*/ 24 w 24"/>
                <a:gd name="T9" fmla="*/ 1 h 19"/>
                <a:gd name="T10" fmla="*/ 23 w 24"/>
                <a:gd name="T11" fmla="*/ 4 h 19"/>
                <a:gd name="T12" fmla="*/ 4 w 24"/>
                <a:gd name="T13" fmla="*/ 18 h 19"/>
                <a:gd name="T14" fmla="*/ 2 w 24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9">
                  <a:moveTo>
                    <a:pt x="2" y="19"/>
                  </a:moveTo>
                  <a:cubicBezTo>
                    <a:pt x="2" y="19"/>
                    <a:pt x="1" y="19"/>
                    <a:pt x="1" y="18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1" y="15"/>
                    <a:pt x="8" y="4"/>
                    <a:pt x="22" y="0"/>
                  </a:cubicBezTo>
                  <a:cubicBezTo>
                    <a:pt x="23" y="0"/>
                    <a:pt x="24" y="0"/>
                    <a:pt x="24" y="1"/>
                  </a:cubicBezTo>
                  <a:cubicBezTo>
                    <a:pt x="24" y="2"/>
                    <a:pt x="24" y="3"/>
                    <a:pt x="23" y="4"/>
                  </a:cubicBezTo>
                  <a:cubicBezTo>
                    <a:pt x="10" y="7"/>
                    <a:pt x="4" y="18"/>
                    <a:pt x="4" y="18"/>
                  </a:cubicBezTo>
                  <a:cubicBezTo>
                    <a:pt x="3" y="18"/>
                    <a:pt x="3" y="19"/>
                    <a:pt x="2" y="19"/>
                  </a:cubicBezTo>
                  <a:close/>
                </a:path>
              </a:pathLst>
            </a:custGeom>
            <a:solidFill>
              <a:srgbClr val="00A5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îṥḷîḍe">
              <a:extLst>
                <a:ext uri="{FF2B5EF4-FFF2-40B4-BE49-F238E27FC236}">
                  <a16:creationId xmlns:a16="http://schemas.microsoft.com/office/drawing/2014/main" id="{DE833202-EC2C-403C-86C8-C755B9EDBBCC}"/>
                </a:ext>
              </a:extLst>
            </p:cNvPr>
            <p:cNvSpPr/>
            <p:nvPr/>
          </p:nvSpPr>
          <p:spPr bwMode="auto">
            <a:xfrm>
              <a:off x="4484689" y="4192588"/>
              <a:ext cx="652463" cy="895350"/>
            </a:xfrm>
            <a:custGeom>
              <a:avLst/>
              <a:gdLst>
                <a:gd name="T0" fmla="*/ 141 w 166"/>
                <a:gd name="T1" fmla="*/ 165 h 228"/>
                <a:gd name="T2" fmla="*/ 146 w 166"/>
                <a:gd name="T3" fmla="*/ 81 h 228"/>
                <a:gd name="T4" fmla="*/ 87 w 166"/>
                <a:gd name="T5" fmla="*/ 17 h 228"/>
                <a:gd name="T6" fmla="*/ 66 w 166"/>
                <a:gd name="T7" fmla="*/ 11 h 228"/>
                <a:gd name="T8" fmla="*/ 59 w 166"/>
                <a:gd name="T9" fmla="*/ 18 h 228"/>
                <a:gd name="T10" fmla="*/ 22 w 166"/>
                <a:gd name="T11" fmla="*/ 7 h 228"/>
                <a:gd name="T12" fmla="*/ 31 w 166"/>
                <a:gd name="T13" fmla="*/ 120 h 228"/>
                <a:gd name="T14" fmla="*/ 35 w 166"/>
                <a:gd name="T15" fmla="*/ 228 h 228"/>
                <a:gd name="T16" fmla="*/ 75 w 166"/>
                <a:gd name="T17" fmla="*/ 214 h 228"/>
                <a:gd name="T18" fmla="*/ 50 w 166"/>
                <a:gd name="T19" fmla="*/ 209 h 228"/>
                <a:gd name="T20" fmla="*/ 66 w 166"/>
                <a:gd name="T21" fmla="*/ 119 h 228"/>
                <a:gd name="T22" fmla="*/ 65 w 166"/>
                <a:gd name="T23" fmla="*/ 64 h 228"/>
                <a:gd name="T24" fmla="*/ 65 w 166"/>
                <a:gd name="T25" fmla="*/ 61 h 228"/>
                <a:gd name="T26" fmla="*/ 118 w 166"/>
                <a:gd name="T27" fmla="*/ 96 h 228"/>
                <a:gd name="T28" fmla="*/ 129 w 166"/>
                <a:gd name="T29" fmla="*/ 183 h 228"/>
                <a:gd name="T30" fmla="*/ 166 w 166"/>
                <a:gd name="T31" fmla="*/ 170 h 228"/>
                <a:gd name="T32" fmla="*/ 141 w 166"/>
                <a:gd name="T33" fmla="*/ 16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228">
                  <a:moveTo>
                    <a:pt x="141" y="165"/>
                  </a:moveTo>
                  <a:cubicBezTo>
                    <a:pt x="141" y="165"/>
                    <a:pt x="146" y="95"/>
                    <a:pt x="146" y="81"/>
                  </a:cubicBezTo>
                  <a:cubicBezTo>
                    <a:pt x="130" y="42"/>
                    <a:pt x="87" y="17"/>
                    <a:pt x="87" y="17"/>
                  </a:cubicBezTo>
                  <a:cubicBezTo>
                    <a:pt x="87" y="17"/>
                    <a:pt x="74" y="7"/>
                    <a:pt x="66" y="11"/>
                  </a:cubicBezTo>
                  <a:cubicBezTo>
                    <a:pt x="63" y="13"/>
                    <a:pt x="61" y="15"/>
                    <a:pt x="59" y="18"/>
                  </a:cubicBezTo>
                  <a:cubicBezTo>
                    <a:pt x="53" y="7"/>
                    <a:pt x="42" y="0"/>
                    <a:pt x="22" y="7"/>
                  </a:cubicBezTo>
                  <a:cubicBezTo>
                    <a:pt x="22" y="7"/>
                    <a:pt x="0" y="44"/>
                    <a:pt x="31" y="120"/>
                  </a:cubicBezTo>
                  <a:cubicBezTo>
                    <a:pt x="36" y="135"/>
                    <a:pt x="35" y="228"/>
                    <a:pt x="35" y="228"/>
                  </a:cubicBezTo>
                  <a:cubicBezTo>
                    <a:pt x="75" y="214"/>
                    <a:pt x="75" y="214"/>
                    <a:pt x="75" y="214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50" y="209"/>
                    <a:pt x="63" y="137"/>
                    <a:pt x="66" y="119"/>
                  </a:cubicBezTo>
                  <a:cubicBezTo>
                    <a:pt x="69" y="102"/>
                    <a:pt x="65" y="64"/>
                    <a:pt x="65" y="64"/>
                  </a:cubicBezTo>
                  <a:cubicBezTo>
                    <a:pt x="65" y="64"/>
                    <a:pt x="65" y="63"/>
                    <a:pt x="65" y="61"/>
                  </a:cubicBezTo>
                  <a:cubicBezTo>
                    <a:pt x="83" y="81"/>
                    <a:pt x="118" y="96"/>
                    <a:pt x="118" y="96"/>
                  </a:cubicBezTo>
                  <a:cubicBezTo>
                    <a:pt x="129" y="183"/>
                    <a:pt x="129" y="183"/>
                    <a:pt x="129" y="183"/>
                  </a:cubicBezTo>
                  <a:cubicBezTo>
                    <a:pt x="166" y="170"/>
                    <a:pt x="166" y="170"/>
                    <a:pt x="166" y="170"/>
                  </a:cubicBezTo>
                  <a:cubicBezTo>
                    <a:pt x="141" y="165"/>
                    <a:pt x="141" y="165"/>
                    <a:pt x="141" y="165"/>
                  </a:cubicBezTo>
                </a:path>
              </a:pathLst>
            </a:custGeom>
            <a:solidFill>
              <a:srgbClr val="790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îśļïdê">
              <a:extLst>
                <a:ext uri="{FF2B5EF4-FFF2-40B4-BE49-F238E27FC236}">
                  <a16:creationId xmlns:a16="http://schemas.microsoft.com/office/drawing/2014/main" id="{6D500256-CFAB-4501-AEEE-9B6537E2D79A}"/>
                </a:ext>
              </a:extLst>
            </p:cNvPr>
            <p:cNvSpPr/>
            <p:nvPr/>
          </p:nvSpPr>
          <p:spPr bwMode="auto">
            <a:xfrm>
              <a:off x="4948239" y="4570413"/>
              <a:ext cx="34925" cy="290513"/>
            </a:xfrm>
            <a:custGeom>
              <a:avLst/>
              <a:gdLst>
                <a:gd name="T0" fmla="*/ 0 w 9"/>
                <a:gd name="T1" fmla="*/ 0 h 74"/>
                <a:gd name="T2" fmla="*/ 9 w 9"/>
                <a:gd name="T3" fmla="*/ 74 h 74"/>
                <a:gd name="T4" fmla="*/ 9 w 9"/>
                <a:gd name="T5" fmla="*/ 74 h 74"/>
                <a:gd name="T6" fmla="*/ 0 w 9"/>
                <a:gd name="T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4">
                  <a:moveTo>
                    <a:pt x="0" y="0"/>
                  </a:move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72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ïsļïḑe">
              <a:extLst>
                <a:ext uri="{FF2B5EF4-FFF2-40B4-BE49-F238E27FC236}">
                  <a16:creationId xmlns:a16="http://schemas.microsoft.com/office/drawing/2014/main" id="{DB2C5DFC-E663-43AD-8673-C195625063EF}"/>
                </a:ext>
              </a:extLst>
            </p:cNvPr>
            <p:cNvSpPr/>
            <p:nvPr/>
          </p:nvSpPr>
          <p:spPr bwMode="auto">
            <a:xfrm>
              <a:off x="4743451" y="4437063"/>
              <a:ext cx="260350" cy="423863"/>
            </a:xfrm>
            <a:custGeom>
              <a:avLst/>
              <a:gdLst>
                <a:gd name="T0" fmla="*/ 0 w 66"/>
                <a:gd name="T1" fmla="*/ 0 h 108"/>
                <a:gd name="T2" fmla="*/ 52 w 66"/>
                <a:gd name="T3" fmla="*/ 34 h 108"/>
                <a:gd name="T4" fmla="*/ 52 w 66"/>
                <a:gd name="T5" fmla="*/ 34 h 108"/>
                <a:gd name="T6" fmla="*/ 61 w 66"/>
                <a:gd name="T7" fmla="*/ 108 h 108"/>
                <a:gd name="T8" fmla="*/ 66 w 66"/>
                <a:gd name="T9" fmla="*/ 107 h 108"/>
                <a:gd name="T10" fmla="*/ 62 w 66"/>
                <a:gd name="T11" fmla="*/ 40 h 108"/>
                <a:gd name="T12" fmla="*/ 62 w 66"/>
                <a:gd name="T13" fmla="*/ 40 h 108"/>
                <a:gd name="T14" fmla="*/ 62 w 66"/>
                <a:gd name="T15" fmla="*/ 36 h 108"/>
                <a:gd name="T16" fmla="*/ 62 w 66"/>
                <a:gd name="T17" fmla="*/ 36 h 108"/>
                <a:gd name="T18" fmla="*/ 61 w 66"/>
                <a:gd name="T19" fmla="*/ 28 h 108"/>
                <a:gd name="T20" fmla="*/ 61 w 66"/>
                <a:gd name="T21" fmla="*/ 28 h 108"/>
                <a:gd name="T22" fmla="*/ 61 w 66"/>
                <a:gd name="T23" fmla="*/ 27 h 108"/>
                <a:gd name="T24" fmla="*/ 19 w 66"/>
                <a:gd name="T25" fmla="*/ 8 h 108"/>
                <a:gd name="T26" fmla="*/ 18 w 66"/>
                <a:gd name="T27" fmla="*/ 7 h 108"/>
                <a:gd name="T28" fmla="*/ 18 w 66"/>
                <a:gd name="T29" fmla="*/ 7 h 108"/>
                <a:gd name="T30" fmla="*/ 12 w 66"/>
                <a:gd name="T31" fmla="*/ 4 h 108"/>
                <a:gd name="T32" fmla="*/ 12 w 66"/>
                <a:gd name="T33" fmla="*/ 5 h 108"/>
                <a:gd name="T34" fmla="*/ 11 w 66"/>
                <a:gd name="T35" fmla="*/ 4 h 108"/>
                <a:gd name="T36" fmla="*/ 8 w 66"/>
                <a:gd name="T37" fmla="*/ 3 h 108"/>
                <a:gd name="T38" fmla="*/ 8 w 66"/>
                <a:gd name="T39" fmla="*/ 3 h 108"/>
                <a:gd name="T40" fmla="*/ 2 w 66"/>
                <a:gd name="T41" fmla="*/ 0 h 108"/>
                <a:gd name="T42" fmla="*/ 1 w 66"/>
                <a:gd name="T43" fmla="*/ 0 h 108"/>
                <a:gd name="T44" fmla="*/ 1 w 66"/>
                <a:gd name="T45" fmla="*/ 0 h 108"/>
                <a:gd name="T46" fmla="*/ 0 w 66"/>
                <a:gd name="T4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6" h="108">
                  <a:moveTo>
                    <a:pt x="0" y="0"/>
                  </a:moveTo>
                  <a:cubicBezTo>
                    <a:pt x="18" y="20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61" y="108"/>
                    <a:pt x="61" y="108"/>
                    <a:pt x="61" y="108"/>
                  </a:cubicBezTo>
                  <a:cubicBezTo>
                    <a:pt x="63" y="108"/>
                    <a:pt x="64" y="107"/>
                    <a:pt x="66" y="107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ṡļîḍê">
              <a:extLst>
                <a:ext uri="{FF2B5EF4-FFF2-40B4-BE49-F238E27FC236}">
                  <a16:creationId xmlns:a16="http://schemas.microsoft.com/office/drawing/2014/main" id="{5F89D73A-DAEB-4EC6-8E17-937C606C2B9D}"/>
                </a:ext>
              </a:extLst>
            </p:cNvPr>
            <p:cNvSpPr/>
            <p:nvPr/>
          </p:nvSpPr>
          <p:spPr bwMode="auto">
            <a:xfrm>
              <a:off x="4983164" y="4864101"/>
              <a:ext cx="4763" cy="7938"/>
            </a:xfrm>
            <a:custGeom>
              <a:avLst/>
              <a:gdLst>
                <a:gd name="T0" fmla="*/ 0 w 3"/>
                <a:gd name="T1" fmla="*/ 0 h 5"/>
                <a:gd name="T2" fmla="*/ 3 w 3"/>
                <a:gd name="T3" fmla="*/ 5 h 5"/>
                <a:gd name="T4" fmla="*/ 3 w 3"/>
                <a:gd name="T5" fmla="*/ 5 h 5"/>
                <a:gd name="T6" fmla="*/ 0 w 3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0"/>
                  </a:moveTo>
                  <a:lnTo>
                    <a:pt x="3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2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íṩļïḋè">
              <a:extLst>
                <a:ext uri="{FF2B5EF4-FFF2-40B4-BE49-F238E27FC236}">
                  <a16:creationId xmlns:a16="http://schemas.microsoft.com/office/drawing/2014/main" id="{6AC0643B-05EA-4B3A-B1A2-FAF9EFEBA958}"/>
                </a:ext>
              </a:extLst>
            </p:cNvPr>
            <p:cNvSpPr/>
            <p:nvPr/>
          </p:nvSpPr>
          <p:spPr bwMode="auto">
            <a:xfrm>
              <a:off x="4983164" y="4864101"/>
              <a:ext cx="4763" cy="7938"/>
            </a:xfrm>
            <a:custGeom>
              <a:avLst/>
              <a:gdLst>
                <a:gd name="T0" fmla="*/ 0 w 3"/>
                <a:gd name="T1" fmla="*/ 0 h 5"/>
                <a:gd name="T2" fmla="*/ 3 w 3"/>
                <a:gd name="T3" fmla="*/ 5 h 5"/>
                <a:gd name="T4" fmla="*/ 3 w 3"/>
                <a:gd name="T5" fmla="*/ 5 h 5"/>
                <a:gd name="T6" fmla="*/ 0 w 3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0"/>
                  </a:moveTo>
                  <a:lnTo>
                    <a:pt x="3" y="5"/>
                  </a:lnTo>
                  <a:lnTo>
                    <a:pt x="3" y="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ïṥ1îḋê">
              <a:extLst>
                <a:ext uri="{FF2B5EF4-FFF2-40B4-BE49-F238E27FC236}">
                  <a16:creationId xmlns:a16="http://schemas.microsoft.com/office/drawing/2014/main" id="{573CC265-CFD3-40F2-BECC-D1C1F2DD2F9F}"/>
                </a:ext>
              </a:extLst>
            </p:cNvPr>
            <p:cNvSpPr/>
            <p:nvPr/>
          </p:nvSpPr>
          <p:spPr bwMode="auto">
            <a:xfrm>
              <a:off x="4987926" y="4872038"/>
              <a:ext cx="1588" cy="7938"/>
            </a:xfrm>
            <a:prstGeom prst="rect">
              <a:avLst/>
            </a:prstGeom>
            <a:solidFill>
              <a:srgbClr val="BC3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iṧľîḑe">
              <a:extLst>
                <a:ext uri="{FF2B5EF4-FFF2-40B4-BE49-F238E27FC236}">
                  <a16:creationId xmlns:a16="http://schemas.microsoft.com/office/drawing/2014/main" id="{151B7CB8-355A-483E-9C30-91D9DBA3A493}"/>
                </a:ext>
              </a:extLst>
            </p:cNvPr>
            <p:cNvSpPr/>
            <p:nvPr/>
          </p:nvSpPr>
          <p:spPr bwMode="auto">
            <a:xfrm>
              <a:off x="4987926" y="4872038"/>
              <a:ext cx="1588" cy="7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íṣḷiḑè">
              <a:extLst>
                <a:ext uri="{FF2B5EF4-FFF2-40B4-BE49-F238E27FC236}">
                  <a16:creationId xmlns:a16="http://schemas.microsoft.com/office/drawing/2014/main" id="{AFACA107-3882-405D-AB9B-A3B8118040E9}"/>
                </a:ext>
              </a:extLst>
            </p:cNvPr>
            <p:cNvSpPr/>
            <p:nvPr/>
          </p:nvSpPr>
          <p:spPr bwMode="auto">
            <a:xfrm>
              <a:off x="4983164" y="4840288"/>
              <a:ext cx="153988" cy="71438"/>
            </a:xfrm>
            <a:custGeom>
              <a:avLst/>
              <a:gdLst>
                <a:gd name="T0" fmla="*/ 14 w 39"/>
                <a:gd name="T1" fmla="*/ 0 h 18"/>
                <a:gd name="T2" fmla="*/ 0 w 39"/>
                <a:gd name="T3" fmla="*/ 5 h 18"/>
                <a:gd name="T4" fmla="*/ 2 w 39"/>
                <a:gd name="T5" fmla="*/ 18 h 18"/>
                <a:gd name="T6" fmla="*/ 39 w 39"/>
                <a:gd name="T7" fmla="*/ 5 h 18"/>
                <a:gd name="T8" fmla="*/ 14 w 39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8">
                  <a:moveTo>
                    <a:pt x="14" y="0"/>
                  </a:moveTo>
                  <a:cubicBezTo>
                    <a:pt x="14" y="0"/>
                    <a:pt x="7" y="4"/>
                    <a:pt x="0" y="5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3C24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ïṩļïďê">
              <a:extLst>
                <a:ext uri="{FF2B5EF4-FFF2-40B4-BE49-F238E27FC236}">
                  <a16:creationId xmlns:a16="http://schemas.microsoft.com/office/drawing/2014/main" id="{4A36011E-7094-4D36-90EB-BA224064D44E}"/>
                </a:ext>
              </a:extLst>
            </p:cNvPr>
            <p:cNvSpPr/>
            <p:nvPr/>
          </p:nvSpPr>
          <p:spPr bwMode="auto">
            <a:xfrm>
              <a:off x="4660901" y="4432301"/>
              <a:ext cx="87313" cy="596900"/>
            </a:xfrm>
            <a:custGeom>
              <a:avLst/>
              <a:gdLst>
                <a:gd name="T0" fmla="*/ 20 w 22"/>
                <a:gd name="T1" fmla="*/ 0 h 152"/>
                <a:gd name="T2" fmla="*/ 14 w 22"/>
                <a:gd name="T3" fmla="*/ 64 h 152"/>
                <a:gd name="T4" fmla="*/ 0 w 22"/>
                <a:gd name="T5" fmla="*/ 151 h 152"/>
                <a:gd name="T6" fmla="*/ 8 w 22"/>
                <a:gd name="T7" fmla="*/ 152 h 152"/>
                <a:gd name="T8" fmla="*/ 19 w 22"/>
                <a:gd name="T9" fmla="*/ 151 h 152"/>
                <a:gd name="T10" fmla="*/ 5 w 22"/>
                <a:gd name="T11" fmla="*/ 148 h 152"/>
                <a:gd name="T12" fmla="*/ 5 w 22"/>
                <a:gd name="T13" fmla="*/ 148 h 152"/>
                <a:gd name="T14" fmla="*/ 21 w 22"/>
                <a:gd name="T15" fmla="*/ 58 h 152"/>
                <a:gd name="T16" fmla="*/ 22 w 22"/>
                <a:gd name="T17" fmla="*/ 41 h 152"/>
                <a:gd name="T18" fmla="*/ 20 w 22"/>
                <a:gd name="T19" fmla="*/ 3 h 152"/>
                <a:gd name="T20" fmla="*/ 20 w 22"/>
                <a:gd name="T21" fmla="*/ 3 h 152"/>
                <a:gd name="T22" fmla="*/ 20 w 22"/>
                <a:gd name="T23" fmla="*/ 3 h 152"/>
                <a:gd name="T24" fmla="*/ 20 w 22"/>
                <a:gd name="T25" fmla="*/ 0 h 152"/>
                <a:gd name="T26" fmla="*/ 20 w 22"/>
                <a:gd name="T27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52">
                  <a:moveTo>
                    <a:pt x="20" y="0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4" y="152"/>
                    <a:pt x="8" y="152"/>
                  </a:cubicBezTo>
                  <a:cubicBezTo>
                    <a:pt x="12" y="152"/>
                    <a:pt x="17" y="151"/>
                    <a:pt x="19" y="15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5" y="148"/>
                    <a:pt x="18" y="76"/>
                    <a:pt x="21" y="58"/>
                  </a:cubicBezTo>
                  <a:cubicBezTo>
                    <a:pt x="22" y="54"/>
                    <a:pt x="22" y="48"/>
                    <a:pt x="22" y="41"/>
                  </a:cubicBezTo>
                  <a:cubicBezTo>
                    <a:pt x="22" y="24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2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îş1iḍê">
              <a:extLst>
                <a:ext uri="{FF2B5EF4-FFF2-40B4-BE49-F238E27FC236}">
                  <a16:creationId xmlns:a16="http://schemas.microsoft.com/office/drawing/2014/main" id="{8C96C1D4-8ADE-484F-A544-A1F32A917E7A}"/>
                </a:ext>
              </a:extLst>
            </p:cNvPr>
            <p:cNvSpPr/>
            <p:nvPr/>
          </p:nvSpPr>
          <p:spPr bwMode="auto">
            <a:xfrm>
              <a:off x="4622801" y="5013326"/>
              <a:ext cx="157163" cy="74613"/>
            </a:xfrm>
            <a:custGeom>
              <a:avLst/>
              <a:gdLst>
                <a:gd name="T0" fmla="*/ 15 w 40"/>
                <a:gd name="T1" fmla="*/ 0 h 19"/>
                <a:gd name="T2" fmla="*/ 0 w 40"/>
                <a:gd name="T3" fmla="*/ 5 h 19"/>
                <a:gd name="T4" fmla="*/ 0 w 40"/>
                <a:gd name="T5" fmla="*/ 19 h 19"/>
                <a:gd name="T6" fmla="*/ 40 w 40"/>
                <a:gd name="T7" fmla="*/ 5 h 19"/>
                <a:gd name="T8" fmla="*/ 15 w 40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9">
                  <a:moveTo>
                    <a:pt x="15" y="0"/>
                  </a:moveTo>
                  <a:cubicBezTo>
                    <a:pt x="15" y="0"/>
                    <a:pt x="7" y="5"/>
                    <a:pt x="0" y="5"/>
                  </a:cubicBezTo>
                  <a:cubicBezTo>
                    <a:pt x="0" y="14"/>
                    <a:pt x="0" y="19"/>
                    <a:pt x="0" y="19"/>
                  </a:cubicBezTo>
                  <a:cubicBezTo>
                    <a:pt x="40" y="5"/>
                    <a:pt x="40" y="5"/>
                    <a:pt x="40" y="5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3C24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îŝ1idé">
              <a:extLst>
                <a:ext uri="{FF2B5EF4-FFF2-40B4-BE49-F238E27FC236}">
                  <a16:creationId xmlns:a16="http://schemas.microsoft.com/office/drawing/2014/main" id="{83BE9514-C23F-4832-B9B4-59AF068E60D0}"/>
                </a:ext>
              </a:extLst>
            </p:cNvPr>
            <p:cNvSpPr/>
            <p:nvPr/>
          </p:nvSpPr>
          <p:spPr bwMode="auto">
            <a:xfrm>
              <a:off x="4540251" y="4221163"/>
              <a:ext cx="120650" cy="442913"/>
            </a:xfrm>
            <a:custGeom>
              <a:avLst/>
              <a:gdLst>
                <a:gd name="T0" fmla="*/ 8 w 31"/>
                <a:gd name="T1" fmla="*/ 0 h 113"/>
                <a:gd name="T2" fmla="*/ 8 w 31"/>
                <a:gd name="T3" fmla="*/ 0 h 113"/>
                <a:gd name="T4" fmla="*/ 8 w 31"/>
                <a:gd name="T5" fmla="*/ 0 h 113"/>
                <a:gd name="T6" fmla="*/ 0 w 31"/>
                <a:gd name="T7" fmla="*/ 38 h 113"/>
                <a:gd name="T8" fmla="*/ 17 w 31"/>
                <a:gd name="T9" fmla="*/ 113 h 113"/>
                <a:gd name="T10" fmla="*/ 12 w 31"/>
                <a:gd name="T11" fmla="*/ 65 h 113"/>
                <a:gd name="T12" fmla="*/ 20 w 31"/>
                <a:gd name="T13" fmla="*/ 29 h 113"/>
                <a:gd name="T14" fmla="*/ 31 w 31"/>
                <a:gd name="T15" fmla="*/ 13 h 113"/>
                <a:gd name="T16" fmla="*/ 9 w 31"/>
                <a:gd name="T17" fmla="*/ 1 h 113"/>
                <a:gd name="T18" fmla="*/ 9 w 31"/>
                <a:gd name="T19" fmla="*/ 1 h 113"/>
                <a:gd name="T20" fmla="*/ 8 w 31"/>
                <a:gd name="T21" fmla="*/ 1 h 113"/>
                <a:gd name="T22" fmla="*/ 8 w 31"/>
                <a:gd name="T23" fmla="*/ 1 h 113"/>
                <a:gd name="T24" fmla="*/ 8 w 31"/>
                <a:gd name="T25" fmla="*/ 1 h 113"/>
                <a:gd name="T26" fmla="*/ 8 w 31"/>
                <a:gd name="T27" fmla="*/ 1 h 113"/>
                <a:gd name="T28" fmla="*/ 8 w 31"/>
                <a:gd name="T29" fmla="*/ 1 h 113"/>
                <a:gd name="T30" fmla="*/ 8 w 31"/>
                <a:gd name="T31" fmla="*/ 1 h 113"/>
                <a:gd name="T32" fmla="*/ 8 w 31"/>
                <a:gd name="T33" fmla="*/ 1 h 113"/>
                <a:gd name="T34" fmla="*/ 8 w 31"/>
                <a:gd name="T35" fmla="*/ 1 h 113"/>
                <a:gd name="T36" fmla="*/ 8 w 31"/>
                <a:gd name="T37" fmla="*/ 1 h 113"/>
                <a:gd name="T38" fmla="*/ 8 w 31"/>
                <a:gd name="T39" fmla="*/ 1 h 113"/>
                <a:gd name="T40" fmla="*/ 8 w 31"/>
                <a:gd name="T41" fmla="*/ 1 h 113"/>
                <a:gd name="T42" fmla="*/ 8 w 31"/>
                <a:gd name="T43" fmla="*/ 1 h 113"/>
                <a:gd name="T44" fmla="*/ 8 w 31"/>
                <a:gd name="T45" fmla="*/ 1 h 113"/>
                <a:gd name="T46" fmla="*/ 8 w 31"/>
                <a:gd name="T47" fmla="*/ 1 h 113"/>
                <a:gd name="T48" fmla="*/ 8 w 31"/>
                <a:gd name="T49" fmla="*/ 1 h 113"/>
                <a:gd name="T50" fmla="*/ 8 w 31"/>
                <a:gd name="T51" fmla="*/ 0 h 113"/>
                <a:gd name="T52" fmla="*/ 8 w 31"/>
                <a:gd name="T53" fmla="*/ 0 h 113"/>
                <a:gd name="T54" fmla="*/ 8 w 31"/>
                <a:gd name="T55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" h="113"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13"/>
                    <a:pt x="0" y="38"/>
                  </a:cubicBezTo>
                  <a:cubicBezTo>
                    <a:pt x="0" y="57"/>
                    <a:pt x="4" y="81"/>
                    <a:pt x="17" y="113"/>
                  </a:cubicBezTo>
                  <a:cubicBezTo>
                    <a:pt x="18" y="104"/>
                    <a:pt x="15" y="82"/>
                    <a:pt x="12" y="65"/>
                  </a:cubicBezTo>
                  <a:cubicBezTo>
                    <a:pt x="9" y="52"/>
                    <a:pt x="12" y="39"/>
                    <a:pt x="20" y="29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23" y="11"/>
                    <a:pt x="15" y="8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îsḷîďê">
              <a:extLst>
                <a:ext uri="{FF2B5EF4-FFF2-40B4-BE49-F238E27FC236}">
                  <a16:creationId xmlns:a16="http://schemas.microsoft.com/office/drawing/2014/main" id="{757A9D60-EC51-434E-951E-2198ACDC2919}"/>
                </a:ext>
              </a:extLst>
            </p:cNvPr>
            <p:cNvSpPr/>
            <p:nvPr/>
          </p:nvSpPr>
          <p:spPr bwMode="auto">
            <a:xfrm>
              <a:off x="4822826" y="3917951"/>
              <a:ext cx="428625" cy="266700"/>
            </a:xfrm>
            <a:custGeom>
              <a:avLst/>
              <a:gdLst>
                <a:gd name="T0" fmla="*/ 9 w 109"/>
                <a:gd name="T1" fmla="*/ 0 h 68"/>
                <a:gd name="T2" fmla="*/ 49 w 109"/>
                <a:gd name="T3" fmla="*/ 29 h 68"/>
                <a:gd name="T4" fmla="*/ 107 w 109"/>
                <a:gd name="T5" fmla="*/ 54 h 68"/>
                <a:gd name="T6" fmla="*/ 105 w 109"/>
                <a:gd name="T7" fmla="*/ 68 h 68"/>
                <a:gd name="T8" fmla="*/ 45 w 109"/>
                <a:gd name="T9" fmla="*/ 58 h 68"/>
                <a:gd name="T10" fmla="*/ 5 w 109"/>
                <a:gd name="T11" fmla="*/ 34 h 68"/>
                <a:gd name="T12" fmla="*/ 9 w 109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68">
                  <a:moveTo>
                    <a:pt x="9" y="0"/>
                  </a:moveTo>
                  <a:cubicBezTo>
                    <a:pt x="9" y="0"/>
                    <a:pt x="30" y="12"/>
                    <a:pt x="49" y="29"/>
                  </a:cubicBezTo>
                  <a:cubicBezTo>
                    <a:pt x="67" y="45"/>
                    <a:pt x="107" y="54"/>
                    <a:pt x="107" y="54"/>
                  </a:cubicBezTo>
                  <a:cubicBezTo>
                    <a:pt x="107" y="54"/>
                    <a:pt x="109" y="67"/>
                    <a:pt x="105" y="68"/>
                  </a:cubicBezTo>
                  <a:cubicBezTo>
                    <a:pt x="101" y="68"/>
                    <a:pt x="45" y="58"/>
                    <a:pt x="45" y="58"/>
                  </a:cubicBezTo>
                  <a:cubicBezTo>
                    <a:pt x="45" y="58"/>
                    <a:pt x="12" y="45"/>
                    <a:pt x="5" y="34"/>
                  </a:cubicBezTo>
                  <a:cubicBezTo>
                    <a:pt x="1" y="27"/>
                    <a:pt x="0" y="5"/>
                    <a:pt x="9" y="0"/>
                  </a:cubicBezTo>
                </a:path>
              </a:pathLst>
            </a:custGeom>
            <a:solidFill>
              <a:srgbClr val="CFB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îşḻîḋê">
              <a:extLst>
                <a:ext uri="{FF2B5EF4-FFF2-40B4-BE49-F238E27FC236}">
                  <a16:creationId xmlns:a16="http://schemas.microsoft.com/office/drawing/2014/main" id="{0459831A-70CE-4EDD-ACFB-C4901982561F}"/>
                </a:ext>
              </a:extLst>
            </p:cNvPr>
            <p:cNvSpPr/>
            <p:nvPr/>
          </p:nvSpPr>
          <p:spPr bwMode="auto">
            <a:xfrm>
              <a:off x="5227638" y="4090988"/>
              <a:ext cx="173038" cy="101600"/>
            </a:xfrm>
            <a:custGeom>
              <a:avLst/>
              <a:gdLst>
                <a:gd name="T0" fmla="*/ 4 w 44"/>
                <a:gd name="T1" fmla="*/ 10 h 26"/>
                <a:gd name="T2" fmla="*/ 23 w 44"/>
                <a:gd name="T3" fmla="*/ 0 h 26"/>
                <a:gd name="T4" fmla="*/ 18 w 44"/>
                <a:gd name="T5" fmla="*/ 11 h 26"/>
                <a:gd name="T6" fmla="*/ 44 w 44"/>
                <a:gd name="T7" fmla="*/ 16 h 26"/>
                <a:gd name="T8" fmla="*/ 28 w 44"/>
                <a:gd name="T9" fmla="*/ 26 h 26"/>
                <a:gd name="T10" fmla="*/ 2 w 44"/>
                <a:gd name="T11" fmla="*/ 24 h 26"/>
                <a:gd name="T12" fmla="*/ 4 w 44"/>
                <a:gd name="T13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26">
                  <a:moveTo>
                    <a:pt x="4" y="1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6"/>
                    <a:pt x="33" y="26"/>
                    <a:pt x="28" y="26"/>
                  </a:cubicBezTo>
                  <a:cubicBezTo>
                    <a:pt x="23" y="26"/>
                    <a:pt x="2" y="24"/>
                    <a:pt x="2" y="24"/>
                  </a:cubicBezTo>
                  <a:cubicBezTo>
                    <a:pt x="2" y="24"/>
                    <a:pt x="0" y="13"/>
                    <a:pt x="4" y="10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ïsḷidé">
              <a:extLst>
                <a:ext uri="{FF2B5EF4-FFF2-40B4-BE49-F238E27FC236}">
                  <a16:creationId xmlns:a16="http://schemas.microsoft.com/office/drawing/2014/main" id="{C19251D7-6FD9-4439-B930-157C924762F0}"/>
                </a:ext>
              </a:extLst>
            </p:cNvPr>
            <p:cNvSpPr/>
            <p:nvPr/>
          </p:nvSpPr>
          <p:spPr bwMode="auto">
            <a:xfrm>
              <a:off x="4857751" y="3917951"/>
              <a:ext cx="279400" cy="250825"/>
            </a:xfrm>
            <a:custGeom>
              <a:avLst/>
              <a:gdLst>
                <a:gd name="T0" fmla="*/ 0 w 71"/>
                <a:gd name="T1" fmla="*/ 0 h 64"/>
                <a:gd name="T2" fmla="*/ 1 w 71"/>
                <a:gd name="T3" fmla="*/ 39 h 64"/>
                <a:gd name="T4" fmla="*/ 36 w 71"/>
                <a:gd name="T5" fmla="*/ 58 h 64"/>
                <a:gd name="T6" fmla="*/ 71 w 71"/>
                <a:gd name="T7" fmla="*/ 64 h 64"/>
                <a:gd name="T8" fmla="*/ 41 w 71"/>
                <a:gd name="T9" fmla="*/ 54 h 64"/>
                <a:gd name="T10" fmla="*/ 25 w 71"/>
                <a:gd name="T11" fmla="*/ 46 h 64"/>
                <a:gd name="T12" fmla="*/ 11 w 71"/>
                <a:gd name="T13" fmla="*/ 22 h 64"/>
                <a:gd name="T14" fmla="*/ 9 w 71"/>
                <a:gd name="T15" fmla="*/ 5 h 64"/>
                <a:gd name="T16" fmla="*/ 0 w 71"/>
                <a:gd name="T1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64">
                  <a:moveTo>
                    <a:pt x="0" y="0"/>
                  </a:moveTo>
                  <a:cubicBezTo>
                    <a:pt x="7" y="6"/>
                    <a:pt x="6" y="24"/>
                    <a:pt x="1" y="39"/>
                  </a:cubicBezTo>
                  <a:cubicBezTo>
                    <a:pt x="13" y="49"/>
                    <a:pt x="36" y="58"/>
                    <a:pt x="36" y="58"/>
                  </a:cubicBezTo>
                  <a:cubicBezTo>
                    <a:pt x="36" y="58"/>
                    <a:pt x="54" y="61"/>
                    <a:pt x="71" y="64"/>
                  </a:cubicBezTo>
                  <a:cubicBezTo>
                    <a:pt x="71" y="64"/>
                    <a:pt x="53" y="58"/>
                    <a:pt x="41" y="54"/>
                  </a:cubicBezTo>
                  <a:cubicBezTo>
                    <a:pt x="36" y="52"/>
                    <a:pt x="30" y="49"/>
                    <a:pt x="25" y="46"/>
                  </a:cubicBezTo>
                  <a:cubicBezTo>
                    <a:pt x="16" y="41"/>
                    <a:pt x="11" y="32"/>
                    <a:pt x="11" y="22"/>
                  </a:cubicBezTo>
                  <a:cubicBezTo>
                    <a:pt x="11" y="16"/>
                    <a:pt x="10" y="10"/>
                    <a:pt x="9" y="5"/>
                  </a:cubicBezTo>
                  <a:cubicBezTo>
                    <a:pt x="4" y="2"/>
                    <a:pt x="1" y="0"/>
                    <a:pt x="0" y="0"/>
                  </a:cubicBezTo>
                </a:path>
              </a:pathLst>
            </a:custGeom>
            <a:solidFill>
              <a:srgbClr val="BB9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šļídè">
              <a:extLst>
                <a:ext uri="{FF2B5EF4-FFF2-40B4-BE49-F238E27FC236}">
                  <a16:creationId xmlns:a16="http://schemas.microsoft.com/office/drawing/2014/main" id="{A84C2607-E68A-4CB6-99D1-DB5D28E07BBB}"/>
                </a:ext>
              </a:extLst>
            </p:cNvPr>
            <p:cNvSpPr/>
            <p:nvPr/>
          </p:nvSpPr>
          <p:spPr bwMode="auto">
            <a:xfrm>
              <a:off x="4572001" y="3886201"/>
              <a:ext cx="322263" cy="431800"/>
            </a:xfrm>
            <a:custGeom>
              <a:avLst/>
              <a:gdLst>
                <a:gd name="T0" fmla="*/ 29 w 82"/>
                <a:gd name="T1" fmla="*/ 1 h 110"/>
                <a:gd name="T2" fmla="*/ 73 w 82"/>
                <a:gd name="T3" fmla="*/ 8 h 110"/>
                <a:gd name="T4" fmla="*/ 66 w 82"/>
                <a:gd name="T5" fmla="*/ 62 h 110"/>
                <a:gd name="T6" fmla="*/ 65 w 82"/>
                <a:gd name="T7" fmla="*/ 95 h 110"/>
                <a:gd name="T8" fmla="*/ 0 w 82"/>
                <a:gd name="T9" fmla="*/ 86 h 110"/>
                <a:gd name="T10" fmla="*/ 29 w 82"/>
                <a:gd name="T11" fmla="*/ 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110">
                  <a:moveTo>
                    <a:pt x="29" y="1"/>
                  </a:moveTo>
                  <a:cubicBezTo>
                    <a:pt x="29" y="1"/>
                    <a:pt x="64" y="0"/>
                    <a:pt x="73" y="8"/>
                  </a:cubicBezTo>
                  <a:cubicBezTo>
                    <a:pt x="82" y="16"/>
                    <a:pt x="78" y="48"/>
                    <a:pt x="66" y="62"/>
                  </a:cubicBezTo>
                  <a:cubicBezTo>
                    <a:pt x="61" y="70"/>
                    <a:pt x="65" y="95"/>
                    <a:pt x="65" y="95"/>
                  </a:cubicBezTo>
                  <a:cubicBezTo>
                    <a:pt x="65" y="95"/>
                    <a:pt x="25" y="110"/>
                    <a:pt x="0" y="86"/>
                  </a:cubicBezTo>
                  <a:cubicBezTo>
                    <a:pt x="2" y="77"/>
                    <a:pt x="16" y="15"/>
                    <a:pt x="29" y="1"/>
                  </a:cubicBezTo>
                </a:path>
              </a:pathLst>
            </a:custGeom>
            <a:solidFill>
              <a:srgbClr val="CFB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ïsľídê">
              <a:extLst>
                <a:ext uri="{FF2B5EF4-FFF2-40B4-BE49-F238E27FC236}">
                  <a16:creationId xmlns:a16="http://schemas.microsoft.com/office/drawing/2014/main" id="{FAC7E196-21E1-44F6-A970-85B9F9830DA3}"/>
                </a:ext>
              </a:extLst>
            </p:cNvPr>
            <p:cNvSpPr/>
            <p:nvPr/>
          </p:nvSpPr>
          <p:spPr bwMode="auto">
            <a:xfrm>
              <a:off x="4740276" y="3848101"/>
              <a:ext cx="82550" cy="112713"/>
            </a:xfrm>
            <a:custGeom>
              <a:avLst/>
              <a:gdLst>
                <a:gd name="T0" fmla="*/ 5 w 21"/>
                <a:gd name="T1" fmla="*/ 2 h 29"/>
                <a:gd name="T2" fmla="*/ 0 w 21"/>
                <a:gd name="T3" fmla="*/ 21 h 29"/>
                <a:gd name="T4" fmla="*/ 11 w 21"/>
                <a:gd name="T5" fmla="*/ 29 h 29"/>
                <a:gd name="T6" fmla="*/ 21 w 21"/>
                <a:gd name="T7" fmla="*/ 22 h 29"/>
                <a:gd name="T8" fmla="*/ 17 w 21"/>
                <a:gd name="T9" fmla="*/ 1 h 29"/>
                <a:gd name="T10" fmla="*/ 5 w 21"/>
                <a:gd name="T11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9">
                  <a:moveTo>
                    <a:pt x="5" y="2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1" y="29"/>
                    <a:pt x="11" y="29"/>
                  </a:cubicBezTo>
                  <a:cubicBezTo>
                    <a:pt x="20" y="28"/>
                    <a:pt x="21" y="22"/>
                    <a:pt x="21" y="22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8" y="0"/>
                    <a:pt x="5" y="2"/>
                  </a:cubicBezTo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iśľiḍé">
              <a:extLst>
                <a:ext uri="{FF2B5EF4-FFF2-40B4-BE49-F238E27FC236}">
                  <a16:creationId xmlns:a16="http://schemas.microsoft.com/office/drawing/2014/main" id="{9899C5EA-D008-41E4-8C49-4D2912A4DB64}"/>
                </a:ext>
              </a:extLst>
            </p:cNvPr>
            <p:cNvSpPr/>
            <p:nvPr/>
          </p:nvSpPr>
          <p:spPr bwMode="auto">
            <a:xfrm>
              <a:off x="4748213" y="3851276"/>
              <a:ext cx="66675" cy="50800"/>
            </a:xfrm>
            <a:custGeom>
              <a:avLst/>
              <a:gdLst>
                <a:gd name="T0" fmla="*/ 10 w 17"/>
                <a:gd name="T1" fmla="*/ 0 h 13"/>
                <a:gd name="T2" fmla="*/ 3 w 17"/>
                <a:gd name="T3" fmla="*/ 1 h 13"/>
                <a:gd name="T4" fmla="*/ 3 w 17"/>
                <a:gd name="T5" fmla="*/ 1 h 13"/>
                <a:gd name="T6" fmla="*/ 0 w 17"/>
                <a:gd name="T7" fmla="*/ 12 h 13"/>
                <a:gd name="T8" fmla="*/ 2 w 17"/>
                <a:gd name="T9" fmla="*/ 13 h 13"/>
                <a:gd name="T10" fmla="*/ 17 w 17"/>
                <a:gd name="T11" fmla="*/ 7 h 13"/>
                <a:gd name="T12" fmla="*/ 15 w 17"/>
                <a:gd name="T13" fmla="*/ 0 h 13"/>
                <a:gd name="T14" fmla="*/ 10 w 17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3">
                  <a:moveTo>
                    <a:pt x="10" y="0"/>
                  </a:moveTo>
                  <a:cubicBezTo>
                    <a:pt x="7" y="0"/>
                    <a:pt x="4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12" y="13"/>
                    <a:pt x="17" y="7"/>
                    <a:pt x="17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3" y="0"/>
                    <a:pt x="10" y="0"/>
                  </a:cubicBezTo>
                </a:path>
              </a:pathLst>
            </a:custGeom>
            <a:solidFill>
              <a:srgbClr val="FFC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îsļîde">
              <a:extLst>
                <a:ext uri="{FF2B5EF4-FFF2-40B4-BE49-F238E27FC236}">
                  <a16:creationId xmlns:a16="http://schemas.microsoft.com/office/drawing/2014/main" id="{59E9B32D-014F-44E9-B1DF-BD6FB1C83C4E}"/>
                </a:ext>
              </a:extLst>
            </p:cNvPr>
            <p:cNvSpPr/>
            <p:nvPr/>
          </p:nvSpPr>
          <p:spPr bwMode="auto">
            <a:xfrm>
              <a:off x="4689476" y="3686176"/>
              <a:ext cx="165100" cy="192088"/>
            </a:xfrm>
            <a:custGeom>
              <a:avLst/>
              <a:gdLst>
                <a:gd name="T0" fmla="*/ 12 w 42"/>
                <a:gd name="T1" fmla="*/ 14 h 49"/>
                <a:gd name="T2" fmla="*/ 2 w 42"/>
                <a:gd name="T3" fmla="*/ 38 h 49"/>
                <a:gd name="T4" fmla="*/ 31 w 42"/>
                <a:gd name="T5" fmla="*/ 49 h 49"/>
                <a:gd name="T6" fmla="*/ 41 w 42"/>
                <a:gd name="T7" fmla="*/ 25 h 49"/>
                <a:gd name="T8" fmla="*/ 12 w 42"/>
                <a:gd name="T9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9">
                  <a:moveTo>
                    <a:pt x="12" y="14"/>
                  </a:moveTo>
                  <a:cubicBezTo>
                    <a:pt x="12" y="14"/>
                    <a:pt x="0" y="32"/>
                    <a:pt x="2" y="38"/>
                  </a:cubicBezTo>
                  <a:cubicBezTo>
                    <a:pt x="4" y="44"/>
                    <a:pt x="12" y="49"/>
                    <a:pt x="31" y="49"/>
                  </a:cubicBezTo>
                  <a:cubicBezTo>
                    <a:pt x="37" y="48"/>
                    <a:pt x="42" y="29"/>
                    <a:pt x="41" y="25"/>
                  </a:cubicBezTo>
                  <a:cubicBezTo>
                    <a:pt x="38" y="0"/>
                    <a:pt x="18" y="9"/>
                    <a:pt x="12" y="14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ïSḷide">
              <a:extLst>
                <a:ext uri="{FF2B5EF4-FFF2-40B4-BE49-F238E27FC236}">
                  <a16:creationId xmlns:a16="http://schemas.microsoft.com/office/drawing/2014/main" id="{E764F7E5-0C7A-493E-A0B9-1F09D7D1572A}"/>
                </a:ext>
              </a:extLst>
            </p:cNvPr>
            <p:cNvSpPr/>
            <p:nvPr/>
          </p:nvSpPr>
          <p:spPr bwMode="auto">
            <a:xfrm>
              <a:off x="4676776" y="3651251"/>
              <a:ext cx="247650" cy="211138"/>
            </a:xfrm>
            <a:custGeom>
              <a:avLst/>
              <a:gdLst>
                <a:gd name="T0" fmla="*/ 5 w 63"/>
                <a:gd name="T1" fmla="*/ 19 h 54"/>
                <a:gd name="T2" fmla="*/ 30 w 63"/>
                <a:gd name="T3" fmla="*/ 29 h 54"/>
                <a:gd name="T4" fmla="*/ 36 w 63"/>
                <a:gd name="T5" fmla="*/ 36 h 54"/>
                <a:gd name="T6" fmla="*/ 33 w 63"/>
                <a:gd name="T7" fmla="*/ 44 h 54"/>
                <a:gd name="T8" fmla="*/ 40 w 63"/>
                <a:gd name="T9" fmla="*/ 41 h 54"/>
                <a:gd name="T10" fmla="*/ 39 w 63"/>
                <a:gd name="T11" fmla="*/ 53 h 54"/>
                <a:gd name="T12" fmla="*/ 50 w 63"/>
                <a:gd name="T13" fmla="*/ 44 h 54"/>
                <a:gd name="T14" fmla="*/ 57 w 63"/>
                <a:gd name="T15" fmla="*/ 30 h 54"/>
                <a:gd name="T16" fmla="*/ 51 w 63"/>
                <a:gd name="T17" fmla="*/ 15 h 54"/>
                <a:gd name="T18" fmla="*/ 34 w 63"/>
                <a:gd name="T19" fmla="*/ 7 h 54"/>
                <a:gd name="T20" fmla="*/ 15 w 63"/>
                <a:gd name="T21" fmla="*/ 9 h 54"/>
                <a:gd name="T22" fmla="*/ 7 w 63"/>
                <a:gd name="T23" fmla="*/ 4 h 54"/>
                <a:gd name="T24" fmla="*/ 3 w 63"/>
                <a:gd name="T25" fmla="*/ 16 h 54"/>
                <a:gd name="T26" fmla="*/ 5 w 63"/>
                <a:gd name="T27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54">
                  <a:moveTo>
                    <a:pt x="5" y="19"/>
                  </a:moveTo>
                  <a:cubicBezTo>
                    <a:pt x="12" y="25"/>
                    <a:pt x="21" y="30"/>
                    <a:pt x="30" y="29"/>
                  </a:cubicBezTo>
                  <a:cubicBezTo>
                    <a:pt x="35" y="29"/>
                    <a:pt x="37" y="33"/>
                    <a:pt x="36" y="36"/>
                  </a:cubicBezTo>
                  <a:cubicBezTo>
                    <a:pt x="34" y="38"/>
                    <a:pt x="29" y="44"/>
                    <a:pt x="33" y="44"/>
                  </a:cubicBezTo>
                  <a:cubicBezTo>
                    <a:pt x="37" y="45"/>
                    <a:pt x="37" y="38"/>
                    <a:pt x="40" y="41"/>
                  </a:cubicBezTo>
                  <a:cubicBezTo>
                    <a:pt x="42" y="44"/>
                    <a:pt x="36" y="51"/>
                    <a:pt x="39" y="53"/>
                  </a:cubicBezTo>
                  <a:cubicBezTo>
                    <a:pt x="42" y="54"/>
                    <a:pt x="53" y="51"/>
                    <a:pt x="50" y="44"/>
                  </a:cubicBezTo>
                  <a:cubicBezTo>
                    <a:pt x="48" y="37"/>
                    <a:pt x="52" y="33"/>
                    <a:pt x="57" y="30"/>
                  </a:cubicBezTo>
                  <a:cubicBezTo>
                    <a:pt x="63" y="26"/>
                    <a:pt x="59" y="13"/>
                    <a:pt x="51" y="15"/>
                  </a:cubicBezTo>
                  <a:cubicBezTo>
                    <a:pt x="43" y="16"/>
                    <a:pt x="40" y="12"/>
                    <a:pt x="34" y="7"/>
                  </a:cubicBezTo>
                  <a:cubicBezTo>
                    <a:pt x="27" y="0"/>
                    <a:pt x="23" y="10"/>
                    <a:pt x="15" y="9"/>
                  </a:cubicBezTo>
                  <a:cubicBezTo>
                    <a:pt x="13" y="8"/>
                    <a:pt x="10" y="5"/>
                    <a:pt x="7" y="4"/>
                  </a:cubicBezTo>
                  <a:cubicBezTo>
                    <a:pt x="0" y="4"/>
                    <a:pt x="0" y="12"/>
                    <a:pt x="3" y="16"/>
                  </a:cubicBezTo>
                  <a:cubicBezTo>
                    <a:pt x="4" y="17"/>
                    <a:pt x="5" y="18"/>
                    <a:pt x="5" y="19"/>
                  </a:cubicBezTo>
                  <a:close/>
                </a:path>
              </a:pathLst>
            </a:custGeom>
            <a:solidFill>
              <a:srgbClr val="7900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iṩļíḋe">
              <a:extLst>
                <a:ext uri="{FF2B5EF4-FFF2-40B4-BE49-F238E27FC236}">
                  <a16:creationId xmlns:a16="http://schemas.microsoft.com/office/drawing/2014/main" id="{C8A136C7-43DD-41EB-88F9-807243CCEA36}"/>
                </a:ext>
              </a:extLst>
            </p:cNvPr>
            <p:cNvSpPr/>
            <p:nvPr/>
          </p:nvSpPr>
          <p:spPr bwMode="auto">
            <a:xfrm>
              <a:off x="4572001" y="4213226"/>
              <a:ext cx="3175" cy="7938"/>
            </a:xfrm>
            <a:custGeom>
              <a:avLst/>
              <a:gdLst>
                <a:gd name="T0" fmla="*/ 0 w 1"/>
                <a:gd name="T1" fmla="*/ 1 h 2"/>
                <a:gd name="T2" fmla="*/ 0 w 1"/>
                <a:gd name="T3" fmla="*/ 2 h 2"/>
                <a:gd name="T4" fmla="*/ 0 w 1"/>
                <a:gd name="T5" fmla="*/ 2 h 2"/>
                <a:gd name="T6" fmla="*/ 0 w 1"/>
                <a:gd name="T7" fmla="*/ 1 h 2"/>
                <a:gd name="T8" fmla="*/ 0 w 1"/>
                <a:gd name="T9" fmla="*/ 1 h 2"/>
                <a:gd name="T10" fmla="*/ 0 w 1"/>
                <a:gd name="T11" fmla="*/ 1 h 2"/>
                <a:gd name="T12" fmla="*/ 0 w 1"/>
                <a:gd name="T13" fmla="*/ 1 h 2"/>
                <a:gd name="T14" fmla="*/ 0 w 1"/>
                <a:gd name="T15" fmla="*/ 1 h 2"/>
                <a:gd name="T16" fmla="*/ 0 w 1"/>
                <a:gd name="T17" fmla="*/ 1 h 2"/>
                <a:gd name="T18" fmla="*/ 0 w 1"/>
                <a:gd name="T19" fmla="*/ 1 h 2"/>
                <a:gd name="T20" fmla="*/ 0 w 1"/>
                <a:gd name="T21" fmla="*/ 1 h 2"/>
                <a:gd name="T22" fmla="*/ 0 w 1"/>
                <a:gd name="T23" fmla="*/ 1 h 2"/>
                <a:gd name="T24" fmla="*/ 0 w 1"/>
                <a:gd name="T25" fmla="*/ 1 h 2"/>
                <a:gd name="T26" fmla="*/ 0 w 1"/>
                <a:gd name="T27" fmla="*/ 1 h 2"/>
                <a:gd name="T28" fmla="*/ 0 w 1"/>
                <a:gd name="T29" fmla="*/ 1 h 2"/>
                <a:gd name="T30" fmla="*/ 0 w 1"/>
                <a:gd name="T31" fmla="*/ 1 h 2"/>
                <a:gd name="T32" fmla="*/ 1 w 1"/>
                <a:gd name="T33" fmla="*/ 0 h 2"/>
                <a:gd name="T34" fmla="*/ 1 w 1"/>
                <a:gd name="T35" fmla="*/ 0 h 2"/>
                <a:gd name="T36" fmla="*/ 1 w 1"/>
                <a:gd name="T3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1C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iṩḻíďé">
              <a:extLst>
                <a:ext uri="{FF2B5EF4-FFF2-40B4-BE49-F238E27FC236}">
                  <a16:creationId xmlns:a16="http://schemas.microsoft.com/office/drawing/2014/main" id="{940E6D67-24A7-4159-90EB-AFD05FE6B6A7}"/>
                </a:ext>
              </a:extLst>
            </p:cNvPr>
            <p:cNvSpPr/>
            <p:nvPr/>
          </p:nvSpPr>
          <p:spPr bwMode="auto">
            <a:xfrm>
              <a:off x="4572001" y="4221163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1 h 1"/>
                <a:gd name="T12" fmla="*/ 0 w 1"/>
                <a:gd name="T13" fmla="*/ 1 h 1"/>
                <a:gd name="T14" fmla="*/ 0 w 1"/>
                <a:gd name="T15" fmla="*/ 1 h 1"/>
                <a:gd name="T16" fmla="*/ 0 w 1"/>
                <a:gd name="T17" fmla="*/ 1 h 1"/>
                <a:gd name="T18" fmla="*/ 0 w 1"/>
                <a:gd name="T19" fmla="*/ 1 h 1"/>
                <a:gd name="T20" fmla="*/ 0 w 1"/>
                <a:gd name="T21" fmla="*/ 1 h 1"/>
                <a:gd name="T22" fmla="*/ 0 w 1"/>
                <a:gd name="T23" fmla="*/ 1 h 1"/>
                <a:gd name="T24" fmla="*/ 0 w 1"/>
                <a:gd name="T25" fmla="*/ 1 h 1"/>
                <a:gd name="T26" fmla="*/ 0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0 w 1"/>
                <a:gd name="T33" fmla="*/ 1 h 1"/>
                <a:gd name="T34" fmla="*/ 0 w 1"/>
                <a:gd name="T35" fmla="*/ 1 h 1"/>
                <a:gd name="T36" fmla="*/ 0 w 1"/>
                <a:gd name="T37" fmla="*/ 0 h 1"/>
                <a:gd name="T38" fmla="*/ 0 w 1"/>
                <a:gd name="T39" fmla="*/ 1 h 1"/>
                <a:gd name="T40" fmla="*/ 0 w 1"/>
                <a:gd name="T41" fmla="*/ 0 h 1"/>
                <a:gd name="T42" fmla="*/ 0 w 1"/>
                <a:gd name="T43" fmla="*/ 0 h 1"/>
                <a:gd name="T44" fmla="*/ 0 w 1"/>
                <a:gd name="T45" fmla="*/ 0 h 1"/>
                <a:gd name="T46" fmla="*/ 0 w 1"/>
                <a:gd name="T47" fmla="*/ 0 h 1"/>
                <a:gd name="T48" fmla="*/ 0 w 1"/>
                <a:gd name="T4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íśḷiḍê">
              <a:extLst>
                <a:ext uri="{FF2B5EF4-FFF2-40B4-BE49-F238E27FC236}">
                  <a16:creationId xmlns:a16="http://schemas.microsoft.com/office/drawing/2014/main" id="{4855A72C-763F-472B-8843-9CB5360FD535}"/>
                </a:ext>
              </a:extLst>
            </p:cNvPr>
            <p:cNvSpPr/>
            <p:nvPr/>
          </p:nvSpPr>
          <p:spPr bwMode="auto">
            <a:xfrm>
              <a:off x="4572001" y="4019551"/>
              <a:ext cx="109538" cy="252413"/>
            </a:xfrm>
            <a:custGeom>
              <a:avLst/>
              <a:gdLst>
                <a:gd name="T0" fmla="*/ 28 w 28"/>
                <a:gd name="T1" fmla="*/ 0 h 64"/>
                <a:gd name="T2" fmla="*/ 24 w 28"/>
                <a:gd name="T3" fmla="*/ 3 h 64"/>
                <a:gd name="T4" fmla="*/ 24 w 28"/>
                <a:gd name="T5" fmla="*/ 3 h 64"/>
                <a:gd name="T6" fmla="*/ 24 w 28"/>
                <a:gd name="T7" fmla="*/ 3 h 64"/>
                <a:gd name="T8" fmla="*/ 24 w 28"/>
                <a:gd name="T9" fmla="*/ 3 h 64"/>
                <a:gd name="T10" fmla="*/ 24 w 28"/>
                <a:gd name="T11" fmla="*/ 3 h 64"/>
                <a:gd name="T12" fmla="*/ 24 w 28"/>
                <a:gd name="T13" fmla="*/ 3 h 64"/>
                <a:gd name="T14" fmla="*/ 23 w 28"/>
                <a:gd name="T15" fmla="*/ 3 h 64"/>
                <a:gd name="T16" fmla="*/ 23 w 28"/>
                <a:gd name="T17" fmla="*/ 3 h 64"/>
                <a:gd name="T18" fmla="*/ 23 w 28"/>
                <a:gd name="T19" fmla="*/ 3 h 64"/>
                <a:gd name="T20" fmla="*/ 11 w 28"/>
                <a:gd name="T21" fmla="*/ 8 h 64"/>
                <a:gd name="T22" fmla="*/ 1 w 28"/>
                <a:gd name="T23" fmla="*/ 49 h 64"/>
                <a:gd name="T24" fmla="*/ 1 w 28"/>
                <a:gd name="T25" fmla="*/ 49 h 64"/>
                <a:gd name="T26" fmla="*/ 0 w 28"/>
                <a:gd name="T27" fmla="*/ 50 h 64"/>
                <a:gd name="T28" fmla="*/ 0 w 28"/>
                <a:gd name="T29" fmla="*/ 50 h 64"/>
                <a:gd name="T30" fmla="*/ 0 w 28"/>
                <a:gd name="T31" fmla="*/ 50 h 64"/>
                <a:gd name="T32" fmla="*/ 0 w 28"/>
                <a:gd name="T33" fmla="*/ 50 h 64"/>
                <a:gd name="T34" fmla="*/ 0 w 28"/>
                <a:gd name="T35" fmla="*/ 50 h 64"/>
                <a:gd name="T36" fmla="*/ 0 w 28"/>
                <a:gd name="T37" fmla="*/ 50 h 64"/>
                <a:gd name="T38" fmla="*/ 0 w 28"/>
                <a:gd name="T39" fmla="*/ 50 h 64"/>
                <a:gd name="T40" fmla="*/ 0 w 28"/>
                <a:gd name="T41" fmla="*/ 50 h 64"/>
                <a:gd name="T42" fmla="*/ 0 w 28"/>
                <a:gd name="T43" fmla="*/ 50 h 64"/>
                <a:gd name="T44" fmla="*/ 0 w 28"/>
                <a:gd name="T45" fmla="*/ 51 h 64"/>
                <a:gd name="T46" fmla="*/ 0 w 28"/>
                <a:gd name="T47" fmla="*/ 51 h 64"/>
                <a:gd name="T48" fmla="*/ 0 w 28"/>
                <a:gd name="T49" fmla="*/ 51 h 64"/>
                <a:gd name="T50" fmla="*/ 0 w 28"/>
                <a:gd name="T51" fmla="*/ 51 h 64"/>
                <a:gd name="T52" fmla="*/ 0 w 28"/>
                <a:gd name="T53" fmla="*/ 52 h 64"/>
                <a:gd name="T54" fmla="*/ 0 w 28"/>
                <a:gd name="T55" fmla="*/ 52 h 64"/>
                <a:gd name="T56" fmla="*/ 0 w 28"/>
                <a:gd name="T57" fmla="*/ 52 h 64"/>
                <a:gd name="T58" fmla="*/ 0 w 28"/>
                <a:gd name="T59" fmla="*/ 52 h 64"/>
                <a:gd name="T60" fmla="*/ 0 w 28"/>
                <a:gd name="T61" fmla="*/ 52 h 64"/>
                <a:gd name="T62" fmla="*/ 0 w 28"/>
                <a:gd name="T63" fmla="*/ 52 h 64"/>
                <a:gd name="T64" fmla="*/ 0 w 28"/>
                <a:gd name="T65" fmla="*/ 52 h 64"/>
                <a:gd name="T66" fmla="*/ 0 w 28"/>
                <a:gd name="T67" fmla="*/ 52 h 64"/>
                <a:gd name="T68" fmla="*/ 0 w 28"/>
                <a:gd name="T69" fmla="*/ 52 h 64"/>
                <a:gd name="T70" fmla="*/ 0 w 28"/>
                <a:gd name="T71" fmla="*/ 52 h 64"/>
                <a:gd name="T72" fmla="*/ 0 w 28"/>
                <a:gd name="T73" fmla="*/ 52 h 64"/>
                <a:gd name="T74" fmla="*/ 0 w 28"/>
                <a:gd name="T75" fmla="*/ 52 h 64"/>
                <a:gd name="T76" fmla="*/ 0 w 28"/>
                <a:gd name="T77" fmla="*/ 52 h 64"/>
                <a:gd name="T78" fmla="*/ 1 w 28"/>
                <a:gd name="T79" fmla="*/ 52 h 64"/>
                <a:gd name="T80" fmla="*/ 1 w 28"/>
                <a:gd name="T81" fmla="*/ 52 h 64"/>
                <a:gd name="T82" fmla="*/ 23 w 28"/>
                <a:gd name="T83" fmla="*/ 64 h 64"/>
                <a:gd name="T84" fmla="*/ 12 w 28"/>
                <a:gd name="T85" fmla="*/ 32 h 64"/>
                <a:gd name="T86" fmla="*/ 28 w 28"/>
                <a:gd name="T8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" h="64">
                  <a:moveTo>
                    <a:pt x="28" y="0"/>
                  </a:moveTo>
                  <a:cubicBezTo>
                    <a:pt x="27" y="1"/>
                    <a:pt x="25" y="2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5"/>
                    <a:pt x="16" y="7"/>
                    <a:pt x="11" y="8"/>
                  </a:cubicBezTo>
                  <a:cubicBezTo>
                    <a:pt x="6" y="25"/>
                    <a:pt x="2" y="42"/>
                    <a:pt x="1" y="49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1" y="5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7" y="59"/>
                    <a:pt x="15" y="62"/>
                    <a:pt x="23" y="64"/>
                  </a:cubicBezTo>
                  <a:cubicBezTo>
                    <a:pt x="12" y="57"/>
                    <a:pt x="10" y="44"/>
                    <a:pt x="12" y="32"/>
                  </a:cubicBezTo>
                  <a:cubicBezTo>
                    <a:pt x="15" y="19"/>
                    <a:pt x="27" y="1"/>
                    <a:pt x="28" y="0"/>
                  </a:cubicBezTo>
                </a:path>
              </a:pathLst>
            </a:custGeom>
            <a:solidFill>
              <a:srgbClr val="BB9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íṧḷíḍe">
              <a:extLst>
                <a:ext uri="{FF2B5EF4-FFF2-40B4-BE49-F238E27FC236}">
                  <a16:creationId xmlns:a16="http://schemas.microsoft.com/office/drawing/2014/main" id="{D698E0EF-9E72-4C59-A147-D2BC45C67A2B}"/>
                </a:ext>
              </a:extLst>
            </p:cNvPr>
            <p:cNvSpPr/>
            <p:nvPr/>
          </p:nvSpPr>
          <p:spPr bwMode="auto">
            <a:xfrm>
              <a:off x="4217988" y="4248151"/>
              <a:ext cx="109538" cy="149225"/>
            </a:xfrm>
            <a:custGeom>
              <a:avLst/>
              <a:gdLst>
                <a:gd name="T0" fmla="*/ 26 w 28"/>
                <a:gd name="T1" fmla="*/ 6 h 38"/>
                <a:gd name="T2" fmla="*/ 28 w 28"/>
                <a:gd name="T3" fmla="*/ 28 h 38"/>
                <a:gd name="T4" fmla="*/ 20 w 28"/>
                <a:gd name="T5" fmla="*/ 19 h 38"/>
                <a:gd name="T6" fmla="*/ 2 w 28"/>
                <a:gd name="T7" fmla="*/ 38 h 38"/>
                <a:gd name="T8" fmla="*/ 0 w 28"/>
                <a:gd name="T9" fmla="*/ 22 h 38"/>
                <a:gd name="T10" fmla="*/ 16 w 28"/>
                <a:gd name="T11" fmla="*/ 1 h 38"/>
                <a:gd name="T12" fmla="*/ 26 w 28"/>
                <a:gd name="T13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8">
                  <a:moveTo>
                    <a:pt x="26" y="6"/>
                  </a:moveTo>
                  <a:cubicBezTo>
                    <a:pt x="28" y="28"/>
                    <a:pt x="28" y="28"/>
                    <a:pt x="28" y="28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0" y="25"/>
                    <a:pt x="0" y="22"/>
                  </a:cubicBezTo>
                  <a:cubicBezTo>
                    <a:pt x="0" y="18"/>
                    <a:pt x="12" y="3"/>
                    <a:pt x="16" y="1"/>
                  </a:cubicBezTo>
                  <a:cubicBezTo>
                    <a:pt x="20" y="0"/>
                    <a:pt x="25" y="1"/>
                    <a:pt x="26" y="6"/>
                  </a:cubicBezTo>
                  <a:close/>
                </a:path>
              </a:pathLst>
            </a:custGeom>
            <a:solidFill>
              <a:srgbClr val="FFE9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i$ḷîḋe">
              <a:extLst>
                <a:ext uri="{FF2B5EF4-FFF2-40B4-BE49-F238E27FC236}">
                  <a16:creationId xmlns:a16="http://schemas.microsoft.com/office/drawing/2014/main" id="{A45F486D-2B87-485F-A074-A75D09BB454D}"/>
                </a:ext>
              </a:extLst>
            </p:cNvPr>
            <p:cNvSpPr/>
            <p:nvPr/>
          </p:nvSpPr>
          <p:spPr bwMode="auto">
            <a:xfrm>
              <a:off x="4279901" y="3890963"/>
              <a:ext cx="449263" cy="381000"/>
            </a:xfrm>
            <a:custGeom>
              <a:avLst/>
              <a:gdLst>
                <a:gd name="T0" fmla="*/ 103 w 114"/>
                <a:gd name="T1" fmla="*/ 0 h 97"/>
                <a:gd name="T2" fmla="*/ 42 w 114"/>
                <a:gd name="T3" fmla="*/ 27 h 97"/>
                <a:gd name="T4" fmla="*/ 0 w 114"/>
                <a:gd name="T5" fmla="*/ 92 h 97"/>
                <a:gd name="T6" fmla="*/ 10 w 114"/>
                <a:gd name="T7" fmla="*/ 97 h 97"/>
                <a:gd name="T8" fmla="*/ 49 w 114"/>
                <a:gd name="T9" fmla="*/ 51 h 97"/>
                <a:gd name="T10" fmla="*/ 97 w 114"/>
                <a:gd name="T11" fmla="*/ 36 h 97"/>
                <a:gd name="T12" fmla="*/ 103 w 114"/>
                <a:gd name="T1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97">
                  <a:moveTo>
                    <a:pt x="103" y="0"/>
                  </a:moveTo>
                  <a:cubicBezTo>
                    <a:pt x="103" y="0"/>
                    <a:pt x="57" y="11"/>
                    <a:pt x="42" y="27"/>
                  </a:cubicBezTo>
                  <a:cubicBezTo>
                    <a:pt x="29" y="40"/>
                    <a:pt x="0" y="92"/>
                    <a:pt x="0" y="92"/>
                  </a:cubicBezTo>
                  <a:cubicBezTo>
                    <a:pt x="0" y="92"/>
                    <a:pt x="5" y="97"/>
                    <a:pt x="10" y="97"/>
                  </a:cubicBezTo>
                  <a:cubicBezTo>
                    <a:pt x="13" y="93"/>
                    <a:pt x="49" y="51"/>
                    <a:pt x="49" y="51"/>
                  </a:cubicBezTo>
                  <a:cubicBezTo>
                    <a:pt x="49" y="51"/>
                    <a:pt x="85" y="43"/>
                    <a:pt x="97" y="36"/>
                  </a:cubicBezTo>
                  <a:cubicBezTo>
                    <a:pt x="112" y="28"/>
                    <a:pt x="114" y="6"/>
                    <a:pt x="103" y="0"/>
                  </a:cubicBezTo>
                </a:path>
              </a:pathLst>
            </a:custGeom>
            <a:solidFill>
              <a:srgbClr val="CFB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îŝ1iḍé">
              <a:extLst>
                <a:ext uri="{FF2B5EF4-FFF2-40B4-BE49-F238E27FC236}">
                  <a16:creationId xmlns:a16="http://schemas.microsoft.com/office/drawing/2014/main" id="{134A2A8B-6230-4E52-BE2B-27EA4C347723}"/>
                </a:ext>
              </a:extLst>
            </p:cNvPr>
            <p:cNvSpPr/>
            <p:nvPr/>
          </p:nvSpPr>
          <p:spPr bwMode="auto">
            <a:xfrm>
              <a:off x="4425951" y="4090988"/>
              <a:ext cx="47625" cy="58738"/>
            </a:xfrm>
            <a:custGeom>
              <a:avLst/>
              <a:gdLst>
                <a:gd name="T0" fmla="*/ 11 w 12"/>
                <a:gd name="T1" fmla="*/ 1 h 15"/>
                <a:gd name="T2" fmla="*/ 0 w 12"/>
                <a:gd name="T3" fmla="*/ 15 h 15"/>
                <a:gd name="T4" fmla="*/ 0 w 12"/>
                <a:gd name="T5" fmla="*/ 15 h 15"/>
                <a:gd name="T6" fmla="*/ 11 w 12"/>
                <a:gd name="T7" fmla="*/ 1 h 15"/>
                <a:gd name="T8" fmla="*/ 11 w 12"/>
                <a:gd name="T9" fmla="*/ 1 h 15"/>
                <a:gd name="T10" fmla="*/ 11 w 12"/>
                <a:gd name="T11" fmla="*/ 1 h 15"/>
                <a:gd name="T12" fmla="*/ 11 w 12"/>
                <a:gd name="T13" fmla="*/ 1 h 15"/>
                <a:gd name="T14" fmla="*/ 12 w 12"/>
                <a:gd name="T15" fmla="*/ 1 h 15"/>
                <a:gd name="T16" fmla="*/ 11 w 12"/>
                <a:gd name="T17" fmla="*/ 1 h 15"/>
                <a:gd name="T18" fmla="*/ 12 w 12"/>
                <a:gd name="T19" fmla="*/ 1 h 15"/>
                <a:gd name="T20" fmla="*/ 12 w 12"/>
                <a:gd name="T21" fmla="*/ 1 h 15"/>
                <a:gd name="T22" fmla="*/ 12 w 12"/>
                <a:gd name="T23" fmla="*/ 1 h 15"/>
                <a:gd name="T24" fmla="*/ 12 w 12"/>
                <a:gd name="T25" fmla="*/ 1 h 15"/>
                <a:gd name="T26" fmla="*/ 12 w 12"/>
                <a:gd name="T27" fmla="*/ 1 h 15"/>
                <a:gd name="T28" fmla="*/ 12 w 12"/>
                <a:gd name="T29" fmla="*/ 1 h 15"/>
                <a:gd name="T30" fmla="*/ 12 w 12"/>
                <a:gd name="T31" fmla="*/ 1 h 15"/>
                <a:gd name="T32" fmla="*/ 12 w 12"/>
                <a:gd name="T33" fmla="*/ 1 h 15"/>
                <a:gd name="T34" fmla="*/ 12 w 12"/>
                <a:gd name="T35" fmla="*/ 1 h 15"/>
                <a:gd name="T36" fmla="*/ 12 w 12"/>
                <a:gd name="T37" fmla="*/ 1 h 15"/>
                <a:gd name="T38" fmla="*/ 12 w 12"/>
                <a:gd name="T39" fmla="*/ 0 h 15"/>
                <a:gd name="T40" fmla="*/ 12 w 12"/>
                <a:gd name="T41" fmla="*/ 0 h 15"/>
                <a:gd name="T42" fmla="*/ 12 w 12"/>
                <a:gd name="T43" fmla="*/ 0 h 15"/>
                <a:gd name="T44" fmla="*/ 12 w 12"/>
                <a:gd name="T45" fmla="*/ 0 h 15"/>
                <a:gd name="T46" fmla="*/ 12 w 12"/>
                <a:gd name="T47" fmla="*/ 0 h 15"/>
                <a:gd name="T48" fmla="*/ 12 w 12"/>
                <a:gd name="T49" fmla="*/ 0 h 15"/>
                <a:gd name="T50" fmla="*/ 12 w 12"/>
                <a:gd name="T51" fmla="*/ 0 h 15"/>
                <a:gd name="T52" fmla="*/ 12 w 12"/>
                <a:gd name="T53" fmla="*/ 0 h 15"/>
                <a:gd name="T54" fmla="*/ 12 w 12"/>
                <a:gd name="T55" fmla="*/ 0 h 15"/>
                <a:gd name="T56" fmla="*/ 12 w 12"/>
                <a:gd name="T57" fmla="*/ 0 h 15"/>
                <a:gd name="T58" fmla="*/ 12 w 12"/>
                <a:gd name="T59" fmla="*/ 0 h 15"/>
                <a:gd name="T60" fmla="*/ 12 w 12"/>
                <a:gd name="T61" fmla="*/ 0 h 15"/>
                <a:gd name="T62" fmla="*/ 12 w 12"/>
                <a:gd name="T63" fmla="*/ 0 h 15"/>
                <a:gd name="T64" fmla="*/ 12 w 12"/>
                <a:gd name="T65" fmla="*/ 0 h 15"/>
                <a:gd name="T66" fmla="*/ 12 w 12"/>
                <a:gd name="T67" fmla="*/ 0 h 15"/>
                <a:gd name="T68" fmla="*/ 12 w 12"/>
                <a:gd name="T69" fmla="*/ 0 h 15"/>
                <a:gd name="T70" fmla="*/ 12 w 12"/>
                <a:gd name="T71" fmla="*/ 0 h 15"/>
                <a:gd name="T72" fmla="*/ 12 w 12"/>
                <a:gd name="T73" fmla="*/ 0 h 15"/>
                <a:gd name="T74" fmla="*/ 12 w 12"/>
                <a:gd name="T75" fmla="*/ 0 h 15"/>
                <a:gd name="T76" fmla="*/ 12 w 12"/>
                <a:gd name="T77" fmla="*/ 0 h 15"/>
                <a:gd name="T78" fmla="*/ 12 w 12"/>
                <a:gd name="T79" fmla="*/ 0 h 15"/>
                <a:gd name="T80" fmla="*/ 12 w 12"/>
                <a:gd name="T81" fmla="*/ 0 h 15"/>
                <a:gd name="T82" fmla="*/ 12 w 12"/>
                <a:gd name="T83" fmla="*/ 0 h 15"/>
                <a:gd name="T84" fmla="*/ 12 w 12"/>
                <a:gd name="T8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" h="15">
                  <a:moveTo>
                    <a:pt x="11" y="1"/>
                  </a:moveTo>
                  <a:cubicBezTo>
                    <a:pt x="9" y="3"/>
                    <a:pt x="5" y="9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9"/>
                    <a:pt x="9" y="3"/>
                    <a:pt x="11" y="1"/>
                  </a:cubicBezTo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moveTo>
                    <a:pt x="12" y="1"/>
                  </a:moveTo>
                  <a:cubicBezTo>
                    <a:pt x="12" y="1"/>
                    <a:pt x="11" y="1"/>
                    <a:pt x="11" y="1"/>
                  </a:cubicBezTo>
                  <a:cubicBezTo>
                    <a:pt x="11" y="1"/>
                    <a:pt x="12" y="1"/>
                    <a:pt x="12" y="1"/>
                  </a:cubicBezTo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1C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iŝ1íde">
              <a:extLst>
                <a:ext uri="{FF2B5EF4-FFF2-40B4-BE49-F238E27FC236}">
                  <a16:creationId xmlns:a16="http://schemas.microsoft.com/office/drawing/2014/main" id="{CF7986D6-036B-4E98-894B-19187A3C6DC8}"/>
                </a:ext>
              </a:extLst>
            </p:cNvPr>
            <p:cNvSpPr/>
            <p:nvPr/>
          </p:nvSpPr>
          <p:spPr bwMode="auto">
            <a:xfrm>
              <a:off x="4660901" y="4032251"/>
              <a:ext cx="4763" cy="0"/>
            </a:xfrm>
            <a:custGeom>
              <a:avLst/>
              <a:gdLst>
                <a:gd name="T0" fmla="*/ 0 w 1"/>
                <a:gd name="T1" fmla="*/ 0 w 1"/>
                <a:gd name="T2" fmla="*/ 0 w 1"/>
                <a:gd name="T3" fmla="*/ 1 w 1"/>
                <a:gd name="T4" fmla="*/ 1 w 1"/>
                <a:gd name="T5" fmla="*/ 1 w 1"/>
                <a:gd name="T6" fmla="*/ 1 w 1"/>
                <a:gd name="T7" fmla="*/ 1 w 1"/>
                <a:gd name="T8" fmla="*/ 1 w 1"/>
                <a:gd name="T9" fmla="*/ 1 w 1"/>
                <a:gd name="T10" fmla="*/ 1 w 1"/>
                <a:gd name="T11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A989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îslïḍê">
              <a:extLst>
                <a:ext uri="{FF2B5EF4-FFF2-40B4-BE49-F238E27FC236}">
                  <a16:creationId xmlns:a16="http://schemas.microsoft.com/office/drawing/2014/main" id="{CFA395AC-0B47-455D-8EF0-BDDC1CB661D0}"/>
                </a:ext>
              </a:extLst>
            </p:cNvPr>
            <p:cNvSpPr/>
            <p:nvPr/>
          </p:nvSpPr>
          <p:spPr bwMode="auto">
            <a:xfrm>
              <a:off x="4425951" y="3973513"/>
              <a:ext cx="282575" cy="176213"/>
            </a:xfrm>
            <a:custGeom>
              <a:avLst/>
              <a:gdLst>
                <a:gd name="T0" fmla="*/ 72 w 72"/>
                <a:gd name="T1" fmla="*/ 0 h 45"/>
                <a:gd name="T2" fmla="*/ 13 w 72"/>
                <a:gd name="T3" fmla="*/ 23 h 45"/>
                <a:gd name="T4" fmla="*/ 0 w 72"/>
                <a:gd name="T5" fmla="*/ 45 h 45"/>
                <a:gd name="T6" fmla="*/ 11 w 72"/>
                <a:gd name="T7" fmla="*/ 31 h 45"/>
                <a:gd name="T8" fmla="*/ 11 w 72"/>
                <a:gd name="T9" fmla="*/ 31 h 45"/>
                <a:gd name="T10" fmla="*/ 11 w 72"/>
                <a:gd name="T11" fmla="*/ 31 h 45"/>
                <a:gd name="T12" fmla="*/ 11 w 72"/>
                <a:gd name="T13" fmla="*/ 31 h 45"/>
                <a:gd name="T14" fmla="*/ 12 w 72"/>
                <a:gd name="T15" fmla="*/ 31 h 45"/>
                <a:gd name="T16" fmla="*/ 12 w 72"/>
                <a:gd name="T17" fmla="*/ 31 h 45"/>
                <a:gd name="T18" fmla="*/ 12 w 72"/>
                <a:gd name="T19" fmla="*/ 31 h 45"/>
                <a:gd name="T20" fmla="*/ 12 w 72"/>
                <a:gd name="T21" fmla="*/ 31 h 45"/>
                <a:gd name="T22" fmla="*/ 12 w 72"/>
                <a:gd name="T23" fmla="*/ 31 h 45"/>
                <a:gd name="T24" fmla="*/ 12 w 72"/>
                <a:gd name="T25" fmla="*/ 31 h 45"/>
                <a:gd name="T26" fmla="*/ 12 w 72"/>
                <a:gd name="T27" fmla="*/ 31 h 45"/>
                <a:gd name="T28" fmla="*/ 12 w 72"/>
                <a:gd name="T29" fmla="*/ 30 h 45"/>
                <a:gd name="T30" fmla="*/ 12 w 72"/>
                <a:gd name="T31" fmla="*/ 30 h 45"/>
                <a:gd name="T32" fmla="*/ 12 w 72"/>
                <a:gd name="T33" fmla="*/ 30 h 45"/>
                <a:gd name="T34" fmla="*/ 12 w 72"/>
                <a:gd name="T35" fmla="*/ 30 h 45"/>
                <a:gd name="T36" fmla="*/ 12 w 72"/>
                <a:gd name="T37" fmla="*/ 30 h 45"/>
                <a:gd name="T38" fmla="*/ 12 w 72"/>
                <a:gd name="T39" fmla="*/ 30 h 45"/>
                <a:gd name="T40" fmla="*/ 12 w 72"/>
                <a:gd name="T41" fmla="*/ 30 h 45"/>
                <a:gd name="T42" fmla="*/ 12 w 72"/>
                <a:gd name="T43" fmla="*/ 30 h 45"/>
                <a:gd name="T44" fmla="*/ 12 w 72"/>
                <a:gd name="T45" fmla="*/ 30 h 45"/>
                <a:gd name="T46" fmla="*/ 12 w 72"/>
                <a:gd name="T47" fmla="*/ 30 h 45"/>
                <a:gd name="T48" fmla="*/ 12 w 72"/>
                <a:gd name="T49" fmla="*/ 30 h 45"/>
                <a:gd name="T50" fmla="*/ 12 w 72"/>
                <a:gd name="T51" fmla="*/ 30 h 45"/>
                <a:gd name="T52" fmla="*/ 12 w 72"/>
                <a:gd name="T53" fmla="*/ 30 h 45"/>
                <a:gd name="T54" fmla="*/ 12 w 72"/>
                <a:gd name="T55" fmla="*/ 30 h 45"/>
                <a:gd name="T56" fmla="*/ 12 w 72"/>
                <a:gd name="T57" fmla="*/ 30 h 45"/>
                <a:gd name="T58" fmla="*/ 12 w 72"/>
                <a:gd name="T59" fmla="*/ 30 h 45"/>
                <a:gd name="T60" fmla="*/ 12 w 72"/>
                <a:gd name="T61" fmla="*/ 30 h 45"/>
                <a:gd name="T62" fmla="*/ 60 w 72"/>
                <a:gd name="T63" fmla="*/ 15 h 45"/>
                <a:gd name="T64" fmla="*/ 60 w 72"/>
                <a:gd name="T65" fmla="*/ 15 h 45"/>
                <a:gd name="T66" fmla="*/ 60 w 72"/>
                <a:gd name="T67" fmla="*/ 15 h 45"/>
                <a:gd name="T68" fmla="*/ 61 w 72"/>
                <a:gd name="T69" fmla="*/ 15 h 45"/>
                <a:gd name="T70" fmla="*/ 61 w 72"/>
                <a:gd name="T71" fmla="*/ 15 h 45"/>
                <a:gd name="T72" fmla="*/ 61 w 72"/>
                <a:gd name="T73" fmla="*/ 15 h 45"/>
                <a:gd name="T74" fmla="*/ 61 w 72"/>
                <a:gd name="T75" fmla="*/ 15 h 45"/>
                <a:gd name="T76" fmla="*/ 61 w 72"/>
                <a:gd name="T77" fmla="*/ 15 h 45"/>
                <a:gd name="T78" fmla="*/ 61 w 72"/>
                <a:gd name="T79" fmla="*/ 15 h 45"/>
                <a:gd name="T80" fmla="*/ 72 w 72"/>
                <a:gd name="T8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2" h="45">
                  <a:moveTo>
                    <a:pt x="72" y="0"/>
                  </a:moveTo>
                  <a:cubicBezTo>
                    <a:pt x="62" y="10"/>
                    <a:pt x="13" y="23"/>
                    <a:pt x="13" y="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5" y="39"/>
                    <a:pt x="9" y="33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48" y="22"/>
                    <a:pt x="60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7" y="12"/>
                    <a:pt x="70" y="6"/>
                    <a:pt x="72" y="0"/>
                  </a:cubicBezTo>
                </a:path>
              </a:pathLst>
            </a:custGeom>
            <a:solidFill>
              <a:srgbClr val="BB9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íšļîḓè">
              <a:extLst>
                <a:ext uri="{FF2B5EF4-FFF2-40B4-BE49-F238E27FC236}">
                  <a16:creationId xmlns:a16="http://schemas.microsoft.com/office/drawing/2014/main" id="{0EF62F6D-7F99-478B-BF26-53C431FBF8DA}"/>
                </a:ext>
              </a:extLst>
            </p:cNvPr>
            <p:cNvSpPr/>
            <p:nvPr/>
          </p:nvSpPr>
          <p:spPr bwMode="auto">
            <a:xfrm>
              <a:off x="4740276" y="4432301"/>
              <a:ext cx="3175" cy="476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172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îṧḻîḋe">
              <a:extLst>
                <a:ext uri="{FF2B5EF4-FFF2-40B4-BE49-F238E27FC236}">
                  <a16:creationId xmlns:a16="http://schemas.microsoft.com/office/drawing/2014/main" id="{671A924E-4998-42F3-A9C2-6385191CC7E5}"/>
                </a:ext>
              </a:extLst>
            </p:cNvPr>
            <p:cNvSpPr/>
            <p:nvPr/>
          </p:nvSpPr>
          <p:spPr bwMode="auto">
            <a:xfrm>
              <a:off x="4740276" y="4429126"/>
              <a:ext cx="11113" cy="7938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0 h 2"/>
                <a:gd name="T4" fmla="*/ 0 w 3"/>
                <a:gd name="T5" fmla="*/ 1 h 2"/>
                <a:gd name="T6" fmla="*/ 0 w 3"/>
                <a:gd name="T7" fmla="*/ 1 h 2"/>
                <a:gd name="T8" fmla="*/ 0 w 3"/>
                <a:gd name="T9" fmla="*/ 1 h 2"/>
                <a:gd name="T10" fmla="*/ 0 w 3"/>
                <a:gd name="T11" fmla="*/ 1 h 2"/>
                <a:gd name="T12" fmla="*/ 0 w 3"/>
                <a:gd name="T13" fmla="*/ 1 h 2"/>
                <a:gd name="T14" fmla="*/ 0 w 3"/>
                <a:gd name="T15" fmla="*/ 1 h 2"/>
                <a:gd name="T16" fmla="*/ 0 w 3"/>
                <a:gd name="T17" fmla="*/ 1 h 2"/>
                <a:gd name="T18" fmla="*/ 1 w 3"/>
                <a:gd name="T19" fmla="*/ 2 h 2"/>
                <a:gd name="T20" fmla="*/ 1 w 3"/>
                <a:gd name="T21" fmla="*/ 2 h 2"/>
                <a:gd name="T22" fmla="*/ 0 w 3"/>
                <a:gd name="T23" fmla="*/ 1 h 2"/>
                <a:gd name="T24" fmla="*/ 3 w 3"/>
                <a:gd name="T25" fmla="*/ 2 h 2"/>
                <a:gd name="T26" fmla="*/ 3 w 3"/>
                <a:gd name="T27" fmla="*/ 2 h 2"/>
                <a:gd name="T28" fmla="*/ 3 w 3"/>
                <a:gd name="T29" fmla="*/ 1 h 2"/>
                <a:gd name="T30" fmla="*/ 1 w 3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íṥ1ïḓe">
              <a:extLst>
                <a:ext uri="{FF2B5EF4-FFF2-40B4-BE49-F238E27FC236}">
                  <a16:creationId xmlns:a16="http://schemas.microsoft.com/office/drawing/2014/main" id="{FB332645-0F27-4EF0-8E44-0463358EC990}"/>
                </a:ext>
              </a:extLst>
            </p:cNvPr>
            <p:cNvSpPr/>
            <p:nvPr/>
          </p:nvSpPr>
          <p:spPr bwMode="auto">
            <a:xfrm>
              <a:off x="4740276" y="4432301"/>
              <a:ext cx="11113" cy="4763"/>
            </a:xfrm>
            <a:custGeom>
              <a:avLst/>
              <a:gdLst>
                <a:gd name="T0" fmla="*/ 0 w 3"/>
                <a:gd name="T1" fmla="*/ 0 h 1"/>
                <a:gd name="T2" fmla="*/ 1 w 3"/>
                <a:gd name="T3" fmla="*/ 1 h 1"/>
                <a:gd name="T4" fmla="*/ 2 w 3"/>
                <a:gd name="T5" fmla="*/ 1 h 1"/>
                <a:gd name="T6" fmla="*/ 2 w 3"/>
                <a:gd name="T7" fmla="*/ 1 h 1"/>
                <a:gd name="T8" fmla="*/ 3 w 3"/>
                <a:gd name="T9" fmla="*/ 1 h 1"/>
                <a:gd name="T10" fmla="*/ 0 w 3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1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î$ḻiďê">
              <a:extLst>
                <a:ext uri="{FF2B5EF4-FFF2-40B4-BE49-F238E27FC236}">
                  <a16:creationId xmlns:a16="http://schemas.microsoft.com/office/drawing/2014/main" id="{C0F2A53B-E195-4EEF-9A07-7D4F142BF207}"/>
                </a:ext>
              </a:extLst>
            </p:cNvPr>
            <p:cNvSpPr/>
            <p:nvPr/>
          </p:nvSpPr>
          <p:spPr bwMode="auto">
            <a:xfrm>
              <a:off x="4740276" y="44323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1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ïsḷîḓè">
              <a:extLst>
                <a:ext uri="{FF2B5EF4-FFF2-40B4-BE49-F238E27FC236}">
                  <a16:creationId xmlns:a16="http://schemas.microsoft.com/office/drawing/2014/main" id="{CD314EA4-6B7B-4DE6-9422-BCABC68C9D34}"/>
                </a:ext>
              </a:extLst>
            </p:cNvPr>
            <p:cNvSpPr/>
            <p:nvPr/>
          </p:nvSpPr>
          <p:spPr bwMode="auto">
            <a:xfrm>
              <a:off x="4775201" y="4445001"/>
              <a:ext cx="15875" cy="7938"/>
            </a:xfrm>
            <a:custGeom>
              <a:avLst/>
              <a:gdLst>
                <a:gd name="T0" fmla="*/ 0 w 10"/>
                <a:gd name="T1" fmla="*/ 0 h 5"/>
                <a:gd name="T2" fmla="*/ 0 w 10"/>
                <a:gd name="T3" fmla="*/ 0 h 5"/>
                <a:gd name="T4" fmla="*/ 0 w 10"/>
                <a:gd name="T5" fmla="*/ 2 h 5"/>
                <a:gd name="T6" fmla="*/ 10 w 10"/>
                <a:gd name="T7" fmla="*/ 5 h 5"/>
                <a:gd name="T8" fmla="*/ 10 w 10"/>
                <a:gd name="T9" fmla="*/ 5 h 5"/>
                <a:gd name="T10" fmla="*/ 10 w 10"/>
                <a:gd name="T11" fmla="*/ 5 h 5"/>
                <a:gd name="T12" fmla="*/ 0 w 1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śḻïḋè">
              <a:extLst>
                <a:ext uri="{FF2B5EF4-FFF2-40B4-BE49-F238E27FC236}">
                  <a16:creationId xmlns:a16="http://schemas.microsoft.com/office/drawing/2014/main" id="{93D73B14-EF76-48BA-ADB8-A53A9567A2E3}"/>
                </a:ext>
              </a:extLst>
            </p:cNvPr>
            <p:cNvSpPr/>
            <p:nvPr/>
          </p:nvSpPr>
          <p:spPr bwMode="auto">
            <a:xfrm>
              <a:off x="4775201" y="4445001"/>
              <a:ext cx="15875" cy="7938"/>
            </a:xfrm>
            <a:custGeom>
              <a:avLst/>
              <a:gdLst>
                <a:gd name="T0" fmla="*/ 0 w 10"/>
                <a:gd name="T1" fmla="*/ 0 h 5"/>
                <a:gd name="T2" fmla="*/ 0 w 10"/>
                <a:gd name="T3" fmla="*/ 0 h 5"/>
                <a:gd name="T4" fmla="*/ 0 w 10"/>
                <a:gd name="T5" fmla="*/ 2 h 5"/>
                <a:gd name="T6" fmla="*/ 10 w 10"/>
                <a:gd name="T7" fmla="*/ 5 h 5"/>
                <a:gd name="T8" fmla="*/ 10 w 10"/>
                <a:gd name="T9" fmla="*/ 5 h 5"/>
                <a:gd name="T10" fmla="*/ 10 w 10"/>
                <a:gd name="T11" fmla="*/ 5 h 5"/>
                <a:gd name="T12" fmla="*/ 0 w 1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îşḻîḓé">
              <a:extLst>
                <a:ext uri="{FF2B5EF4-FFF2-40B4-BE49-F238E27FC236}">
                  <a16:creationId xmlns:a16="http://schemas.microsoft.com/office/drawing/2014/main" id="{3B022D0D-A172-416F-B6F8-E55EEEE1935B}"/>
                </a:ext>
              </a:extLst>
            </p:cNvPr>
            <p:cNvSpPr/>
            <p:nvPr/>
          </p:nvSpPr>
          <p:spPr bwMode="auto">
            <a:xfrm>
              <a:off x="4775201" y="4448176"/>
              <a:ext cx="15875" cy="7938"/>
            </a:xfrm>
            <a:custGeom>
              <a:avLst/>
              <a:gdLst>
                <a:gd name="T0" fmla="*/ 0 w 10"/>
                <a:gd name="T1" fmla="*/ 0 h 5"/>
                <a:gd name="T2" fmla="*/ 0 w 10"/>
                <a:gd name="T3" fmla="*/ 0 h 5"/>
                <a:gd name="T4" fmla="*/ 8 w 10"/>
                <a:gd name="T5" fmla="*/ 3 h 5"/>
                <a:gd name="T6" fmla="*/ 10 w 10"/>
                <a:gd name="T7" fmla="*/ 5 h 5"/>
                <a:gd name="T8" fmla="*/ 10 w 10"/>
                <a:gd name="T9" fmla="*/ 3 h 5"/>
                <a:gd name="T10" fmla="*/ 0 w 10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0" y="0"/>
                  </a:moveTo>
                  <a:lnTo>
                    <a:pt x="0" y="0"/>
                  </a:lnTo>
                  <a:lnTo>
                    <a:pt x="8" y="3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1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îṣľiḓé">
              <a:extLst>
                <a:ext uri="{FF2B5EF4-FFF2-40B4-BE49-F238E27FC236}">
                  <a16:creationId xmlns:a16="http://schemas.microsoft.com/office/drawing/2014/main" id="{AAAE11AE-DD4A-4DAE-8211-159C44F7CA6F}"/>
                </a:ext>
              </a:extLst>
            </p:cNvPr>
            <p:cNvSpPr/>
            <p:nvPr/>
          </p:nvSpPr>
          <p:spPr bwMode="auto">
            <a:xfrm>
              <a:off x="4775201" y="4448176"/>
              <a:ext cx="15875" cy="7938"/>
            </a:xfrm>
            <a:custGeom>
              <a:avLst/>
              <a:gdLst>
                <a:gd name="T0" fmla="*/ 0 w 10"/>
                <a:gd name="T1" fmla="*/ 0 h 5"/>
                <a:gd name="T2" fmla="*/ 0 w 10"/>
                <a:gd name="T3" fmla="*/ 0 h 5"/>
                <a:gd name="T4" fmla="*/ 8 w 10"/>
                <a:gd name="T5" fmla="*/ 3 h 5"/>
                <a:gd name="T6" fmla="*/ 10 w 10"/>
                <a:gd name="T7" fmla="*/ 5 h 5"/>
                <a:gd name="T8" fmla="*/ 10 w 10"/>
                <a:gd name="T9" fmla="*/ 3 h 5"/>
                <a:gd name="T10" fmla="*/ 0 w 10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0" y="0"/>
                  </a:moveTo>
                  <a:lnTo>
                    <a:pt x="0" y="0"/>
                  </a:lnTo>
                  <a:lnTo>
                    <a:pt x="8" y="3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ïŝlide">
              <a:extLst>
                <a:ext uri="{FF2B5EF4-FFF2-40B4-BE49-F238E27FC236}">
                  <a16:creationId xmlns:a16="http://schemas.microsoft.com/office/drawing/2014/main" id="{349669D6-FD98-4BAC-95C3-78B6DC068759}"/>
                </a:ext>
              </a:extLst>
            </p:cNvPr>
            <p:cNvSpPr/>
            <p:nvPr/>
          </p:nvSpPr>
          <p:spPr bwMode="auto">
            <a:xfrm>
              <a:off x="4814888" y="4464051"/>
              <a:ext cx="15875" cy="7938"/>
            </a:xfrm>
            <a:custGeom>
              <a:avLst/>
              <a:gdLst>
                <a:gd name="T0" fmla="*/ 2 w 10"/>
                <a:gd name="T1" fmla="*/ 0 h 5"/>
                <a:gd name="T2" fmla="*/ 0 w 10"/>
                <a:gd name="T3" fmla="*/ 0 h 5"/>
                <a:gd name="T4" fmla="*/ 0 w 10"/>
                <a:gd name="T5" fmla="*/ 0 h 5"/>
                <a:gd name="T6" fmla="*/ 2 w 10"/>
                <a:gd name="T7" fmla="*/ 2 h 5"/>
                <a:gd name="T8" fmla="*/ 10 w 10"/>
                <a:gd name="T9" fmla="*/ 5 h 5"/>
                <a:gd name="T10" fmla="*/ 10 w 10"/>
                <a:gd name="T11" fmla="*/ 5 h 5"/>
                <a:gd name="T12" fmla="*/ 10 w 10"/>
                <a:gd name="T13" fmla="*/ 5 h 5"/>
                <a:gd name="T14" fmla="*/ 10 w 10"/>
                <a:gd name="T15" fmla="*/ 2 h 5"/>
                <a:gd name="T16" fmla="*/ 2 w 10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i$1îďé">
              <a:extLst>
                <a:ext uri="{FF2B5EF4-FFF2-40B4-BE49-F238E27FC236}">
                  <a16:creationId xmlns:a16="http://schemas.microsoft.com/office/drawing/2014/main" id="{265FB677-EBCF-4CE2-80A6-34953AB47D91}"/>
                </a:ext>
              </a:extLst>
            </p:cNvPr>
            <p:cNvSpPr/>
            <p:nvPr/>
          </p:nvSpPr>
          <p:spPr bwMode="auto">
            <a:xfrm>
              <a:off x="4814888" y="4464051"/>
              <a:ext cx="15875" cy="7938"/>
            </a:xfrm>
            <a:custGeom>
              <a:avLst/>
              <a:gdLst>
                <a:gd name="T0" fmla="*/ 2 w 10"/>
                <a:gd name="T1" fmla="*/ 0 h 5"/>
                <a:gd name="T2" fmla="*/ 0 w 10"/>
                <a:gd name="T3" fmla="*/ 0 h 5"/>
                <a:gd name="T4" fmla="*/ 0 w 10"/>
                <a:gd name="T5" fmla="*/ 0 h 5"/>
                <a:gd name="T6" fmla="*/ 2 w 10"/>
                <a:gd name="T7" fmla="*/ 2 h 5"/>
                <a:gd name="T8" fmla="*/ 10 w 10"/>
                <a:gd name="T9" fmla="*/ 5 h 5"/>
                <a:gd name="T10" fmla="*/ 10 w 10"/>
                <a:gd name="T11" fmla="*/ 5 h 5"/>
                <a:gd name="T12" fmla="*/ 10 w 10"/>
                <a:gd name="T13" fmla="*/ 5 h 5"/>
                <a:gd name="T14" fmla="*/ 10 w 10"/>
                <a:gd name="T15" fmla="*/ 2 h 5"/>
                <a:gd name="T16" fmla="*/ 2 w 10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2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îšḻîḓê">
              <a:extLst>
                <a:ext uri="{FF2B5EF4-FFF2-40B4-BE49-F238E27FC236}">
                  <a16:creationId xmlns:a16="http://schemas.microsoft.com/office/drawing/2014/main" id="{9A115D66-528E-4FEA-B323-B7724273E0C3}"/>
                </a:ext>
              </a:extLst>
            </p:cNvPr>
            <p:cNvSpPr/>
            <p:nvPr/>
          </p:nvSpPr>
          <p:spPr bwMode="auto">
            <a:xfrm>
              <a:off x="4814888" y="4464051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1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iṣlîḋê">
              <a:extLst>
                <a:ext uri="{FF2B5EF4-FFF2-40B4-BE49-F238E27FC236}">
                  <a16:creationId xmlns:a16="http://schemas.microsoft.com/office/drawing/2014/main" id="{E95BDA60-4219-432D-9057-307013B73029}"/>
                </a:ext>
              </a:extLst>
            </p:cNvPr>
            <p:cNvSpPr/>
            <p:nvPr/>
          </p:nvSpPr>
          <p:spPr bwMode="auto">
            <a:xfrm>
              <a:off x="4814888" y="4464051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işľíḋe">
              <a:extLst>
                <a:ext uri="{FF2B5EF4-FFF2-40B4-BE49-F238E27FC236}">
                  <a16:creationId xmlns:a16="http://schemas.microsoft.com/office/drawing/2014/main" id="{B4D4CFBE-D270-49EC-BD5B-F2416B4D8057}"/>
                </a:ext>
              </a:extLst>
            </p:cNvPr>
            <p:cNvSpPr/>
            <p:nvPr/>
          </p:nvSpPr>
          <p:spPr bwMode="auto">
            <a:xfrm>
              <a:off x="4854576" y="4479926"/>
              <a:ext cx="98425" cy="47625"/>
            </a:xfrm>
            <a:custGeom>
              <a:avLst/>
              <a:gdLst>
                <a:gd name="T0" fmla="*/ 52 w 62"/>
                <a:gd name="T1" fmla="*/ 22 h 30"/>
                <a:gd name="T2" fmla="*/ 52 w 62"/>
                <a:gd name="T3" fmla="*/ 22 h 30"/>
                <a:gd name="T4" fmla="*/ 52 w 62"/>
                <a:gd name="T5" fmla="*/ 25 h 30"/>
                <a:gd name="T6" fmla="*/ 59 w 62"/>
                <a:gd name="T7" fmla="*/ 30 h 30"/>
                <a:gd name="T8" fmla="*/ 62 w 62"/>
                <a:gd name="T9" fmla="*/ 30 h 30"/>
                <a:gd name="T10" fmla="*/ 62 w 62"/>
                <a:gd name="T11" fmla="*/ 27 h 30"/>
                <a:gd name="T12" fmla="*/ 62 w 62"/>
                <a:gd name="T13" fmla="*/ 27 h 30"/>
                <a:gd name="T14" fmla="*/ 52 w 62"/>
                <a:gd name="T15" fmla="*/ 22 h 30"/>
                <a:gd name="T16" fmla="*/ 27 w 62"/>
                <a:gd name="T17" fmla="*/ 12 h 30"/>
                <a:gd name="T18" fmla="*/ 25 w 62"/>
                <a:gd name="T19" fmla="*/ 12 h 30"/>
                <a:gd name="T20" fmla="*/ 27 w 62"/>
                <a:gd name="T21" fmla="*/ 12 h 30"/>
                <a:gd name="T22" fmla="*/ 34 w 62"/>
                <a:gd name="T23" fmla="*/ 17 h 30"/>
                <a:gd name="T24" fmla="*/ 34 w 62"/>
                <a:gd name="T25" fmla="*/ 17 h 30"/>
                <a:gd name="T26" fmla="*/ 37 w 62"/>
                <a:gd name="T27" fmla="*/ 17 h 30"/>
                <a:gd name="T28" fmla="*/ 37 w 62"/>
                <a:gd name="T29" fmla="*/ 15 h 30"/>
                <a:gd name="T30" fmla="*/ 27 w 62"/>
                <a:gd name="T31" fmla="*/ 12 h 30"/>
                <a:gd name="T32" fmla="*/ 2 w 62"/>
                <a:gd name="T33" fmla="*/ 0 h 30"/>
                <a:gd name="T34" fmla="*/ 0 w 62"/>
                <a:gd name="T35" fmla="*/ 0 h 30"/>
                <a:gd name="T36" fmla="*/ 0 w 62"/>
                <a:gd name="T37" fmla="*/ 2 h 30"/>
                <a:gd name="T38" fmla="*/ 10 w 62"/>
                <a:gd name="T39" fmla="*/ 5 h 30"/>
                <a:gd name="T40" fmla="*/ 10 w 62"/>
                <a:gd name="T41" fmla="*/ 7 h 30"/>
                <a:gd name="T42" fmla="*/ 12 w 62"/>
                <a:gd name="T43" fmla="*/ 5 h 30"/>
                <a:gd name="T44" fmla="*/ 10 w 62"/>
                <a:gd name="T45" fmla="*/ 5 h 30"/>
                <a:gd name="T46" fmla="*/ 2 w 62"/>
                <a:gd name="T4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" h="30">
                  <a:moveTo>
                    <a:pt x="52" y="22"/>
                  </a:moveTo>
                  <a:lnTo>
                    <a:pt x="52" y="22"/>
                  </a:lnTo>
                  <a:lnTo>
                    <a:pt x="52" y="25"/>
                  </a:lnTo>
                  <a:lnTo>
                    <a:pt x="59" y="30"/>
                  </a:lnTo>
                  <a:lnTo>
                    <a:pt x="62" y="30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52" y="22"/>
                  </a:lnTo>
                  <a:close/>
                  <a:moveTo>
                    <a:pt x="27" y="12"/>
                  </a:moveTo>
                  <a:lnTo>
                    <a:pt x="25" y="12"/>
                  </a:lnTo>
                  <a:lnTo>
                    <a:pt x="27" y="12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27" y="12"/>
                  </a:lnTo>
                  <a:close/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2" y="5"/>
                  </a:lnTo>
                  <a:lnTo>
                    <a:pt x="10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ṧľiḓe">
              <a:extLst>
                <a:ext uri="{FF2B5EF4-FFF2-40B4-BE49-F238E27FC236}">
                  <a16:creationId xmlns:a16="http://schemas.microsoft.com/office/drawing/2014/main" id="{F53B7B3B-6D84-4CC3-B9D4-FFE5C96DBF55}"/>
                </a:ext>
              </a:extLst>
            </p:cNvPr>
            <p:cNvSpPr/>
            <p:nvPr/>
          </p:nvSpPr>
          <p:spPr bwMode="auto">
            <a:xfrm>
              <a:off x="4854576" y="4479926"/>
              <a:ext cx="98425" cy="47625"/>
            </a:xfrm>
            <a:custGeom>
              <a:avLst/>
              <a:gdLst>
                <a:gd name="T0" fmla="*/ 52 w 62"/>
                <a:gd name="T1" fmla="*/ 22 h 30"/>
                <a:gd name="T2" fmla="*/ 52 w 62"/>
                <a:gd name="T3" fmla="*/ 22 h 30"/>
                <a:gd name="T4" fmla="*/ 52 w 62"/>
                <a:gd name="T5" fmla="*/ 25 h 30"/>
                <a:gd name="T6" fmla="*/ 59 w 62"/>
                <a:gd name="T7" fmla="*/ 30 h 30"/>
                <a:gd name="T8" fmla="*/ 62 w 62"/>
                <a:gd name="T9" fmla="*/ 30 h 30"/>
                <a:gd name="T10" fmla="*/ 62 w 62"/>
                <a:gd name="T11" fmla="*/ 27 h 30"/>
                <a:gd name="T12" fmla="*/ 62 w 62"/>
                <a:gd name="T13" fmla="*/ 27 h 30"/>
                <a:gd name="T14" fmla="*/ 52 w 62"/>
                <a:gd name="T15" fmla="*/ 22 h 30"/>
                <a:gd name="T16" fmla="*/ 27 w 62"/>
                <a:gd name="T17" fmla="*/ 12 h 30"/>
                <a:gd name="T18" fmla="*/ 25 w 62"/>
                <a:gd name="T19" fmla="*/ 12 h 30"/>
                <a:gd name="T20" fmla="*/ 27 w 62"/>
                <a:gd name="T21" fmla="*/ 12 h 30"/>
                <a:gd name="T22" fmla="*/ 34 w 62"/>
                <a:gd name="T23" fmla="*/ 17 h 30"/>
                <a:gd name="T24" fmla="*/ 34 w 62"/>
                <a:gd name="T25" fmla="*/ 17 h 30"/>
                <a:gd name="T26" fmla="*/ 37 w 62"/>
                <a:gd name="T27" fmla="*/ 17 h 30"/>
                <a:gd name="T28" fmla="*/ 37 w 62"/>
                <a:gd name="T29" fmla="*/ 15 h 30"/>
                <a:gd name="T30" fmla="*/ 27 w 62"/>
                <a:gd name="T31" fmla="*/ 12 h 30"/>
                <a:gd name="T32" fmla="*/ 2 w 62"/>
                <a:gd name="T33" fmla="*/ 0 h 30"/>
                <a:gd name="T34" fmla="*/ 0 w 62"/>
                <a:gd name="T35" fmla="*/ 0 h 30"/>
                <a:gd name="T36" fmla="*/ 0 w 62"/>
                <a:gd name="T37" fmla="*/ 2 h 30"/>
                <a:gd name="T38" fmla="*/ 10 w 62"/>
                <a:gd name="T39" fmla="*/ 5 h 30"/>
                <a:gd name="T40" fmla="*/ 10 w 62"/>
                <a:gd name="T41" fmla="*/ 7 h 30"/>
                <a:gd name="T42" fmla="*/ 12 w 62"/>
                <a:gd name="T43" fmla="*/ 5 h 30"/>
                <a:gd name="T44" fmla="*/ 10 w 62"/>
                <a:gd name="T45" fmla="*/ 5 h 30"/>
                <a:gd name="T46" fmla="*/ 2 w 62"/>
                <a:gd name="T4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" h="30">
                  <a:moveTo>
                    <a:pt x="52" y="22"/>
                  </a:moveTo>
                  <a:lnTo>
                    <a:pt x="52" y="22"/>
                  </a:lnTo>
                  <a:lnTo>
                    <a:pt x="52" y="25"/>
                  </a:lnTo>
                  <a:lnTo>
                    <a:pt x="59" y="30"/>
                  </a:lnTo>
                  <a:lnTo>
                    <a:pt x="62" y="30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52" y="22"/>
                  </a:lnTo>
                  <a:moveTo>
                    <a:pt x="27" y="12"/>
                  </a:moveTo>
                  <a:lnTo>
                    <a:pt x="25" y="12"/>
                  </a:lnTo>
                  <a:lnTo>
                    <a:pt x="27" y="12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27" y="12"/>
                  </a:lnTo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2" y="5"/>
                  </a:lnTo>
                  <a:lnTo>
                    <a:pt x="10" y="5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ŝ1îḓe">
              <a:extLst>
                <a:ext uri="{FF2B5EF4-FFF2-40B4-BE49-F238E27FC236}">
                  <a16:creationId xmlns:a16="http://schemas.microsoft.com/office/drawing/2014/main" id="{BE732516-BC2D-4758-86DD-B6C975363455}"/>
                </a:ext>
              </a:extLst>
            </p:cNvPr>
            <p:cNvSpPr/>
            <p:nvPr/>
          </p:nvSpPr>
          <p:spPr bwMode="auto">
            <a:xfrm>
              <a:off x="4976813" y="4533901"/>
              <a:ext cx="11113" cy="12700"/>
            </a:xfrm>
            <a:custGeom>
              <a:avLst/>
              <a:gdLst>
                <a:gd name="T0" fmla="*/ 2 w 7"/>
                <a:gd name="T1" fmla="*/ 0 h 8"/>
                <a:gd name="T2" fmla="*/ 0 w 7"/>
                <a:gd name="T3" fmla="*/ 0 h 8"/>
                <a:gd name="T4" fmla="*/ 0 w 7"/>
                <a:gd name="T5" fmla="*/ 3 h 8"/>
                <a:gd name="T6" fmla="*/ 4 w 7"/>
                <a:gd name="T7" fmla="*/ 3 h 8"/>
                <a:gd name="T8" fmla="*/ 4 w 7"/>
                <a:gd name="T9" fmla="*/ 5 h 8"/>
                <a:gd name="T10" fmla="*/ 4 w 7"/>
                <a:gd name="T11" fmla="*/ 8 h 8"/>
                <a:gd name="T12" fmla="*/ 4 w 7"/>
                <a:gd name="T13" fmla="*/ 8 h 8"/>
                <a:gd name="T14" fmla="*/ 4 w 7"/>
                <a:gd name="T15" fmla="*/ 8 h 8"/>
                <a:gd name="T16" fmla="*/ 7 w 7"/>
                <a:gd name="T17" fmla="*/ 8 h 8"/>
                <a:gd name="T18" fmla="*/ 7 w 7"/>
                <a:gd name="T19" fmla="*/ 8 h 8"/>
                <a:gd name="T20" fmla="*/ 7 w 7"/>
                <a:gd name="T21" fmla="*/ 3 h 8"/>
                <a:gd name="T22" fmla="*/ 2 w 7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8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4" y="5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íş1ídê">
              <a:extLst>
                <a:ext uri="{FF2B5EF4-FFF2-40B4-BE49-F238E27FC236}">
                  <a16:creationId xmlns:a16="http://schemas.microsoft.com/office/drawing/2014/main" id="{25ADEF71-E293-4960-96A7-B321AB96F9CD}"/>
                </a:ext>
              </a:extLst>
            </p:cNvPr>
            <p:cNvSpPr/>
            <p:nvPr/>
          </p:nvSpPr>
          <p:spPr bwMode="auto">
            <a:xfrm>
              <a:off x="4976813" y="4533901"/>
              <a:ext cx="11113" cy="12700"/>
            </a:xfrm>
            <a:custGeom>
              <a:avLst/>
              <a:gdLst>
                <a:gd name="T0" fmla="*/ 2 w 7"/>
                <a:gd name="T1" fmla="*/ 0 h 8"/>
                <a:gd name="T2" fmla="*/ 0 w 7"/>
                <a:gd name="T3" fmla="*/ 0 h 8"/>
                <a:gd name="T4" fmla="*/ 0 w 7"/>
                <a:gd name="T5" fmla="*/ 3 h 8"/>
                <a:gd name="T6" fmla="*/ 4 w 7"/>
                <a:gd name="T7" fmla="*/ 3 h 8"/>
                <a:gd name="T8" fmla="*/ 4 w 7"/>
                <a:gd name="T9" fmla="*/ 5 h 8"/>
                <a:gd name="T10" fmla="*/ 4 w 7"/>
                <a:gd name="T11" fmla="*/ 8 h 8"/>
                <a:gd name="T12" fmla="*/ 4 w 7"/>
                <a:gd name="T13" fmla="*/ 8 h 8"/>
                <a:gd name="T14" fmla="*/ 4 w 7"/>
                <a:gd name="T15" fmla="*/ 8 h 8"/>
                <a:gd name="T16" fmla="*/ 7 w 7"/>
                <a:gd name="T17" fmla="*/ 8 h 8"/>
                <a:gd name="T18" fmla="*/ 7 w 7"/>
                <a:gd name="T19" fmla="*/ 8 h 8"/>
                <a:gd name="T20" fmla="*/ 7 w 7"/>
                <a:gd name="T21" fmla="*/ 3 h 8"/>
                <a:gd name="T22" fmla="*/ 2 w 7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8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4" y="5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3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îsḷîďe">
              <a:extLst>
                <a:ext uri="{FF2B5EF4-FFF2-40B4-BE49-F238E27FC236}">
                  <a16:creationId xmlns:a16="http://schemas.microsoft.com/office/drawing/2014/main" id="{697927EA-C180-447D-B1A8-64C07D02AF3E}"/>
                </a:ext>
              </a:extLst>
            </p:cNvPr>
            <p:cNvSpPr/>
            <p:nvPr/>
          </p:nvSpPr>
          <p:spPr bwMode="auto">
            <a:xfrm>
              <a:off x="4983163" y="4541838"/>
              <a:ext cx="0" cy="4763"/>
            </a:xfrm>
            <a:custGeom>
              <a:avLst/>
              <a:gdLst>
                <a:gd name="T0" fmla="*/ 0 h 3"/>
                <a:gd name="T1" fmla="*/ 3 h 3"/>
                <a:gd name="T2" fmla="*/ 3 h 3"/>
                <a:gd name="T3" fmla="*/ 3 h 3"/>
                <a:gd name="T4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1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í$ľíďe">
              <a:extLst>
                <a:ext uri="{FF2B5EF4-FFF2-40B4-BE49-F238E27FC236}">
                  <a16:creationId xmlns:a16="http://schemas.microsoft.com/office/drawing/2014/main" id="{C7FD602F-CE5F-40D4-A211-A9720DADB9F2}"/>
                </a:ext>
              </a:extLst>
            </p:cNvPr>
            <p:cNvSpPr/>
            <p:nvPr/>
          </p:nvSpPr>
          <p:spPr bwMode="auto">
            <a:xfrm>
              <a:off x="4983163" y="4541838"/>
              <a:ext cx="0" cy="4763"/>
            </a:xfrm>
            <a:custGeom>
              <a:avLst/>
              <a:gdLst>
                <a:gd name="T0" fmla="*/ 0 h 3"/>
                <a:gd name="T1" fmla="*/ 3 h 3"/>
                <a:gd name="T2" fmla="*/ 3 h 3"/>
                <a:gd name="T3" fmla="*/ 3 h 3"/>
                <a:gd name="T4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îŝḻïḍe">
              <a:extLst>
                <a:ext uri="{FF2B5EF4-FFF2-40B4-BE49-F238E27FC236}">
                  <a16:creationId xmlns:a16="http://schemas.microsoft.com/office/drawing/2014/main" id="{D602DA0F-36CC-499D-A42B-D43BD2A2CCCB}"/>
                </a:ext>
              </a:extLst>
            </p:cNvPr>
            <p:cNvSpPr/>
            <p:nvPr/>
          </p:nvSpPr>
          <p:spPr bwMode="auto">
            <a:xfrm>
              <a:off x="4987926" y="4573588"/>
              <a:ext cx="3175" cy="20638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3 h 13"/>
                <a:gd name="T4" fmla="*/ 0 w 2"/>
                <a:gd name="T5" fmla="*/ 13 h 13"/>
                <a:gd name="T6" fmla="*/ 0 w 2"/>
                <a:gd name="T7" fmla="*/ 13 h 13"/>
                <a:gd name="T8" fmla="*/ 0 w 2"/>
                <a:gd name="T9" fmla="*/ 13 h 13"/>
                <a:gd name="T10" fmla="*/ 2 w 2"/>
                <a:gd name="T11" fmla="*/ 13 h 13"/>
                <a:gd name="T12" fmla="*/ 2 w 2"/>
                <a:gd name="T13" fmla="*/ 3 h 13"/>
                <a:gd name="T14" fmla="*/ 0 w 2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íṥlïḑe">
              <a:extLst>
                <a:ext uri="{FF2B5EF4-FFF2-40B4-BE49-F238E27FC236}">
                  <a16:creationId xmlns:a16="http://schemas.microsoft.com/office/drawing/2014/main" id="{158DF1E0-20E4-4EF6-B253-30FC40D45F30}"/>
                </a:ext>
              </a:extLst>
            </p:cNvPr>
            <p:cNvSpPr/>
            <p:nvPr/>
          </p:nvSpPr>
          <p:spPr bwMode="auto">
            <a:xfrm>
              <a:off x="4987926" y="4573588"/>
              <a:ext cx="3175" cy="20638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3 h 13"/>
                <a:gd name="T4" fmla="*/ 0 w 2"/>
                <a:gd name="T5" fmla="*/ 13 h 13"/>
                <a:gd name="T6" fmla="*/ 0 w 2"/>
                <a:gd name="T7" fmla="*/ 13 h 13"/>
                <a:gd name="T8" fmla="*/ 0 w 2"/>
                <a:gd name="T9" fmla="*/ 13 h 13"/>
                <a:gd name="T10" fmla="*/ 2 w 2"/>
                <a:gd name="T11" fmla="*/ 13 h 13"/>
                <a:gd name="T12" fmla="*/ 2 w 2"/>
                <a:gd name="T13" fmla="*/ 3 h 13"/>
                <a:gd name="T14" fmla="*/ 0 w 2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13">
                  <a:moveTo>
                    <a:pt x="0" y="0"/>
                  </a:moveTo>
                  <a:lnTo>
                    <a:pt x="0" y="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ïṩḷiḋè">
              <a:extLst>
                <a:ext uri="{FF2B5EF4-FFF2-40B4-BE49-F238E27FC236}">
                  <a16:creationId xmlns:a16="http://schemas.microsoft.com/office/drawing/2014/main" id="{E67D84BD-8773-48C7-B30A-1A0A135CAFEA}"/>
                </a:ext>
              </a:extLst>
            </p:cNvPr>
            <p:cNvSpPr/>
            <p:nvPr/>
          </p:nvSpPr>
          <p:spPr bwMode="auto">
            <a:xfrm>
              <a:off x="4987926" y="4578351"/>
              <a:ext cx="1588" cy="15875"/>
            </a:xfrm>
            <a:prstGeom prst="rect">
              <a:avLst/>
            </a:prstGeom>
            <a:solidFill>
              <a:srgbClr val="41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ïšḻîḓe">
              <a:extLst>
                <a:ext uri="{FF2B5EF4-FFF2-40B4-BE49-F238E27FC236}">
                  <a16:creationId xmlns:a16="http://schemas.microsoft.com/office/drawing/2014/main" id="{15FA9B11-0B1B-4791-AA33-E1DF70431A77}"/>
                </a:ext>
              </a:extLst>
            </p:cNvPr>
            <p:cNvSpPr/>
            <p:nvPr/>
          </p:nvSpPr>
          <p:spPr bwMode="auto">
            <a:xfrm>
              <a:off x="4987926" y="4578351"/>
              <a:ext cx="1588" cy="1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íṧḷiďé">
              <a:extLst>
                <a:ext uri="{FF2B5EF4-FFF2-40B4-BE49-F238E27FC236}">
                  <a16:creationId xmlns:a16="http://schemas.microsoft.com/office/drawing/2014/main" id="{19658486-3A6C-4D05-B232-77CC315B6BF4}"/>
                </a:ext>
              </a:extLst>
            </p:cNvPr>
            <p:cNvSpPr/>
            <p:nvPr/>
          </p:nvSpPr>
          <p:spPr bwMode="auto">
            <a:xfrm>
              <a:off x="4987926" y="4621213"/>
              <a:ext cx="19050" cy="204788"/>
            </a:xfrm>
            <a:custGeom>
              <a:avLst/>
              <a:gdLst>
                <a:gd name="T0" fmla="*/ 12 w 12"/>
                <a:gd name="T1" fmla="*/ 116 h 129"/>
                <a:gd name="T2" fmla="*/ 10 w 12"/>
                <a:gd name="T3" fmla="*/ 116 h 129"/>
                <a:gd name="T4" fmla="*/ 10 w 12"/>
                <a:gd name="T5" fmla="*/ 126 h 129"/>
                <a:gd name="T6" fmla="*/ 12 w 12"/>
                <a:gd name="T7" fmla="*/ 129 h 129"/>
                <a:gd name="T8" fmla="*/ 12 w 12"/>
                <a:gd name="T9" fmla="*/ 129 h 129"/>
                <a:gd name="T10" fmla="*/ 12 w 12"/>
                <a:gd name="T11" fmla="*/ 126 h 129"/>
                <a:gd name="T12" fmla="*/ 12 w 12"/>
                <a:gd name="T13" fmla="*/ 116 h 129"/>
                <a:gd name="T14" fmla="*/ 12 w 12"/>
                <a:gd name="T15" fmla="*/ 116 h 129"/>
                <a:gd name="T16" fmla="*/ 10 w 12"/>
                <a:gd name="T17" fmla="*/ 86 h 129"/>
                <a:gd name="T18" fmla="*/ 7 w 12"/>
                <a:gd name="T19" fmla="*/ 89 h 129"/>
                <a:gd name="T20" fmla="*/ 10 w 12"/>
                <a:gd name="T21" fmla="*/ 99 h 129"/>
                <a:gd name="T22" fmla="*/ 10 w 12"/>
                <a:gd name="T23" fmla="*/ 99 h 129"/>
                <a:gd name="T24" fmla="*/ 10 w 12"/>
                <a:gd name="T25" fmla="*/ 99 h 129"/>
                <a:gd name="T26" fmla="*/ 12 w 12"/>
                <a:gd name="T27" fmla="*/ 96 h 129"/>
                <a:gd name="T28" fmla="*/ 10 w 12"/>
                <a:gd name="T29" fmla="*/ 89 h 129"/>
                <a:gd name="T30" fmla="*/ 10 w 12"/>
                <a:gd name="T31" fmla="*/ 86 h 129"/>
                <a:gd name="T32" fmla="*/ 7 w 12"/>
                <a:gd name="T33" fmla="*/ 57 h 129"/>
                <a:gd name="T34" fmla="*/ 5 w 12"/>
                <a:gd name="T35" fmla="*/ 59 h 129"/>
                <a:gd name="T36" fmla="*/ 7 w 12"/>
                <a:gd name="T37" fmla="*/ 69 h 129"/>
                <a:gd name="T38" fmla="*/ 7 w 12"/>
                <a:gd name="T39" fmla="*/ 69 h 129"/>
                <a:gd name="T40" fmla="*/ 7 w 12"/>
                <a:gd name="T41" fmla="*/ 69 h 129"/>
                <a:gd name="T42" fmla="*/ 10 w 12"/>
                <a:gd name="T43" fmla="*/ 69 h 129"/>
                <a:gd name="T44" fmla="*/ 7 w 12"/>
                <a:gd name="T45" fmla="*/ 59 h 129"/>
                <a:gd name="T46" fmla="*/ 7 w 12"/>
                <a:gd name="T47" fmla="*/ 57 h 129"/>
                <a:gd name="T48" fmla="*/ 5 w 12"/>
                <a:gd name="T49" fmla="*/ 30 h 129"/>
                <a:gd name="T50" fmla="*/ 2 w 12"/>
                <a:gd name="T51" fmla="*/ 30 h 129"/>
                <a:gd name="T52" fmla="*/ 5 w 12"/>
                <a:gd name="T53" fmla="*/ 39 h 129"/>
                <a:gd name="T54" fmla="*/ 5 w 12"/>
                <a:gd name="T55" fmla="*/ 42 h 129"/>
                <a:gd name="T56" fmla="*/ 5 w 12"/>
                <a:gd name="T57" fmla="*/ 42 h 129"/>
                <a:gd name="T58" fmla="*/ 7 w 12"/>
                <a:gd name="T59" fmla="*/ 39 h 129"/>
                <a:gd name="T60" fmla="*/ 5 w 12"/>
                <a:gd name="T61" fmla="*/ 30 h 129"/>
                <a:gd name="T62" fmla="*/ 5 w 12"/>
                <a:gd name="T63" fmla="*/ 30 h 129"/>
                <a:gd name="T64" fmla="*/ 2 w 12"/>
                <a:gd name="T65" fmla="*/ 0 h 129"/>
                <a:gd name="T66" fmla="*/ 0 w 12"/>
                <a:gd name="T67" fmla="*/ 0 h 129"/>
                <a:gd name="T68" fmla="*/ 2 w 12"/>
                <a:gd name="T69" fmla="*/ 10 h 129"/>
                <a:gd name="T70" fmla="*/ 2 w 12"/>
                <a:gd name="T71" fmla="*/ 12 h 129"/>
                <a:gd name="T72" fmla="*/ 2 w 12"/>
                <a:gd name="T73" fmla="*/ 12 h 129"/>
                <a:gd name="T74" fmla="*/ 5 w 12"/>
                <a:gd name="T75" fmla="*/ 10 h 129"/>
                <a:gd name="T76" fmla="*/ 5 w 12"/>
                <a:gd name="T77" fmla="*/ 0 h 129"/>
                <a:gd name="T78" fmla="*/ 2 w 12"/>
                <a:gd name="T7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" h="129">
                  <a:moveTo>
                    <a:pt x="12" y="116"/>
                  </a:moveTo>
                  <a:lnTo>
                    <a:pt x="10" y="116"/>
                  </a:lnTo>
                  <a:lnTo>
                    <a:pt x="10" y="126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6"/>
                  </a:lnTo>
                  <a:lnTo>
                    <a:pt x="12" y="116"/>
                  </a:lnTo>
                  <a:lnTo>
                    <a:pt x="12" y="116"/>
                  </a:lnTo>
                  <a:close/>
                  <a:moveTo>
                    <a:pt x="10" y="86"/>
                  </a:moveTo>
                  <a:lnTo>
                    <a:pt x="7" y="8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2" y="96"/>
                  </a:lnTo>
                  <a:lnTo>
                    <a:pt x="10" y="89"/>
                  </a:lnTo>
                  <a:lnTo>
                    <a:pt x="10" y="86"/>
                  </a:lnTo>
                  <a:close/>
                  <a:moveTo>
                    <a:pt x="7" y="57"/>
                  </a:moveTo>
                  <a:lnTo>
                    <a:pt x="5" y="59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10" y="69"/>
                  </a:lnTo>
                  <a:lnTo>
                    <a:pt x="7" y="59"/>
                  </a:lnTo>
                  <a:lnTo>
                    <a:pt x="7" y="57"/>
                  </a:lnTo>
                  <a:close/>
                  <a:moveTo>
                    <a:pt x="5" y="30"/>
                  </a:moveTo>
                  <a:lnTo>
                    <a:pt x="2" y="30"/>
                  </a:lnTo>
                  <a:lnTo>
                    <a:pt x="5" y="39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7" y="39"/>
                  </a:lnTo>
                  <a:lnTo>
                    <a:pt x="5" y="30"/>
                  </a:lnTo>
                  <a:lnTo>
                    <a:pt x="5" y="30"/>
                  </a:lnTo>
                  <a:close/>
                  <a:moveTo>
                    <a:pt x="2" y="0"/>
                  </a:moveTo>
                  <a:lnTo>
                    <a:pt x="0" y="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5" y="10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îṣḷïde">
              <a:extLst>
                <a:ext uri="{FF2B5EF4-FFF2-40B4-BE49-F238E27FC236}">
                  <a16:creationId xmlns:a16="http://schemas.microsoft.com/office/drawing/2014/main" id="{2A6E2712-D751-458E-BF00-FE0E5B58FE0B}"/>
                </a:ext>
              </a:extLst>
            </p:cNvPr>
            <p:cNvSpPr/>
            <p:nvPr/>
          </p:nvSpPr>
          <p:spPr bwMode="auto">
            <a:xfrm>
              <a:off x="4987926" y="4621213"/>
              <a:ext cx="19050" cy="204788"/>
            </a:xfrm>
            <a:custGeom>
              <a:avLst/>
              <a:gdLst>
                <a:gd name="T0" fmla="*/ 12 w 12"/>
                <a:gd name="T1" fmla="*/ 116 h 129"/>
                <a:gd name="T2" fmla="*/ 10 w 12"/>
                <a:gd name="T3" fmla="*/ 116 h 129"/>
                <a:gd name="T4" fmla="*/ 10 w 12"/>
                <a:gd name="T5" fmla="*/ 126 h 129"/>
                <a:gd name="T6" fmla="*/ 12 w 12"/>
                <a:gd name="T7" fmla="*/ 129 h 129"/>
                <a:gd name="T8" fmla="*/ 12 w 12"/>
                <a:gd name="T9" fmla="*/ 129 h 129"/>
                <a:gd name="T10" fmla="*/ 12 w 12"/>
                <a:gd name="T11" fmla="*/ 126 h 129"/>
                <a:gd name="T12" fmla="*/ 12 w 12"/>
                <a:gd name="T13" fmla="*/ 116 h 129"/>
                <a:gd name="T14" fmla="*/ 12 w 12"/>
                <a:gd name="T15" fmla="*/ 116 h 129"/>
                <a:gd name="T16" fmla="*/ 10 w 12"/>
                <a:gd name="T17" fmla="*/ 86 h 129"/>
                <a:gd name="T18" fmla="*/ 7 w 12"/>
                <a:gd name="T19" fmla="*/ 89 h 129"/>
                <a:gd name="T20" fmla="*/ 10 w 12"/>
                <a:gd name="T21" fmla="*/ 99 h 129"/>
                <a:gd name="T22" fmla="*/ 10 w 12"/>
                <a:gd name="T23" fmla="*/ 99 h 129"/>
                <a:gd name="T24" fmla="*/ 10 w 12"/>
                <a:gd name="T25" fmla="*/ 99 h 129"/>
                <a:gd name="T26" fmla="*/ 12 w 12"/>
                <a:gd name="T27" fmla="*/ 96 h 129"/>
                <a:gd name="T28" fmla="*/ 10 w 12"/>
                <a:gd name="T29" fmla="*/ 89 h 129"/>
                <a:gd name="T30" fmla="*/ 10 w 12"/>
                <a:gd name="T31" fmla="*/ 86 h 129"/>
                <a:gd name="T32" fmla="*/ 7 w 12"/>
                <a:gd name="T33" fmla="*/ 57 h 129"/>
                <a:gd name="T34" fmla="*/ 5 w 12"/>
                <a:gd name="T35" fmla="*/ 59 h 129"/>
                <a:gd name="T36" fmla="*/ 7 w 12"/>
                <a:gd name="T37" fmla="*/ 69 h 129"/>
                <a:gd name="T38" fmla="*/ 7 w 12"/>
                <a:gd name="T39" fmla="*/ 69 h 129"/>
                <a:gd name="T40" fmla="*/ 7 w 12"/>
                <a:gd name="T41" fmla="*/ 69 h 129"/>
                <a:gd name="T42" fmla="*/ 10 w 12"/>
                <a:gd name="T43" fmla="*/ 69 h 129"/>
                <a:gd name="T44" fmla="*/ 7 w 12"/>
                <a:gd name="T45" fmla="*/ 59 h 129"/>
                <a:gd name="T46" fmla="*/ 7 w 12"/>
                <a:gd name="T47" fmla="*/ 57 h 129"/>
                <a:gd name="T48" fmla="*/ 5 w 12"/>
                <a:gd name="T49" fmla="*/ 30 h 129"/>
                <a:gd name="T50" fmla="*/ 2 w 12"/>
                <a:gd name="T51" fmla="*/ 30 h 129"/>
                <a:gd name="T52" fmla="*/ 5 w 12"/>
                <a:gd name="T53" fmla="*/ 39 h 129"/>
                <a:gd name="T54" fmla="*/ 5 w 12"/>
                <a:gd name="T55" fmla="*/ 42 h 129"/>
                <a:gd name="T56" fmla="*/ 5 w 12"/>
                <a:gd name="T57" fmla="*/ 42 h 129"/>
                <a:gd name="T58" fmla="*/ 7 w 12"/>
                <a:gd name="T59" fmla="*/ 39 h 129"/>
                <a:gd name="T60" fmla="*/ 5 w 12"/>
                <a:gd name="T61" fmla="*/ 30 h 129"/>
                <a:gd name="T62" fmla="*/ 5 w 12"/>
                <a:gd name="T63" fmla="*/ 30 h 129"/>
                <a:gd name="T64" fmla="*/ 2 w 12"/>
                <a:gd name="T65" fmla="*/ 0 h 129"/>
                <a:gd name="T66" fmla="*/ 0 w 12"/>
                <a:gd name="T67" fmla="*/ 0 h 129"/>
                <a:gd name="T68" fmla="*/ 2 w 12"/>
                <a:gd name="T69" fmla="*/ 10 h 129"/>
                <a:gd name="T70" fmla="*/ 2 w 12"/>
                <a:gd name="T71" fmla="*/ 12 h 129"/>
                <a:gd name="T72" fmla="*/ 2 w 12"/>
                <a:gd name="T73" fmla="*/ 12 h 129"/>
                <a:gd name="T74" fmla="*/ 5 w 12"/>
                <a:gd name="T75" fmla="*/ 10 h 129"/>
                <a:gd name="T76" fmla="*/ 5 w 12"/>
                <a:gd name="T77" fmla="*/ 0 h 129"/>
                <a:gd name="T78" fmla="*/ 2 w 12"/>
                <a:gd name="T7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" h="129">
                  <a:moveTo>
                    <a:pt x="12" y="116"/>
                  </a:moveTo>
                  <a:lnTo>
                    <a:pt x="10" y="116"/>
                  </a:lnTo>
                  <a:lnTo>
                    <a:pt x="10" y="126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6"/>
                  </a:lnTo>
                  <a:lnTo>
                    <a:pt x="12" y="116"/>
                  </a:lnTo>
                  <a:lnTo>
                    <a:pt x="12" y="116"/>
                  </a:lnTo>
                  <a:moveTo>
                    <a:pt x="10" y="86"/>
                  </a:moveTo>
                  <a:lnTo>
                    <a:pt x="7" y="8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2" y="96"/>
                  </a:lnTo>
                  <a:lnTo>
                    <a:pt x="10" y="89"/>
                  </a:lnTo>
                  <a:lnTo>
                    <a:pt x="10" y="86"/>
                  </a:lnTo>
                  <a:moveTo>
                    <a:pt x="7" y="57"/>
                  </a:moveTo>
                  <a:lnTo>
                    <a:pt x="5" y="59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10" y="69"/>
                  </a:lnTo>
                  <a:lnTo>
                    <a:pt x="7" y="59"/>
                  </a:lnTo>
                  <a:lnTo>
                    <a:pt x="7" y="57"/>
                  </a:lnTo>
                  <a:moveTo>
                    <a:pt x="5" y="30"/>
                  </a:moveTo>
                  <a:lnTo>
                    <a:pt x="2" y="30"/>
                  </a:lnTo>
                  <a:lnTo>
                    <a:pt x="5" y="39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7" y="39"/>
                  </a:lnTo>
                  <a:lnTo>
                    <a:pt x="5" y="30"/>
                  </a:lnTo>
                  <a:lnTo>
                    <a:pt x="5" y="30"/>
                  </a:lnTo>
                  <a:moveTo>
                    <a:pt x="2" y="0"/>
                  </a:moveTo>
                  <a:lnTo>
                    <a:pt x="0" y="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5" y="10"/>
                  </a:lnTo>
                  <a:lnTo>
                    <a:pt x="5" y="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iṣļïďé">
              <a:extLst>
                <a:ext uri="{FF2B5EF4-FFF2-40B4-BE49-F238E27FC236}">
                  <a16:creationId xmlns:a16="http://schemas.microsoft.com/office/drawing/2014/main" id="{D64B4F27-CF2C-4DF8-99EB-4E0A7ED7CB23}"/>
                </a:ext>
              </a:extLst>
            </p:cNvPr>
            <p:cNvSpPr/>
            <p:nvPr/>
          </p:nvSpPr>
          <p:spPr bwMode="auto">
            <a:xfrm>
              <a:off x="5006976" y="4837113"/>
              <a:ext cx="4763" cy="11113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2 h 7"/>
                <a:gd name="T4" fmla="*/ 0 w 3"/>
                <a:gd name="T5" fmla="*/ 7 h 7"/>
                <a:gd name="T6" fmla="*/ 3 w 3"/>
                <a:gd name="T7" fmla="*/ 7 h 7"/>
                <a:gd name="T8" fmla="*/ 3 w 3"/>
                <a:gd name="T9" fmla="*/ 7 h 7"/>
                <a:gd name="T10" fmla="*/ 3 w 3"/>
                <a:gd name="T11" fmla="*/ 7 h 7"/>
                <a:gd name="T12" fmla="*/ 3 w 3"/>
                <a:gd name="T13" fmla="*/ 2 h 7"/>
                <a:gd name="T14" fmla="*/ 0 w 3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lnTo>
                    <a:pt x="0" y="2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9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îŝļîḓè">
              <a:extLst>
                <a:ext uri="{FF2B5EF4-FFF2-40B4-BE49-F238E27FC236}">
                  <a16:creationId xmlns:a16="http://schemas.microsoft.com/office/drawing/2014/main" id="{0F4D87FA-13F8-45E9-9F76-A4211489729C}"/>
                </a:ext>
              </a:extLst>
            </p:cNvPr>
            <p:cNvSpPr/>
            <p:nvPr/>
          </p:nvSpPr>
          <p:spPr bwMode="auto">
            <a:xfrm>
              <a:off x="5006976" y="4837113"/>
              <a:ext cx="4763" cy="11113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2 h 7"/>
                <a:gd name="T4" fmla="*/ 0 w 3"/>
                <a:gd name="T5" fmla="*/ 7 h 7"/>
                <a:gd name="T6" fmla="*/ 3 w 3"/>
                <a:gd name="T7" fmla="*/ 7 h 7"/>
                <a:gd name="T8" fmla="*/ 3 w 3"/>
                <a:gd name="T9" fmla="*/ 7 h 7"/>
                <a:gd name="T10" fmla="*/ 3 w 3"/>
                <a:gd name="T11" fmla="*/ 7 h 7"/>
                <a:gd name="T12" fmla="*/ 3 w 3"/>
                <a:gd name="T13" fmla="*/ 2 h 7"/>
                <a:gd name="T14" fmla="*/ 0 w 3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lnTo>
                    <a:pt x="0" y="2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Sḻiḑe">
              <a:extLst>
                <a:ext uri="{FF2B5EF4-FFF2-40B4-BE49-F238E27FC236}">
                  <a16:creationId xmlns:a16="http://schemas.microsoft.com/office/drawing/2014/main" id="{8C31500A-5726-4919-B203-A432EC3C2837}"/>
                </a:ext>
              </a:extLst>
            </p:cNvPr>
            <p:cNvSpPr/>
            <p:nvPr/>
          </p:nvSpPr>
          <p:spPr bwMode="auto">
            <a:xfrm>
              <a:off x="4729163" y="3883026"/>
              <a:ext cx="74613" cy="101600"/>
            </a:xfrm>
            <a:custGeom>
              <a:avLst/>
              <a:gdLst>
                <a:gd name="T0" fmla="*/ 0 w 19"/>
                <a:gd name="T1" fmla="*/ 5 h 26"/>
                <a:gd name="T2" fmla="*/ 5 w 19"/>
                <a:gd name="T3" fmla="*/ 2 h 26"/>
                <a:gd name="T4" fmla="*/ 18 w 19"/>
                <a:gd name="T5" fmla="*/ 19 h 26"/>
                <a:gd name="T6" fmla="*/ 13 w 19"/>
                <a:gd name="T7" fmla="*/ 26 h 26"/>
                <a:gd name="T8" fmla="*/ 0 w 19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6">
                  <a:moveTo>
                    <a:pt x="0" y="5"/>
                  </a:moveTo>
                  <a:cubicBezTo>
                    <a:pt x="0" y="5"/>
                    <a:pt x="2" y="0"/>
                    <a:pt x="5" y="2"/>
                  </a:cubicBezTo>
                  <a:cubicBezTo>
                    <a:pt x="8" y="5"/>
                    <a:pt x="13" y="14"/>
                    <a:pt x="18" y="19"/>
                  </a:cubicBezTo>
                  <a:cubicBezTo>
                    <a:pt x="19" y="21"/>
                    <a:pt x="13" y="26"/>
                    <a:pt x="13" y="26"/>
                  </a:cubicBezTo>
                  <a:cubicBezTo>
                    <a:pt x="13" y="26"/>
                    <a:pt x="2" y="19"/>
                    <a:pt x="0" y="5"/>
                  </a:cubicBezTo>
                  <a:close/>
                </a:path>
              </a:pathLst>
            </a:custGeom>
            <a:solidFill>
              <a:srgbClr val="9A84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íşḻîḍé">
              <a:extLst>
                <a:ext uri="{FF2B5EF4-FFF2-40B4-BE49-F238E27FC236}">
                  <a16:creationId xmlns:a16="http://schemas.microsoft.com/office/drawing/2014/main" id="{17F9C72E-0BEB-4554-8D5E-255606693E02}"/>
                </a:ext>
              </a:extLst>
            </p:cNvPr>
            <p:cNvSpPr/>
            <p:nvPr/>
          </p:nvSpPr>
          <p:spPr bwMode="auto">
            <a:xfrm>
              <a:off x="4799013" y="3898901"/>
              <a:ext cx="34925" cy="82550"/>
            </a:xfrm>
            <a:custGeom>
              <a:avLst/>
              <a:gdLst>
                <a:gd name="T0" fmla="*/ 0 w 9"/>
                <a:gd name="T1" fmla="*/ 15 h 21"/>
                <a:gd name="T2" fmla="*/ 5 w 9"/>
                <a:gd name="T3" fmla="*/ 21 h 21"/>
                <a:gd name="T4" fmla="*/ 9 w 9"/>
                <a:gd name="T5" fmla="*/ 8 h 21"/>
                <a:gd name="T6" fmla="*/ 4 w 9"/>
                <a:gd name="T7" fmla="*/ 0 h 21"/>
                <a:gd name="T8" fmla="*/ 0 w 9"/>
                <a:gd name="T9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1">
                  <a:moveTo>
                    <a:pt x="0" y="15"/>
                  </a:move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9" y="14"/>
                    <a:pt x="9" y="8"/>
                  </a:cubicBezTo>
                  <a:cubicBezTo>
                    <a:pt x="9" y="1"/>
                    <a:pt x="5" y="0"/>
                    <a:pt x="4" y="0"/>
                  </a:cubicBezTo>
                  <a:cubicBezTo>
                    <a:pt x="3" y="0"/>
                    <a:pt x="4" y="12"/>
                    <a:pt x="0" y="15"/>
                  </a:cubicBezTo>
                  <a:close/>
                </a:path>
              </a:pathLst>
            </a:custGeom>
            <a:solidFill>
              <a:srgbClr val="9A84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sļîḋê">
              <a:extLst>
                <a:ext uri="{FF2B5EF4-FFF2-40B4-BE49-F238E27FC236}">
                  <a16:creationId xmlns:a16="http://schemas.microsoft.com/office/drawing/2014/main" id="{98AE69D8-996A-45E5-A7F1-9A09DB27BD11}"/>
                </a:ext>
              </a:extLst>
            </p:cNvPr>
            <p:cNvSpPr/>
            <p:nvPr/>
          </p:nvSpPr>
          <p:spPr bwMode="auto">
            <a:xfrm>
              <a:off x="6410326" y="4727576"/>
              <a:ext cx="601663" cy="946150"/>
            </a:xfrm>
            <a:custGeom>
              <a:avLst/>
              <a:gdLst>
                <a:gd name="T0" fmla="*/ 111 w 153"/>
                <a:gd name="T1" fmla="*/ 104 h 241"/>
                <a:gd name="T2" fmla="*/ 100 w 153"/>
                <a:gd name="T3" fmla="*/ 60 h 241"/>
                <a:gd name="T4" fmla="*/ 68 w 153"/>
                <a:gd name="T5" fmla="*/ 43 h 241"/>
                <a:gd name="T6" fmla="*/ 21 w 153"/>
                <a:gd name="T7" fmla="*/ 2 h 241"/>
                <a:gd name="T8" fmla="*/ 13 w 153"/>
                <a:gd name="T9" fmla="*/ 41 h 241"/>
                <a:gd name="T10" fmla="*/ 3 w 153"/>
                <a:gd name="T11" fmla="*/ 83 h 241"/>
                <a:gd name="T12" fmla="*/ 6 w 153"/>
                <a:gd name="T13" fmla="*/ 119 h 241"/>
                <a:gd name="T14" fmla="*/ 32 w 153"/>
                <a:gd name="T15" fmla="*/ 147 h 241"/>
                <a:gd name="T16" fmla="*/ 25 w 153"/>
                <a:gd name="T17" fmla="*/ 202 h 241"/>
                <a:gd name="T18" fmla="*/ 103 w 153"/>
                <a:gd name="T19" fmla="*/ 233 h 241"/>
                <a:gd name="T20" fmla="*/ 136 w 153"/>
                <a:gd name="T21" fmla="*/ 164 h 241"/>
                <a:gd name="T22" fmla="*/ 111 w 153"/>
                <a:gd name="T23" fmla="*/ 10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3" h="241">
                  <a:moveTo>
                    <a:pt x="111" y="104"/>
                  </a:moveTo>
                  <a:cubicBezTo>
                    <a:pt x="111" y="104"/>
                    <a:pt x="116" y="75"/>
                    <a:pt x="100" y="60"/>
                  </a:cubicBezTo>
                  <a:cubicBezTo>
                    <a:pt x="88" y="48"/>
                    <a:pt x="81" y="53"/>
                    <a:pt x="68" y="43"/>
                  </a:cubicBezTo>
                  <a:cubicBezTo>
                    <a:pt x="56" y="32"/>
                    <a:pt x="37" y="0"/>
                    <a:pt x="21" y="2"/>
                  </a:cubicBezTo>
                  <a:cubicBezTo>
                    <a:pt x="5" y="5"/>
                    <a:pt x="10" y="28"/>
                    <a:pt x="13" y="41"/>
                  </a:cubicBezTo>
                  <a:cubicBezTo>
                    <a:pt x="16" y="56"/>
                    <a:pt x="6" y="69"/>
                    <a:pt x="3" y="83"/>
                  </a:cubicBezTo>
                  <a:cubicBezTo>
                    <a:pt x="1" y="95"/>
                    <a:pt x="0" y="108"/>
                    <a:pt x="6" y="119"/>
                  </a:cubicBezTo>
                  <a:cubicBezTo>
                    <a:pt x="12" y="130"/>
                    <a:pt x="30" y="134"/>
                    <a:pt x="32" y="147"/>
                  </a:cubicBezTo>
                  <a:cubicBezTo>
                    <a:pt x="34" y="160"/>
                    <a:pt x="11" y="181"/>
                    <a:pt x="25" y="202"/>
                  </a:cubicBezTo>
                  <a:cubicBezTo>
                    <a:pt x="41" y="227"/>
                    <a:pt x="74" y="241"/>
                    <a:pt x="103" y="233"/>
                  </a:cubicBezTo>
                  <a:cubicBezTo>
                    <a:pt x="130" y="225"/>
                    <a:pt x="153" y="190"/>
                    <a:pt x="136" y="164"/>
                  </a:cubicBezTo>
                  <a:cubicBezTo>
                    <a:pt x="122" y="139"/>
                    <a:pt x="104" y="146"/>
                    <a:pt x="111" y="104"/>
                  </a:cubicBezTo>
                  <a:close/>
                </a:path>
              </a:pathLst>
            </a:custGeom>
            <a:solidFill>
              <a:srgbClr val="E24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šľîdé">
              <a:extLst>
                <a:ext uri="{FF2B5EF4-FFF2-40B4-BE49-F238E27FC236}">
                  <a16:creationId xmlns:a16="http://schemas.microsoft.com/office/drawing/2014/main" id="{7C828940-12F9-4FB2-91B9-D32A6A760FCC}"/>
                </a:ext>
              </a:extLst>
            </p:cNvPr>
            <p:cNvSpPr/>
            <p:nvPr/>
          </p:nvSpPr>
          <p:spPr bwMode="auto">
            <a:xfrm>
              <a:off x="6540501" y="4860926"/>
              <a:ext cx="250825" cy="738188"/>
            </a:xfrm>
            <a:custGeom>
              <a:avLst/>
              <a:gdLst>
                <a:gd name="T0" fmla="*/ 0 w 64"/>
                <a:gd name="T1" fmla="*/ 2 h 188"/>
                <a:gd name="T2" fmla="*/ 23 w 64"/>
                <a:gd name="T3" fmla="*/ 45 h 188"/>
                <a:gd name="T4" fmla="*/ 42 w 64"/>
                <a:gd name="T5" fmla="*/ 90 h 188"/>
                <a:gd name="T6" fmla="*/ 56 w 64"/>
                <a:gd name="T7" fmla="*/ 137 h 188"/>
                <a:gd name="T8" fmla="*/ 59 w 64"/>
                <a:gd name="T9" fmla="*/ 161 h 188"/>
                <a:gd name="T10" fmla="*/ 58 w 64"/>
                <a:gd name="T11" fmla="*/ 185 h 188"/>
                <a:gd name="T12" fmla="*/ 58 w 64"/>
                <a:gd name="T13" fmla="*/ 185 h 188"/>
                <a:gd name="T14" fmla="*/ 60 w 64"/>
                <a:gd name="T15" fmla="*/ 187 h 188"/>
                <a:gd name="T16" fmla="*/ 63 w 64"/>
                <a:gd name="T17" fmla="*/ 185 h 188"/>
                <a:gd name="T18" fmla="*/ 63 w 64"/>
                <a:gd name="T19" fmla="*/ 185 h 188"/>
                <a:gd name="T20" fmla="*/ 63 w 64"/>
                <a:gd name="T21" fmla="*/ 160 h 188"/>
                <a:gd name="T22" fmla="*/ 60 w 64"/>
                <a:gd name="T23" fmla="*/ 136 h 188"/>
                <a:gd name="T24" fmla="*/ 46 w 64"/>
                <a:gd name="T25" fmla="*/ 89 h 188"/>
                <a:gd name="T26" fmla="*/ 26 w 64"/>
                <a:gd name="T27" fmla="*/ 44 h 188"/>
                <a:gd name="T28" fmla="*/ 2 w 64"/>
                <a:gd name="T29" fmla="*/ 1 h 188"/>
                <a:gd name="T30" fmla="*/ 0 w 64"/>
                <a:gd name="T31" fmla="*/ 1 h 188"/>
                <a:gd name="T32" fmla="*/ 0 w 64"/>
                <a:gd name="T33" fmla="*/ 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188">
                  <a:moveTo>
                    <a:pt x="0" y="2"/>
                  </a:moveTo>
                  <a:cubicBezTo>
                    <a:pt x="8" y="16"/>
                    <a:pt x="16" y="30"/>
                    <a:pt x="23" y="45"/>
                  </a:cubicBezTo>
                  <a:cubicBezTo>
                    <a:pt x="30" y="60"/>
                    <a:pt x="37" y="75"/>
                    <a:pt x="42" y="90"/>
                  </a:cubicBezTo>
                  <a:cubicBezTo>
                    <a:pt x="48" y="105"/>
                    <a:pt x="53" y="121"/>
                    <a:pt x="56" y="137"/>
                  </a:cubicBezTo>
                  <a:cubicBezTo>
                    <a:pt x="57" y="145"/>
                    <a:pt x="58" y="153"/>
                    <a:pt x="59" y="161"/>
                  </a:cubicBezTo>
                  <a:cubicBezTo>
                    <a:pt x="59" y="169"/>
                    <a:pt x="59" y="177"/>
                    <a:pt x="58" y="185"/>
                  </a:cubicBezTo>
                  <a:cubicBezTo>
                    <a:pt x="58" y="185"/>
                    <a:pt x="58" y="185"/>
                    <a:pt x="58" y="185"/>
                  </a:cubicBezTo>
                  <a:cubicBezTo>
                    <a:pt x="58" y="186"/>
                    <a:pt x="58" y="187"/>
                    <a:pt x="60" y="187"/>
                  </a:cubicBezTo>
                  <a:cubicBezTo>
                    <a:pt x="61" y="188"/>
                    <a:pt x="63" y="187"/>
                    <a:pt x="63" y="185"/>
                  </a:cubicBezTo>
                  <a:cubicBezTo>
                    <a:pt x="63" y="185"/>
                    <a:pt x="63" y="185"/>
                    <a:pt x="63" y="185"/>
                  </a:cubicBezTo>
                  <a:cubicBezTo>
                    <a:pt x="64" y="177"/>
                    <a:pt x="64" y="169"/>
                    <a:pt x="63" y="160"/>
                  </a:cubicBezTo>
                  <a:cubicBezTo>
                    <a:pt x="63" y="152"/>
                    <a:pt x="62" y="144"/>
                    <a:pt x="60" y="136"/>
                  </a:cubicBezTo>
                  <a:cubicBezTo>
                    <a:pt x="57" y="120"/>
                    <a:pt x="52" y="104"/>
                    <a:pt x="46" y="89"/>
                  </a:cubicBezTo>
                  <a:cubicBezTo>
                    <a:pt x="40" y="73"/>
                    <a:pt x="33" y="58"/>
                    <a:pt x="26" y="44"/>
                  </a:cubicBezTo>
                  <a:cubicBezTo>
                    <a:pt x="18" y="29"/>
                    <a:pt x="10" y="15"/>
                    <a:pt x="2" y="1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F2A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îṧḻídê">
              <a:extLst>
                <a:ext uri="{FF2B5EF4-FFF2-40B4-BE49-F238E27FC236}">
                  <a16:creationId xmlns:a16="http://schemas.microsoft.com/office/drawing/2014/main" id="{D5DEC66F-3EA7-431A-AE97-6B8B1B3B3210}"/>
                </a:ext>
              </a:extLst>
            </p:cNvPr>
            <p:cNvSpPr/>
            <p:nvPr/>
          </p:nvSpPr>
          <p:spPr bwMode="auto">
            <a:xfrm>
              <a:off x="6457951" y="5111751"/>
              <a:ext cx="180975" cy="42863"/>
            </a:xfrm>
            <a:custGeom>
              <a:avLst/>
              <a:gdLst>
                <a:gd name="T0" fmla="*/ 46 w 46"/>
                <a:gd name="T1" fmla="*/ 11 h 11"/>
                <a:gd name="T2" fmla="*/ 36 w 46"/>
                <a:gd name="T3" fmla="*/ 4 h 11"/>
                <a:gd name="T4" fmla="*/ 24 w 46"/>
                <a:gd name="T5" fmla="*/ 1 h 11"/>
                <a:gd name="T6" fmla="*/ 12 w 46"/>
                <a:gd name="T7" fmla="*/ 0 h 11"/>
                <a:gd name="T8" fmla="*/ 0 w 46"/>
                <a:gd name="T9" fmla="*/ 1 h 11"/>
                <a:gd name="T10" fmla="*/ 0 w 46"/>
                <a:gd name="T11" fmla="*/ 2 h 11"/>
                <a:gd name="T12" fmla="*/ 0 w 46"/>
                <a:gd name="T13" fmla="*/ 2 h 11"/>
                <a:gd name="T14" fmla="*/ 0 w 46"/>
                <a:gd name="T15" fmla="*/ 2 h 11"/>
                <a:gd name="T16" fmla="*/ 12 w 46"/>
                <a:gd name="T17" fmla="*/ 2 h 11"/>
                <a:gd name="T18" fmla="*/ 24 w 46"/>
                <a:gd name="T19" fmla="*/ 4 h 11"/>
                <a:gd name="T20" fmla="*/ 35 w 46"/>
                <a:gd name="T21" fmla="*/ 8 h 11"/>
                <a:gd name="T22" fmla="*/ 46 w 46"/>
                <a:gd name="T23" fmla="*/ 11 h 11"/>
                <a:gd name="T24" fmla="*/ 46 w 46"/>
                <a:gd name="T25" fmla="*/ 11 h 11"/>
                <a:gd name="T26" fmla="*/ 46 w 46"/>
                <a:gd name="T2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11">
                  <a:moveTo>
                    <a:pt x="46" y="11"/>
                  </a:moveTo>
                  <a:cubicBezTo>
                    <a:pt x="43" y="8"/>
                    <a:pt x="40" y="6"/>
                    <a:pt x="36" y="4"/>
                  </a:cubicBezTo>
                  <a:cubicBezTo>
                    <a:pt x="32" y="2"/>
                    <a:pt x="28" y="2"/>
                    <a:pt x="24" y="1"/>
                  </a:cubicBezTo>
                  <a:cubicBezTo>
                    <a:pt x="20" y="0"/>
                    <a:pt x="16" y="0"/>
                    <a:pt x="12" y="0"/>
                  </a:cubicBezTo>
                  <a:cubicBezTo>
                    <a:pt x="8" y="0"/>
                    <a:pt x="4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2"/>
                    <a:pt x="8" y="2"/>
                    <a:pt x="12" y="2"/>
                  </a:cubicBezTo>
                  <a:cubicBezTo>
                    <a:pt x="16" y="3"/>
                    <a:pt x="20" y="3"/>
                    <a:pt x="24" y="4"/>
                  </a:cubicBezTo>
                  <a:cubicBezTo>
                    <a:pt x="27" y="5"/>
                    <a:pt x="31" y="7"/>
                    <a:pt x="35" y="8"/>
                  </a:cubicBezTo>
                  <a:cubicBezTo>
                    <a:pt x="38" y="9"/>
                    <a:pt x="42" y="10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lose/>
                </a:path>
              </a:pathLst>
            </a:custGeom>
            <a:solidFill>
              <a:srgbClr val="F2A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îŝ1íďê">
              <a:extLst>
                <a:ext uri="{FF2B5EF4-FFF2-40B4-BE49-F238E27FC236}">
                  <a16:creationId xmlns:a16="http://schemas.microsoft.com/office/drawing/2014/main" id="{54599EB2-9B43-43B8-AE9E-47C66FB3E04C}"/>
                </a:ext>
              </a:extLst>
            </p:cNvPr>
            <p:cNvSpPr/>
            <p:nvPr/>
          </p:nvSpPr>
          <p:spPr bwMode="auto">
            <a:xfrm>
              <a:off x="6729413" y="5010151"/>
              <a:ext cx="61913" cy="106363"/>
            </a:xfrm>
            <a:custGeom>
              <a:avLst/>
              <a:gdLst>
                <a:gd name="T0" fmla="*/ 1 w 16"/>
                <a:gd name="T1" fmla="*/ 27 h 27"/>
                <a:gd name="T2" fmla="*/ 5 w 16"/>
                <a:gd name="T3" fmla="*/ 20 h 27"/>
                <a:gd name="T4" fmla="*/ 8 w 16"/>
                <a:gd name="T5" fmla="*/ 13 h 27"/>
                <a:gd name="T6" fmla="*/ 12 w 16"/>
                <a:gd name="T7" fmla="*/ 7 h 27"/>
                <a:gd name="T8" fmla="*/ 16 w 16"/>
                <a:gd name="T9" fmla="*/ 1 h 27"/>
                <a:gd name="T10" fmla="*/ 16 w 16"/>
                <a:gd name="T11" fmla="*/ 1 h 27"/>
                <a:gd name="T12" fmla="*/ 16 w 16"/>
                <a:gd name="T13" fmla="*/ 0 h 27"/>
                <a:gd name="T14" fmla="*/ 16 w 16"/>
                <a:gd name="T15" fmla="*/ 0 h 27"/>
                <a:gd name="T16" fmla="*/ 10 w 16"/>
                <a:gd name="T17" fmla="*/ 5 h 27"/>
                <a:gd name="T18" fmla="*/ 5 w 16"/>
                <a:gd name="T19" fmla="*/ 12 h 27"/>
                <a:gd name="T20" fmla="*/ 1 w 16"/>
                <a:gd name="T21" fmla="*/ 19 h 27"/>
                <a:gd name="T22" fmla="*/ 1 w 16"/>
                <a:gd name="T23" fmla="*/ 27 h 27"/>
                <a:gd name="T24" fmla="*/ 1 w 16"/>
                <a:gd name="T25" fmla="*/ 27 h 27"/>
                <a:gd name="T26" fmla="*/ 1 w 16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7">
                  <a:moveTo>
                    <a:pt x="1" y="27"/>
                  </a:moveTo>
                  <a:cubicBezTo>
                    <a:pt x="3" y="25"/>
                    <a:pt x="4" y="23"/>
                    <a:pt x="5" y="20"/>
                  </a:cubicBezTo>
                  <a:cubicBezTo>
                    <a:pt x="6" y="18"/>
                    <a:pt x="7" y="16"/>
                    <a:pt x="8" y="13"/>
                  </a:cubicBezTo>
                  <a:cubicBezTo>
                    <a:pt x="9" y="11"/>
                    <a:pt x="10" y="9"/>
                    <a:pt x="12" y="7"/>
                  </a:cubicBezTo>
                  <a:cubicBezTo>
                    <a:pt x="13" y="5"/>
                    <a:pt x="15" y="3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2"/>
                    <a:pt x="12" y="4"/>
                    <a:pt x="10" y="5"/>
                  </a:cubicBezTo>
                  <a:cubicBezTo>
                    <a:pt x="8" y="7"/>
                    <a:pt x="7" y="10"/>
                    <a:pt x="5" y="12"/>
                  </a:cubicBezTo>
                  <a:cubicBezTo>
                    <a:pt x="4" y="14"/>
                    <a:pt x="2" y="16"/>
                    <a:pt x="1" y="19"/>
                  </a:cubicBezTo>
                  <a:cubicBezTo>
                    <a:pt x="1" y="22"/>
                    <a:pt x="0" y="24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lose/>
                </a:path>
              </a:pathLst>
            </a:custGeom>
            <a:solidFill>
              <a:srgbClr val="F2A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îṡḻîḑe">
              <a:extLst>
                <a:ext uri="{FF2B5EF4-FFF2-40B4-BE49-F238E27FC236}">
                  <a16:creationId xmlns:a16="http://schemas.microsoft.com/office/drawing/2014/main" id="{4889C9EC-1849-491D-BAF0-1C5718CB9272}"/>
                </a:ext>
              </a:extLst>
            </p:cNvPr>
            <p:cNvSpPr/>
            <p:nvPr/>
          </p:nvSpPr>
          <p:spPr bwMode="auto">
            <a:xfrm>
              <a:off x="6578601" y="5461001"/>
              <a:ext cx="169863" cy="55563"/>
            </a:xfrm>
            <a:custGeom>
              <a:avLst/>
              <a:gdLst>
                <a:gd name="T0" fmla="*/ 43 w 43"/>
                <a:gd name="T1" fmla="*/ 14 h 14"/>
                <a:gd name="T2" fmla="*/ 34 w 43"/>
                <a:gd name="T3" fmla="*/ 7 h 14"/>
                <a:gd name="T4" fmla="*/ 23 w 43"/>
                <a:gd name="T5" fmla="*/ 3 h 14"/>
                <a:gd name="T6" fmla="*/ 12 w 43"/>
                <a:gd name="T7" fmla="*/ 1 h 14"/>
                <a:gd name="T8" fmla="*/ 0 w 43"/>
                <a:gd name="T9" fmla="*/ 1 h 14"/>
                <a:gd name="T10" fmla="*/ 0 w 43"/>
                <a:gd name="T11" fmla="*/ 1 h 14"/>
                <a:gd name="T12" fmla="*/ 0 w 43"/>
                <a:gd name="T13" fmla="*/ 1 h 14"/>
                <a:gd name="T14" fmla="*/ 0 w 43"/>
                <a:gd name="T15" fmla="*/ 1 h 14"/>
                <a:gd name="T16" fmla="*/ 11 w 43"/>
                <a:gd name="T17" fmla="*/ 3 h 14"/>
                <a:gd name="T18" fmla="*/ 22 w 43"/>
                <a:gd name="T19" fmla="*/ 6 h 14"/>
                <a:gd name="T20" fmla="*/ 32 w 43"/>
                <a:gd name="T21" fmla="*/ 10 h 14"/>
                <a:gd name="T22" fmla="*/ 43 w 43"/>
                <a:gd name="T23" fmla="*/ 14 h 14"/>
                <a:gd name="T24" fmla="*/ 43 w 43"/>
                <a:gd name="T2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14">
                  <a:moveTo>
                    <a:pt x="43" y="14"/>
                  </a:moveTo>
                  <a:cubicBezTo>
                    <a:pt x="41" y="11"/>
                    <a:pt x="37" y="9"/>
                    <a:pt x="34" y="7"/>
                  </a:cubicBezTo>
                  <a:cubicBezTo>
                    <a:pt x="30" y="5"/>
                    <a:pt x="27" y="4"/>
                    <a:pt x="23" y="3"/>
                  </a:cubicBezTo>
                  <a:cubicBezTo>
                    <a:pt x="19" y="2"/>
                    <a:pt x="15" y="1"/>
                    <a:pt x="12" y="1"/>
                  </a:cubicBezTo>
                  <a:cubicBezTo>
                    <a:pt x="8" y="0"/>
                    <a:pt x="4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8" y="2"/>
                    <a:pt x="11" y="3"/>
                  </a:cubicBezTo>
                  <a:cubicBezTo>
                    <a:pt x="15" y="4"/>
                    <a:pt x="18" y="5"/>
                    <a:pt x="22" y="6"/>
                  </a:cubicBezTo>
                  <a:cubicBezTo>
                    <a:pt x="25" y="7"/>
                    <a:pt x="29" y="9"/>
                    <a:pt x="32" y="10"/>
                  </a:cubicBezTo>
                  <a:cubicBezTo>
                    <a:pt x="36" y="12"/>
                    <a:pt x="39" y="13"/>
                    <a:pt x="43" y="14"/>
                  </a:cubicBezTo>
                  <a:cubicBezTo>
                    <a:pt x="43" y="14"/>
                    <a:pt x="43" y="14"/>
                    <a:pt x="43" y="14"/>
                  </a:cubicBezTo>
                  <a:close/>
                </a:path>
              </a:pathLst>
            </a:custGeom>
            <a:solidFill>
              <a:srgbClr val="F2A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ṩlïḓê">
              <a:extLst>
                <a:ext uri="{FF2B5EF4-FFF2-40B4-BE49-F238E27FC236}">
                  <a16:creationId xmlns:a16="http://schemas.microsoft.com/office/drawing/2014/main" id="{4A3F66A3-2570-45EC-A940-820F89E1AE72}"/>
                </a:ext>
              </a:extLst>
            </p:cNvPr>
            <p:cNvSpPr/>
            <p:nvPr/>
          </p:nvSpPr>
          <p:spPr bwMode="auto">
            <a:xfrm>
              <a:off x="6815138" y="5394326"/>
              <a:ext cx="90488" cy="103188"/>
            </a:xfrm>
            <a:custGeom>
              <a:avLst/>
              <a:gdLst>
                <a:gd name="T0" fmla="*/ 0 w 23"/>
                <a:gd name="T1" fmla="*/ 26 h 26"/>
                <a:gd name="T2" fmla="*/ 5 w 23"/>
                <a:gd name="T3" fmla="*/ 19 h 26"/>
                <a:gd name="T4" fmla="*/ 10 w 23"/>
                <a:gd name="T5" fmla="*/ 12 h 26"/>
                <a:gd name="T6" fmla="*/ 15 w 23"/>
                <a:gd name="T7" fmla="*/ 6 h 26"/>
                <a:gd name="T8" fmla="*/ 22 w 23"/>
                <a:gd name="T9" fmla="*/ 1 h 26"/>
                <a:gd name="T10" fmla="*/ 22 w 23"/>
                <a:gd name="T11" fmla="*/ 1 h 26"/>
                <a:gd name="T12" fmla="*/ 23 w 23"/>
                <a:gd name="T13" fmla="*/ 0 h 26"/>
                <a:gd name="T14" fmla="*/ 22 w 23"/>
                <a:gd name="T15" fmla="*/ 0 h 26"/>
                <a:gd name="T16" fmla="*/ 14 w 23"/>
                <a:gd name="T17" fmla="*/ 4 h 26"/>
                <a:gd name="T18" fmla="*/ 7 w 23"/>
                <a:gd name="T19" fmla="*/ 10 h 26"/>
                <a:gd name="T20" fmla="*/ 2 w 23"/>
                <a:gd name="T21" fmla="*/ 17 h 26"/>
                <a:gd name="T22" fmla="*/ 0 w 23"/>
                <a:gd name="T23" fmla="*/ 26 h 26"/>
                <a:gd name="T24" fmla="*/ 0 w 23"/>
                <a:gd name="T25" fmla="*/ 26 h 26"/>
                <a:gd name="T26" fmla="*/ 0 w 23"/>
                <a:gd name="T2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6">
                  <a:moveTo>
                    <a:pt x="0" y="26"/>
                  </a:moveTo>
                  <a:cubicBezTo>
                    <a:pt x="2" y="24"/>
                    <a:pt x="4" y="22"/>
                    <a:pt x="5" y="19"/>
                  </a:cubicBezTo>
                  <a:cubicBezTo>
                    <a:pt x="7" y="17"/>
                    <a:pt x="8" y="14"/>
                    <a:pt x="10" y="12"/>
                  </a:cubicBezTo>
                  <a:cubicBezTo>
                    <a:pt x="11" y="10"/>
                    <a:pt x="13" y="8"/>
                    <a:pt x="15" y="6"/>
                  </a:cubicBezTo>
                  <a:cubicBezTo>
                    <a:pt x="18" y="4"/>
                    <a:pt x="20" y="2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9" y="1"/>
                    <a:pt x="17" y="3"/>
                    <a:pt x="14" y="4"/>
                  </a:cubicBezTo>
                  <a:cubicBezTo>
                    <a:pt x="12" y="6"/>
                    <a:pt x="9" y="8"/>
                    <a:pt x="7" y="10"/>
                  </a:cubicBezTo>
                  <a:cubicBezTo>
                    <a:pt x="5" y="12"/>
                    <a:pt x="3" y="15"/>
                    <a:pt x="2" y="17"/>
                  </a:cubicBezTo>
                  <a:cubicBezTo>
                    <a:pt x="1" y="20"/>
                    <a:pt x="0" y="23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F2A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C84FCC50-DF2B-4887-BC62-745E9FD49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ello World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93C0B86-BA97-4BB2-A7F0-731843EEE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月泉的博客  </a:t>
            </a:r>
            <a:r>
              <a:rPr lang="en-US" altLang="zh-CN" dirty="0"/>
              <a:t>www.lunaspring.com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5A7B906-900D-4FC7-8053-57B0380D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89A44AB3-4D8F-4332-AFA6-873A99B0E058}"/>
              </a:ext>
            </a:extLst>
          </p:cNvPr>
          <p:cNvSpPr/>
          <p:nvPr/>
        </p:nvSpPr>
        <p:spPr>
          <a:xfrm>
            <a:off x="669924" y="1153169"/>
            <a:ext cx="3498715" cy="92333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fn main(){    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  </a:t>
            </a:r>
            <a:r>
              <a:rPr lang="zh-CN" altLang="en-US" dirty="0">
                <a:solidFill>
                  <a:schemeClr val="bg1"/>
                </a:solidFill>
              </a:rPr>
              <a:t>println("Hello World {} !", 2019);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}</a:t>
            </a:r>
          </a:p>
        </p:txBody>
      </p:sp>
      <p:sp>
        <p:nvSpPr>
          <p:cNvPr id="17" name="right-thin-arrowheads_32738">
            <a:extLst>
              <a:ext uri="{FF2B5EF4-FFF2-40B4-BE49-F238E27FC236}">
                <a16:creationId xmlns:a16="http://schemas.microsoft.com/office/drawing/2014/main" id="{066E82F8-3EE2-404B-B074-79404BCBF1FF}"/>
              </a:ext>
            </a:extLst>
          </p:cNvPr>
          <p:cNvSpPr>
            <a:spLocks noChangeAspect="1"/>
          </p:cNvSpPr>
          <p:nvPr/>
        </p:nvSpPr>
        <p:spPr bwMode="auto">
          <a:xfrm>
            <a:off x="4734958" y="4930226"/>
            <a:ext cx="609685" cy="609403"/>
          </a:xfrm>
          <a:custGeom>
            <a:avLst/>
            <a:gdLst>
              <a:gd name="T0" fmla="*/ 5083 w 6101"/>
              <a:gd name="T1" fmla="*/ 3053 h 6107"/>
              <a:gd name="T2" fmla="*/ 2791 w 6101"/>
              <a:gd name="T3" fmla="*/ 761 h 6107"/>
              <a:gd name="T4" fmla="*/ 2791 w 6101"/>
              <a:gd name="T5" fmla="*/ 164 h 6107"/>
              <a:gd name="T6" fmla="*/ 3387 w 6101"/>
              <a:gd name="T7" fmla="*/ 164 h 6107"/>
              <a:gd name="T8" fmla="*/ 5978 w 6101"/>
              <a:gd name="T9" fmla="*/ 2755 h 6107"/>
              <a:gd name="T10" fmla="*/ 6101 w 6101"/>
              <a:gd name="T11" fmla="*/ 3053 h 6107"/>
              <a:gd name="T12" fmla="*/ 5978 w 6101"/>
              <a:gd name="T13" fmla="*/ 3351 h 6107"/>
              <a:gd name="T14" fmla="*/ 3387 w 6101"/>
              <a:gd name="T15" fmla="*/ 5942 h 6107"/>
              <a:gd name="T16" fmla="*/ 2791 w 6101"/>
              <a:gd name="T17" fmla="*/ 5942 h 6107"/>
              <a:gd name="T18" fmla="*/ 2791 w 6101"/>
              <a:gd name="T19" fmla="*/ 5345 h 6107"/>
              <a:gd name="T20" fmla="*/ 5083 w 6101"/>
              <a:gd name="T21" fmla="*/ 3053 h 6107"/>
              <a:gd name="T22" fmla="*/ 165 w 6101"/>
              <a:gd name="T23" fmla="*/ 5345 h 6107"/>
              <a:gd name="T24" fmla="*/ 165 w 6101"/>
              <a:gd name="T25" fmla="*/ 5942 h 6107"/>
              <a:gd name="T26" fmla="*/ 761 w 6101"/>
              <a:gd name="T27" fmla="*/ 5942 h 6107"/>
              <a:gd name="T28" fmla="*/ 3352 w 6101"/>
              <a:gd name="T29" fmla="*/ 3351 h 6107"/>
              <a:gd name="T30" fmla="*/ 3475 w 6101"/>
              <a:gd name="T31" fmla="*/ 3053 h 6107"/>
              <a:gd name="T32" fmla="*/ 3352 w 6101"/>
              <a:gd name="T33" fmla="*/ 2755 h 6107"/>
              <a:gd name="T34" fmla="*/ 761 w 6101"/>
              <a:gd name="T35" fmla="*/ 164 h 6107"/>
              <a:gd name="T36" fmla="*/ 165 w 6101"/>
              <a:gd name="T37" fmla="*/ 164 h 6107"/>
              <a:gd name="T38" fmla="*/ 165 w 6101"/>
              <a:gd name="T39" fmla="*/ 761 h 6107"/>
              <a:gd name="T40" fmla="*/ 2457 w 6101"/>
              <a:gd name="T41" fmla="*/ 3053 h 6107"/>
              <a:gd name="T42" fmla="*/ 165 w 6101"/>
              <a:gd name="T43" fmla="*/ 5345 h 6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101" h="6107">
                <a:moveTo>
                  <a:pt x="5083" y="3053"/>
                </a:moveTo>
                <a:lnTo>
                  <a:pt x="2791" y="761"/>
                </a:lnTo>
                <a:cubicBezTo>
                  <a:pt x="2626" y="596"/>
                  <a:pt x="2626" y="329"/>
                  <a:pt x="2791" y="164"/>
                </a:cubicBezTo>
                <a:cubicBezTo>
                  <a:pt x="2955" y="0"/>
                  <a:pt x="3222" y="0"/>
                  <a:pt x="3387" y="164"/>
                </a:cubicBezTo>
                <a:lnTo>
                  <a:pt x="5978" y="2755"/>
                </a:lnTo>
                <a:cubicBezTo>
                  <a:pt x="6060" y="2837"/>
                  <a:pt x="6101" y="2945"/>
                  <a:pt x="6101" y="3053"/>
                </a:cubicBezTo>
                <a:cubicBezTo>
                  <a:pt x="6101" y="3161"/>
                  <a:pt x="6060" y="3269"/>
                  <a:pt x="5978" y="3351"/>
                </a:cubicBezTo>
                <a:lnTo>
                  <a:pt x="3387" y="5942"/>
                </a:lnTo>
                <a:cubicBezTo>
                  <a:pt x="3222" y="6107"/>
                  <a:pt x="2955" y="6107"/>
                  <a:pt x="2791" y="5942"/>
                </a:cubicBezTo>
                <a:cubicBezTo>
                  <a:pt x="2626" y="5777"/>
                  <a:pt x="2626" y="5510"/>
                  <a:pt x="2791" y="5345"/>
                </a:cubicBezTo>
                <a:lnTo>
                  <a:pt x="5083" y="3053"/>
                </a:lnTo>
                <a:close/>
                <a:moveTo>
                  <a:pt x="165" y="5345"/>
                </a:moveTo>
                <a:cubicBezTo>
                  <a:pt x="0" y="5510"/>
                  <a:pt x="0" y="5777"/>
                  <a:pt x="165" y="5942"/>
                </a:cubicBezTo>
                <a:cubicBezTo>
                  <a:pt x="329" y="6107"/>
                  <a:pt x="596" y="6107"/>
                  <a:pt x="761" y="5942"/>
                </a:cubicBezTo>
                <a:lnTo>
                  <a:pt x="3352" y="3351"/>
                </a:lnTo>
                <a:cubicBezTo>
                  <a:pt x="3434" y="3269"/>
                  <a:pt x="3475" y="3161"/>
                  <a:pt x="3475" y="3053"/>
                </a:cubicBezTo>
                <a:cubicBezTo>
                  <a:pt x="3475" y="2945"/>
                  <a:pt x="3434" y="2837"/>
                  <a:pt x="3352" y="2755"/>
                </a:cubicBezTo>
                <a:lnTo>
                  <a:pt x="761" y="164"/>
                </a:lnTo>
                <a:cubicBezTo>
                  <a:pt x="596" y="0"/>
                  <a:pt x="329" y="0"/>
                  <a:pt x="165" y="164"/>
                </a:cubicBezTo>
                <a:cubicBezTo>
                  <a:pt x="0" y="329"/>
                  <a:pt x="0" y="596"/>
                  <a:pt x="165" y="761"/>
                </a:cubicBezTo>
                <a:lnTo>
                  <a:pt x="2457" y="3053"/>
                </a:lnTo>
                <a:lnTo>
                  <a:pt x="165" y="53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7CE50673-58AD-416E-8CDE-26B27C8359BA}"/>
              </a:ext>
            </a:extLst>
          </p:cNvPr>
          <p:cNvSpPr/>
          <p:nvPr/>
        </p:nvSpPr>
        <p:spPr>
          <a:xfrm>
            <a:off x="6861241" y="1153169"/>
            <a:ext cx="4659246" cy="92333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endParaRPr lang="en-US" altLang="zh-CN" dirty="0"/>
          </a:p>
          <a:p>
            <a:r>
              <a:rPr lang="en-US" altLang="zh-CN" dirty="0"/>
              <a:t>Command: cargo </a:t>
            </a:r>
            <a:r>
              <a:rPr lang="en-US" altLang="zh-CN" dirty="0">
                <a:solidFill>
                  <a:schemeClr val="bg1"/>
                </a:solidFill>
              </a:rPr>
              <a:t>run / </a:t>
            </a:r>
            <a:r>
              <a:rPr lang="en-US" altLang="zh-CN" dirty="0" err="1">
                <a:solidFill>
                  <a:schemeClr val="bg1"/>
                </a:solidFill>
              </a:rPr>
              <a:t>r</a:t>
            </a:r>
            <a:r>
              <a:rPr lang="en-US" altLang="zh-CN" dirty="0" err="1"/>
              <a:t>ustc</a:t>
            </a:r>
            <a:r>
              <a:rPr lang="en-US" altLang="zh-CN" dirty="0"/>
              <a:t> main.rs</a:t>
            </a:r>
          </a:p>
          <a:p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59C8EC2A-0C51-495C-ADAA-7030241D90FA}"/>
              </a:ext>
            </a:extLst>
          </p:cNvPr>
          <p:cNvSpPr/>
          <p:nvPr/>
        </p:nvSpPr>
        <p:spPr>
          <a:xfrm>
            <a:off x="1789098" y="5050262"/>
            <a:ext cx="1163524" cy="36933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⽣成 </a:t>
            </a:r>
            <a:r>
              <a:rPr lang="en-US" altLang="zh-CN" b="1" dirty="0">
                <a:solidFill>
                  <a:schemeClr val="bg1"/>
                </a:solidFill>
              </a:rPr>
              <a:t>AST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9BEDD5B6-66CB-4296-89DF-7B19879BAE4A}"/>
              </a:ext>
            </a:extLst>
          </p:cNvPr>
          <p:cNvSpPr/>
          <p:nvPr/>
        </p:nvSpPr>
        <p:spPr>
          <a:xfrm>
            <a:off x="3859198" y="5050262"/>
            <a:ext cx="582211" cy="36933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HIR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2" name="right-thin-arrowheads_32738">
            <a:extLst>
              <a:ext uri="{FF2B5EF4-FFF2-40B4-BE49-F238E27FC236}">
                <a16:creationId xmlns:a16="http://schemas.microsoft.com/office/drawing/2014/main" id="{05C6B79A-D4FD-4ADE-8691-29DBF68934F3}"/>
              </a:ext>
            </a:extLst>
          </p:cNvPr>
          <p:cNvSpPr>
            <a:spLocks noChangeAspect="1"/>
          </p:cNvSpPr>
          <p:nvPr/>
        </p:nvSpPr>
        <p:spPr bwMode="auto">
          <a:xfrm>
            <a:off x="3092571" y="4930226"/>
            <a:ext cx="609685" cy="609403"/>
          </a:xfrm>
          <a:custGeom>
            <a:avLst/>
            <a:gdLst>
              <a:gd name="T0" fmla="*/ 5083 w 6101"/>
              <a:gd name="T1" fmla="*/ 3053 h 6107"/>
              <a:gd name="T2" fmla="*/ 2791 w 6101"/>
              <a:gd name="T3" fmla="*/ 761 h 6107"/>
              <a:gd name="T4" fmla="*/ 2791 w 6101"/>
              <a:gd name="T5" fmla="*/ 164 h 6107"/>
              <a:gd name="T6" fmla="*/ 3387 w 6101"/>
              <a:gd name="T7" fmla="*/ 164 h 6107"/>
              <a:gd name="T8" fmla="*/ 5978 w 6101"/>
              <a:gd name="T9" fmla="*/ 2755 h 6107"/>
              <a:gd name="T10" fmla="*/ 6101 w 6101"/>
              <a:gd name="T11" fmla="*/ 3053 h 6107"/>
              <a:gd name="T12" fmla="*/ 5978 w 6101"/>
              <a:gd name="T13" fmla="*/ 3351 h 6107"/>
              <a:gd name="T14" fmla="*/ 3387 w 6101"/>
              <a:gd name="T15" fmla="*/ 5942 h 6107"/>
              <a:gd name="T16" fmla="*/ 2791 w 6101"/>
              <a:gd name="T17" fmla="*/ 5942 h 6107"/>
              <a:gd name="T18" fmla="*/ 2791 w 6101"/>
              <a:gd name="T19" fmla="*/ 5345 h 6107"/>
              <a:gd name="T20" fmla="*/ 5083 w 6101"/>
              <a:gd name="T21" fmla="*/ 3053 h 6107"/>
              <a:gd name="T22" fmla="*/ 165 w 6101"/>
              <a:gd name="T23" fmla="*/ 5345 h 6107"/>
              <a:gd name="T24" fmla="*/ 165 w 6101"/>
              <a:gd name="T25" fmla="*/ 5942 h 6107"/>
              <a:gd name="T26" fmla="*/ 761 w 6101"/>
              <a:gd name="T27" fmla="*/ 5942 h 6107"/>
              <a:gd name="T28" fmla="*/ 3352 w 6101"/>
              <a:gd name="T29" fmla="*/ 3351 h 6107"/>
              <a:gd name="T30" fmla="*/ 3475 w 6101"/>
              <a:gd name="T31" fmla="*/ 3053 h 6107"/>
              <a:gd name="T32" fmla="*/ 3352 w 6101"/>
              <a:gd name="T33" fmla="*/ 2755 h 6107"/>
              <a:gd name="T34" fmla="*/ 761 w 6101"/>
              <a:gd name="T35" fmla="*/ 164 h 6107"/>
              <a:gd name="T36" fmla="*/ 165 w 6101"/>
              <a:gd name="T37" fmla="*/ 164 h 6107"/>
              <a:gd name="T38" fmla="*/ 165 w 6101"/>
              <a:gd name="T39" fmla="*/ 761 h 6107"/>
              <a:gd name="T40" fmla="*/ 2457 w 6101"/>
              <a:gd name="T41" fmla="*/ 3053 h 6107"/>
              <a:gd name="T42" fmla="*/ 165 w 6101"/>
              <a:gd name="T43" fmla="*/ 5345 h 6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101" h="6107">
                <a:moveTo>
                  <a:pt x="5083" y="3053"/>
                </a:moveTo>
                <a:lnTo>
                  <a:pt x="2791" y="761"/>
                </a:lnTo>
                <a:cubicBezTo>
                  <a:pt x="2626" y="596"/>
                  <a:pt x="2626" y="329"/>
                  <a:pt x="2791" y="164"/>
                </a:cubicBezTo>
                <a:cubicBezTo>
                  <a:pt x="2955" y="0"/>
                  <a:pt x="3222" y="0"/>
                  <a:pt x="3387" y="164"/>
                </a:cubicBezTo>
                <a:lnTo>
                  <a:pt x="5978" y="2755"/>
                </a:lnTo>
                <a:cubicBezTo>
                  <a:pt x="6060" y="2837"/>
                  <a:pt x="6101" y="2945"/>
                  <a:pt x="6101" y="3053"/>
                </a:cubicBezTo>
                <a:cubicBezTo>
                  <a:pt x="6101" y="3161"/>
                  <a:pt x="6060" y="3269"/>
                  <a:pt x="5978" y="3351"/>
                </a:cubicBezTo>
                <a:lnTo>
                  <a:pt x="3387" y="5942"/>
                </a:lnTo>
                <a:cubicBezTo>
                  <a:pt x="3222" y="6107"/>
                  <a:pt x="2955" y="6107"/>
                  <a:pt x="2791" y="5942"/>
                </a:cubicBezTo>
                <a:cubicBezTo>
                  <a:pt x="2626" y="5777"/>
                  <a:pt x="2626" y="5510"/>
                  <a:pt x="2791" y="5345"/>
                </a:cubicBezTo>
                <a:lnTo>
                  <a:pt x="5083" y="3053"/>
                </a:lnTo>
                <a:close/>
                <a:moveTo>
                  <a:pt x="165" y="5345"/>
                </a:moveTo>
                <a:cubicBezTo>
                  <a:pt x="0" y="5510"/>
                  <a:pt x="0" y="5777"/>
                  <a:pt x="165" y="5942"/>
                </a:cubicBezTo>
                <a:cubicBezTo>
                  <a:pt x="329" y="6107"/>
                  <a:pt x="596" y="6107"/>
                  <a:pt x="761" y="5942"/>
                </a:cubicBezTo>
                <a:lnTo>
                  <a:pt x="3352" y="3351"/>
                </a:lnTo>
                <a:cubicBezTo>
                  <a:pt x="3434" y="3269"/>
                  <a:pt x="3475" y="3161"/>
                  <a:pt x="3475" y="3053"/>
                </a:cubicBezTo>
                <a:cubicBezTo>
                  <a:pt x="3475" y="2945"/>
                  <a:pt x="3434" y="2837"/>
                  <a:pt x="3352" y="2755"/>
                </a:cubicBezTo>
                <a:lnTo>
                  <a:pt x="761" y="164"/>
                </a:lnTo>
                <a:cubicBezTo>
                  <a:pt x="596" y="0"/>
                  <a:pt x="329" y="0"/>
                  <a:pt x="165" y="164"/>
                </a:cubicBezTo>
                <a:cubicBezTo>
                  <a:pt x="0" y="329"/>
                  <a:pt x="0" y="596"/>
                  <a:pt x="165" y="761"/>
                </a:cubicBezTo>
                <a:lnTo>
                  <a:pt x="2457" y="3053"/>
                </a:lnTo>
                <a:lnTo>
                  <a:pt x="165" y="53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BCB70FAE-EDF7-4439-B7F1-A7032E15305A}"/>
              </a:ext>
            </a:extLst>
          </p:cNvPr>
          <p:cNvSpPr/>
          <p:nvPr/>
        </p:nvSpPr>
        <p:spPr>
          <a:xfrm>
            <a:off x="5638192" y="5050262"/>
            <a:ext cx="607859" cy="36933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MIR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4" name="right-thin-arrowheads_32738">
            <a:extLst>
              <a:ext uri="{FF2B5EF4-FFF2-40B4-BE49-F238E27FC236}">
                <a16:creationId xmlns:a16="http://schemas.microsoft.com/office/drawing/2014/main" id="{9B5559BF-89AB-4D9C-8D98-564B60ADFD2A}"/>
              </a:ext>
            </a:extLst>
          </p:cNvPr>
          <p:cNvSpPr>
            <a:spLocks noChangeAspect="1"/>
          </p:cNvSpPr>
          <p:nvPr/>
        </p:nvSpPr>
        <p:spPr bwMode="auto">
          <a:xfrm>
            <a:off x="5362497" y="1462532"/>
            <a:ext cx="609685" cy="609403"/>
          </a:xfrm>
          <a:custGeom>
            <a:avLst/>
            <a:gdLst>
              <a:gd name="T0" fmla="*/ 5083 w 6101"/>
              <a:gd name="T1" fmla="*/ 3053 h 6107"/>
              <a:gd name="T2" fmla="*/ 2791 w 6101"/>
              <a:gd name="T3" fmla="*/ 761 h 6107"/>
              <a:gd name="T4" fmla="*/ 2791 w 6101"/>
              <a:gd name="T5" fmla="*/ 164 h 6107"/>
              <a:gd name="T6" fmla="*/ 3387 w 6101"/>
              <a:gd name="T7" fmla="*/ 164 h 6107"/>
              <a:gd name="T8" fmla="*/ 5978 w 6101"/>
              <a:gd name="T9" fmla="*/ 2755 h 6107"/>
              <a:gd name="T10" fmla="*/ 6101 w 6101"/>
              <a:gd name="T11" fmla="*/ 3053 h 6107"/>
              <a:gd name="T12" fmla="*/ 5978 w 6101"/>
              <a:gd name="T13" fmla="*/ 3351 h 6107"/>
              <a:gd name="T14" fmla="*/ 3387 w 6101"/>
              <a:gd name="T15" fmla="*/ 5942 h 6107"/>
              <a:gd name="T16" fmla="*/ 2791 w 6101"/>
              <a:gd name="T17" fmla="*/ 5942 h 6107"/>
              <a:gd name="T18" fmla="*/ 2791 w 6101"/>
              <a:gd name="T19" fmla="*/ 5345 h 6107"/>
              <a:gd name="T20" fmla="*/ 5083 w 6101"/>
              <a:gd name="T21" fmla="*/ 3053 h 6107"/>
              <a:gd name="T22" fmla="*/ 165 w 6101"/>
              <a:gd name="T23" fmla="*/ 5345 h 6107"/>
              <a:gd name="T24" fmla="*/ 165 w 6101"/>
              <a:gd name="T25" fmla="*/ 5942 h 6107"/>
              <a:gd name="T26" fmla="*/ 761 w 6101"/>
              <a:gd name="T27" fmla="*/ 5942 h 6107"/>
              <a:gd name="T28" fmla="*/ 3352 w 6101"/>
              <a:gd name="T29" fmla="*/ 3351 h 6107"/>
              <a:gd name="T30" fmla="*/ 3475 w 6101"/>
              <a:gd name="T31" fmla="*/ 3053 h 6107"/>
              <a:gd name="T32" fmla="*/ 3352 w 6101"/>
              <a:gd name="T33" fmla="*/ 2755 h 6107"/>
              <a:gd name="T34" fmla="*/ 761 w 6101"/>
              <a:gd name="T35" fmla="*/ 164 h 6107"/>
              <a:gd name="T36" fmla="*/ 165 w 6101"/>
              <a:gd name="T37" fmla="*/ 164 h 6107"/>
              <a:gd name="T38" fmla="*/ 165 w 6101"/>
              <a:gd name="T39" fmla="*/ 761 h 6107"/>
              <a:gd name="T40" fmla="*/ 2457 w 6101"/>
              <a:gd name="T41" fmla="*/ 3053 h 6107"/>
              <a:gd name="T42" fmla="*/ 165 w 6101"/>
              <a:gd name="T43" fmla="*/ 5345 h 6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101" h="6107">
                <a:moveTo>
                  <a:pt x="5083" y="3053"/>
                </a:moveTo>
                <a:lnTo>
                  <a:pt x="2791" y="761"/>
                </a:lnTo>
                <a:cubicBezTo>
                  <a:pt x="2626" y="596"/>
                  <a:pt x="2626" y="329"/>
                  <a:pt x="2791" y="164"/>
                </a:cubicBezTo>
                <a:cubicBezTo>
                  <a:pt x="2955" y="0"/>
                  <a:pt x="3222" y="0"/>
                  <a:pt x="3387" y="164"/>
                </a:cubicBezTo>
                <a:lnTo>
                  <a:pt x="5978" y="2755"/>
                </a:lnTo>
                <a:cubicBezTo>
                  <a:pt x="6060" y="2837"/>
                  <a:pt x="6101" y="2945"/>
                  <a:pt x="6101" y="3053"/>
                </a:cubicBezTo>
                <a:cubicBezTo>
                  <a:pt x="6101" y="3161"/>
                  <a:pt x="6060" y="3269"/>
                  <a:pt x="5978" y="3351"/>
                </a:cubicBezTo>
                <a:lnTo>
                  <a:pt x="3387" y="5942"/>
                </a:lnTo>
                <a:cubicBezTo>
                  <a:pt x="3222" y="6107"/>
                  <a:pt x="2955" y="6107"/>
                  <a:pt x="2791" y="5942"/>
                </a:cubicBezTo>
                <a:cubicBezTo>
                  <a:pt x="2626" y="5777"/>
                  <a:pt x="2626" y="5510"/>
                  <a:pt x="2791" y="5345"/>
                </a:cubicBezTo>
                <a:lnTo>
                  <a:pt x="5083" y="3053"/>
                </a:lnTo>
                <a:close/>
                <a:moveTo>
                  <a:pt x="165" y="5345"/>
                </a:moveTo>
                <a:cubicBezTo>
                  <a:pt x="0" y="5510"/>
                  <a:pt x="0" y="5777"/>
                  <a:pt x="165" y="5942"/>
                </a:cubicBezTo>
                <a:cubicBezTo>
                  <a:pt x="329" y="6107"/>
                  <a:pt x="596" y="6107"/>
                  <a:pt x="761" y="5942"/>
                </a:cubicBezTo>
                <a:lnTo>
                  <a:pt x="3352" y="3351"/>
                </a:lnTo>
                <a:cubicBezTo>
                  <a:pt x="3434" y="3269"/>
                  <a:pt x="3475" y="3161"/>
                  <a:pt x="3475" y="3053"/>
                </a:cubicBezTo>
                <a:cubicBezTo>
                  <a:pt x="3475" y="2945"/>
                  <a:pt x="3434" y="2837"/>
                  <a:pt x="3352" y="2755"/>
                </a:cubicBezTo>
                <a:lnTo>
                  <a:pt x="761" y="164"/>
                </a:lnTo>
                <a:cubicBezTo>
                  <a:pt x="596" y="0"/>
                  <a:pt x="329" y="0"/>
                  <a:pt x="165" y="164"/>
                </a:cubicBezTo>
                <a:cubicBezTo>
                  <a:pt x="0" y="329"/>
                  <a:pt x="0" y="596"/>
                  <a:pt x="165" y="761"/>
                </a:cubicBezTo>
                <a:lnTo>
                  <a:pt x="2457" y="3053"/>
                </a:lnTo>
                <a:lnTo>
                  <a:pt x="165" y="53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25" name="right-thin-arrowheads_32738">
            <a:extLst>
              <a:ext uri="{FF2B5EF4-FFF2-40B4-BE49-F238E27FC236}">
                <a16:creationId xmlns:a16="http://schemas.microsoft.com/office/drawing/2014/main" id="{9FC725F2-8C21-48EF-AB16-0348A08D533F}"/>
              </a:ext>
            </a:extLst>
          </p:cNvPr>
          <p:cNvSpPr>
            <a:spLocks noChangeAspect="1"/>
          </p:cNvSpPr>
          <p:nvPr/>
        </p:nvSpPr>
        <p:spPr bwMode="auto">
          <a:xfrm>
            <a:off x="6481042" y="4930226"/>
            <a:ext cx="609685" cy="609403"/>
          </a:xfrm>
          <a:custGeom>
            <a:avLst/>
            <a:gdLst>
              <a:gd name="T0" fmla="*/ 5083 w 6101"/>
              <a:gd name="T1" fmla="*/ 3053 h 6107"/>
              <a:gd name="T2" fmla="*/ 2791 w 6101"/>
              <a:gd name="T3" fmla="*/ 761 h 6107"/>
              <a:gd name="T4" fmla="*/ 2791 w 6101"/>
              <a:gd name="T5" fmla="*/ 164 h 6107"/>
              <a:gd name="T6" fmla="*/ 3387 w 6101"/>
              <a:gd name="T7" fmla="*/ 164 h 6107"/>
              <a:gd name="T8" fmla="*/ 5978 w 6101"/>
              <a:gd name="T9" fmla="*/ 2755 h 6107"/>
              <a:gd name="T10" fmla="*/ 6101 w 6101"/>
              <a:gd name="T11" fmla="*/ 3053 h 6107"/>
              <a:gd name="T12" fmla="*/ 5978 w 6101"/>
              <a:gd name="T13" fmla="*/ 3351 h 6107"/>
              <a:gd name="T14" fmla="*/ 3387 w 6101"/>
              <a:gd name="T15" fmla="*/ 5942 h 6107"/>
              <a:gd name="T16" fmla="*/ 2791 w 6101"/>
              <a:gd name="T17" fmla="*/ 5942 h 6107"/>
              <a:gd name="T18" fmla="*/ 2791 w 6101"/>
              <a:gd name="T19" fmla="*/ 5345 h 6107"/>
              <a:gd name="T20" fmla="*/ 5083 w 6101"/>
              <a:gd name="T21" fmla="*/ 3053 h 6107"/>
              <a:gd name="T22" fmla="*/ 165 w 6101"/>
              <a:gd name="T23" fmla="*/ 5345 h 6107"/>
              <a:gd name="T24" fmla="*/ 165 w 6101"/>
              <a:gd name="T25" fmla="*/ 5942 h 6107"/>
              <a:gd name="T26" fmla="*/ 761 w 6101"/>
              <a:gd name="T27" fmla="*/ 5942 h 6107"/>
              <a:gd name="T28" fmla="*/ 3352 w 6101"/>
              <a:gd name="T29" fmla="*/ 3351 h 6107"/>
              <a:gd name="T30" fmla="*/ 3475 w 6101"/>
              <a:gd name="T31" fmla="*/ 3053 h 6107"/>
              <a:gd name="T32" fmla="*/ 3352 w 6101"/>
              <a:gd name="T33" fmla="*/ 2755 h 6107"/>
              <a:gd name="T34" fmla="*/ 761 w 6101"/>
              <a:gd name="T35" fmla="*/ 164 h 6107"/>
              <a:gd name="T36" fmla="*/ 165 w 6101"/>
              <a:gd name="T37" fmla="*/ 164 h 6107"/>
              <a:gd name="T38" fmla="*/ 165 w 6101"/>
              <a:gd name="T39" fmla="*/ 761 h 6107"/>
              <a:gd name="T40" fmla="*/ 2457 w 6101"/>
              <a:gd name="T41" fmla="*/ 3053 h 6107"/>
              <a:gd name="T42" fmla="*/ 165 w 6101"/>
              <a:gd name="T43" fmla="*/ 5345 h 6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101" h="6107">
                <a:moveTo>
                  <a:pt x="5083" y="3053"/>
                </a:moveTo>
                <a:lnTo>
                  <a:pt x="2791" y="761"/>
                </a:lnTo>
                <a:cubicBezTo>
                  <a:pt x="2626" y="596"/>
                  <a:pt x="2626" y="329"/>
                  <a:pt x="2791" y="164"/>
                </a:cubicBezTo>
                <a:cubicBezTo>
                  <a:pt x="2955" y="0"/>
                  <a:pt x="3222" y="0"/>
                  <a:pt x="3387" y="164"/>
                </a:cubicBezTo>
                <a:lnTo>
                  <a:pt x="5978" y="2755"/>
                </a:lnTo>
                <a:cubicBezTo>
                  <a:pt x="6060" y="2837"/>
                  <a:pt x="6101" y="2945"/>
                  <a:pt x="6101" y="3053"/>
                </a:cubicBezTo>
                <a:cubicBezTo>
                  <a:pt x="6101" y="3161"/>
                  <a:pt x="6060" y="3269"/>
                  <a:pt x="5978" y="3351"/>
                </a:cubicBezTo>
                <a:lnTo>
                  <a:pt x="3387" y="5942"/>
                </a:lnTo>
                <a:cubicBezTo>
                  <a:pt x="3222" y="6107"/>
                  <a:pt x="2955" y="6107"/>
                  <a:pt x="2791" y="5942"/>
                </a:cubicBezTo>
                <a:cubicBezTo>
                  <a:pt x="2626" y="5777"/>
                  <a:pt x="2626" y="5510"/>
                  <a:pt x="2791" y="5345"/>
                </a:cubicBezTo>
                <a:lnTo>
                  <a:pt x="5083" y="3053"/>
                </a:lnTo>
                <a:close/>
                <a:moveTo>
                  <a:pt x="165" y="5345"/>
                </a:moveTo>
                <a:cubicBezTo>
                  <a:pt x="0" y="5510"/>
                  <a:pt x="0" y="5777"/>
                  <a:pt x="165" y="5942"/>
                </a:cubicBezTo>
                <a:cubicBezTo>
                  <a:pt x="329" y="6107"/>
                  <a:pt x="596" y="6107"/>
                  <a:pt x="761" y="5942"/>
                </a:cubicBezTo>
                <a:lnTo>
                  <a:pt x="3352" y="3351"/>
                </a:lnTo>
                <a:cubicBezTo>
                  <a:pt x="3434" y="3269"/>
                  <a:pt x="3475" y="3161"/>
                  <a:pt x="3475" y="3053"/>
                </a:cubicBezTo>
                <a:cubicBezTo>
                  <a:pt x="3475" y="2945"/>
                  <a:pt x="3434" y="2837"/>
                  <a:pt x="3352" y="2755"/>
                </a:cubicBezTo>
                <a:lnTo>
                  <a:pt x="761" y="164"/>
                </a:lnTo>
                <a:cubicBezTo>
                  <a:pt x="596" y="0"/>
                  <a:pt x="329" y="0"/>
                  <a:pt x="165" y="164"/>
                </a:cubicBezTo>
                <a:cubicBezTo>
                  <a:pt x="0" y="329"/>
                  <a:pt x="0" y="596"/>
                  <a:pt x="165" y="761"/>
                </a:cubicBezTo>
                <a:lnTo>
                  <a:pt x="2457" y="3053"/>
                </a:lnTo>
                <a:lnTo>
                  <a:pt x="165" y="53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46DF0F8-60E7-4189-91B4-C80F62F8626F}"/>
              </a:ext>
            </a:extLst>
          </p:cNvPr>
          <p:cNvSpPr/>
          <p:nvPr/>
        </p:nvSpPr>
        <p:spPr>
          <a:xfrm>
            <a:off x="7325718" y="5085086"/>
            <a:ext cx="860044" cy="36933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LLVM 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7" name="right-thin-arrowheads_32738">
            <a:extLst>
              <a:ext uri="{FF2B5EF4-FFF2-40B4-BE49-F238E27FC236}">
                <a16:creationId xmlns:a16="http://schemas.microsoft.com/office/drawing/2014/main" id="{76096F0C-65EA-4798-B905-045BDDBC7F04}"/>
              </a:ext>
            </a:extLst>
          </p:cNvPr>
          <p:cNvSpPr>
            <a:spLocks noChangeAspect="1"/>
          </p:cNvSpPr>
          <p:nvPr/>
        </p:nvSpPr>
        <p:spPr bwMode="auto">
          <a:xfrm>
            <a:off x="8395105" y="4930225"/>
            <a:ext cx="609685" cy="609403"/>
          </a:xfrm>
          <a:custGeom>
            <a:avLst/>
            <a:gdLst>
              <a:gd name="T0" fmla="*/ 5083 w 6101"/>
              <a:gd name="T1" fmla="*/ 3053 h 6107"/>
              <a:gd name="T2" fmla="*/ 2791 w 6101"/>
              <a:gd name="T3" fmla="*/ 761 h 6107"/>
              <a:gd name="T4" fmla="*/ 2791 w 6101"/>
              <a:gd name="T5" fmla="*/ 164 h 6107"/>
              <a:gd name="T6" fmla="*/ 3387 w 6101"/>
              <a:gd name="T7" fmla="*/ 164 h 6107"/>
              <a:gd name="T8" fmla="*/ 5978 w 6101"/>
              <a:gd name="T9" fmla="*/ 2755 h 6107"/>
              <a:gd name="T10" fmla="*/ 6101 w 6101"/>
              <a:gd name="T11" fmla="*/ 3053 h 6107"/>
              <a:gd name="T12" fmla="*/ 5978 w 6101"/>
              <a:gd name="T13" fmla="*/ 3351 h 6107"/>
              <a:gd name="T14" fmla="*/ 3387 w 6101"/>
              <a:gd name="T15" fmla="*/ 5942 h 6107"/>
              <a:gd name="T16" fmla="*/ 2791 w 6101"/>
              <a:gd name="T17" fmla="*/ 5942 h 6107"/>
              <a:gd name="T18" fmla="*/ 2791 w 6101"/>
              <a:gd name="T19" fmla="*/ 5345 h 6107"/>
              <a:gd name="T20" fmla="*/ 5083 w 6101"/>
              <a:gd name="T21" fmla="*/ 3053 h 6107"/>
              <a:gd name="T22" fmla="*/ 165 w 6101"/>
              <a:gd name="T23" fmla="*/ 5345 h 6107"/>
              <a:gd name="T24" fmla="*/ 165 w 6101"/>
              <a:gd name="T25" fmla="*/ 5942 h 6107"/>
              <a:gd name="T26" fmla="*/ 761 w 6101"/>
              <a:gd name="T27" fmla="*/ 5942 h 6107"/>
              <a:gd name="T28" fmla="*/ 3352 w 6101"/>
              <a:gd name="T29" fmla="*/ 3351 h 6107"/>
              <a:gd name="T30" fmla="*/ 3475 w 6101"/>
              <a:gd name="T31" fmla="*/ 3053 h 6107"/>
              <a:gd name="T32" fmla="*/ 3352 w 6101"/>
              <a:gd name="T33" fmla="*/ 2755 h 6107"/>
              <a:gd name="T34" fmla="*/ 761 w 6101"/>
              <a:gd name="T35" fmla="*/ 164 h 6107"/>
              <a:gd name="T36" fmla="*/ 165 w 6101"/>
              <a:gd name="T37" fmla="*/ 164 h 6107"/>
              <a:gd name="T38" fmla="*/ 165 w 6101"/>
              <a:gd name="T39" fmla="*/ 761 h 6107"/>
              <a:gd name="T40" fmla="*/ 2457 w 6101"/>
              <a:gd name="T41" fmla="*/ 3053 h 6107"/>
              <a:gd name="T42" fmla="*/ 165 w 6101"/>
              <a:gd name="T43" fmla="*/ 5345 h 6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101" h="6107">
                <a:moveTo>
                  <a:pt x="5083" y="3053"/>
                </a:moveTo>
                <a:lnTo>
                  <a:pt x="2791" y="761"/>
                </a:lnTo>
                <a:cubicBezTo>
                  <a:pt x="2626" y="596"/>
                  <a:pt x="2626" y="329"/>
                  <a:pt x="2791" y="164"/>
                </a:cubicBezTo>
                <a:cubicBezTo>
                  <a:pt x="2955" y="0"/>
                  <a:pt x="3222" y="0"/>
                  <a:pt x="3387" y="164"/>
                </a:cubicBezTo>
                <a:lnTo>
                  <a:pt x="5978" y="2755"/>
                </a:lnTo>
                <a:cubicBezTo>
                  <a:pt x="6060" y="2837"/>
                  <a:pt x="6101" y="2945"/>
                  <a:pt x="6101" y="3053"/>
                </a:cubicBezTo>
                <a:cubicBezTo>
                  <a:pt x="6101" y="3161"/>
                  <a:pt x="6060" y="3269"/>
                  <a:pt x="5978" y="3351"/>
                </a:cubicBezTo>
                <a:lnTo>
                  <a:pt x="3387" y="5942"/>
                </a:lnTo>
                <a:cubicBezTo>
                  <a:pt x="3222" y="6107"/>
                  <a:pt x="2955" y="6107"/>
                  <a:pt x="2791" y="5942"/>
                </a:cubicBezTo>
                <a:cubicBezTo>
                  <a:pt x="2626" y="5777"/>
                  <a:pt x="2626" y="5510"/>
                  <a:pt x="2791" y="5345"/>
                </a:cubicBezTo>
                <a:lnTo>
                  <a:pt x="5083" y="3053"/>
                </a:lnTo>
                <a:close/>
                <a:moveTo>
                  <a:pt x="165" y="5345"/>
                </a:moveTo>
                <a:cubicBezTo>
                  <a:pt x="0" y="5510"/>
                  <a:pt x="0" y="5777"/>
                  <a:pt x="165" y="5942"/>
                </a:cubicBezTo>
                <a:cubicBezTo>
                  <a:pt x="329" y="6107"/>
                  <a:pt x="596" y="6107"/>
                  <a:pt x="761" y="5942"/>
                </a:cubicBezTo>
                <a:lnTo>
                  <a:pt x="3352" y="3351"/>
                </a:lnTo>
                <a:cubicBezTo>
                  <a:pt x="3434" y="3269"/>
                  <a:pt x="3475" y="3161"/>
                  <a:pt x="3475" y="3053"/>
                </a:cubicBezTo>
                <a:cubicBezTo>
                  <a:pt x="3475" y="2945"/>
                  <a:pt x="3434" y="2837"/>
                  <a:pt x="3352" y="2755"/>
                </a:cubicBezTo>
                <a:lnTo>
                  <a:pt x="761" y="164"/>
                </a:lnTo>
                <a:cubicBezTo>
                  <a:pt x="596" y="0"/>
                  <a:pt x="329" y="0"/>
                  <a:pt x="165" y="164"/>
                </a:cubicBezTo>
                <a:cubicBezTo>
                  <a:pt x="0" y="329"/>
                  <a:pt x="0" y="596"/>
                  <a:pt x="165" y="761"/>
                </a:cubicBezTo>
                <a:lnTo>
                  <a:pt x="2457" y="3053"/>
                </a:lnTo>
                <a:lnTo>
                  <a:pt x="165" y="53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9C78C46-8EC6-48D5-A724-2D401649115E}"/>
              </a:ext>
            </a:extLst>
          </p:cNvPr>
          <p:cNvSpPr/>
          <p:nvPr/>
        </p:nvSpPr>
        <p:spPr>
          <a:xfrm>
            <a:off x="9296513" y="5050262"/>
            <a:ext cx="941283" cy="36933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机器码</a:t>
            </a:r>
            <a:r>
              <a:rPr lang="en-US" altLang="zh-CN" b="1" dirty="0">
                <a:solidFill>
                  <a:schemeClr val="bg1"/>
                </a:solidFill>
              </a:rPr>
              <a:t> </a:t>
            </a:r>
            <a:endParaRPr lang="zh-CN" alt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6318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B80A129-EBAF-4C1C-93A9-02D11DAA2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输出详解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83E8DDE-BC9F-4CE5-8CF5-2C70BA51A9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月泉的博客  </a:t>
            </a:r>
            <a:r>
              <a:rPr lang="en-US" altLang="zh-CN" dirty="0"/>
              <a:t>www.lunaspring.com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DCE0845-56D0-4406-B72E-FAC88D092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6b07fd30-577b-4673-b5a7-5ed295e0ed4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56BD01A-E45F-4CFE-9ACD-8DC1F01BC55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1206500"/>
            <a:ext cx="12192000" cy="5486531"/>
            <a:chOff x="3225800" y="1206500"/>
            <a:chExt cx="6042025" cy="4703763"/>
          </a:xfrm>
        </p:grpSpPr>
        <p:sp>
          <p:nvSpPr>
            <p:cNvPr id="6" name="ïṩľîḋè">
              <a:extLst>
                <a:ext uri="{FF2B5EF4-FFF2-40B4-BE49-F238E27FC236}">
                  <a16:creationId xmlns:a16="http://schemas.microsoft.com/office/drawing/2014/main" id="{9EB47669-A1F1-41F1-84BC-52D28774368F}"/>
                </a:ext>
              </a:extLst>
            </p:cNvPr>
            <p:cNvSpPr/>
            <p:nvPr/>
          </p:nvSpPr>
          <p:spPr bwMode="auto">
            <a:xfrm>
              <a:off x="3632200" y="1206500"/>
              <a:ext cx="5229225" cy="3527425"/>
            </a:xfrm>
            <a:custGeom>
              <a:avLst/>
              <a:gdLst>
                <a:gd name="T0" fmla="*/ 1454 w 1505"/>
                <a:gd name="T1" fmla="*/ 0 h 1016"/>
                <a:gd name="T2" fmla="*/ 51 w 1505"/>
                <a:gd name="T3" fmla="*/ 0 h 1016"/>
                <a:gd name="T4" fmla="*/ 0 w 1505"/>
                <a:gd name="T5" fmla="*/ 51 h 1016"/>
                <a:gd name="T6" fmla="*/ 0 w 1505"/>
                <a:gd name="T7" fmla="*/ 1016 h 1016"/>
                <a:gd name="T8" fmla="*/ 1505 w 1505"/>
                <a:gd name="T9" fmla="*/ 1016 h 1016"/>
                <a:gd name="T10" fmla="*/ 1505 w 1505"/>
                <a:gd name="T11" fmla="*/ 51 h 1016"/>
                <a:gd name="T12" fmla="*/ 1454 w 1505"/>
                <a:gd name="T13" fmla="*/ 0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5" h="1016">
                  <a:moveTo>
                    <a:pt x="1454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2"/>
                    <a:pt x="0" y="51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1505" y="1016"/>
                    <a:pt x="1505" y="1016"/>
                    <a:pt x="1505" y="1016"/>
                  </a:cubicBezTo>
                  <a:cubicBezTo>
                    <a:pt x="1505" y="51"/>
                    <a:pt x="1505" y="51"/>
                    <a:pt x="1505" y="51"/>
                  </a:cubicBezTo>
                  <a:cubicBezTo>
                    <a:pt x="1505" y="22"/>
                    <a:pt x="1482" y="0"/>
                    <a:pt x="1454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iSliḑé">
              <a:extLst>
                <a:ext uri="{FF2B5EF4-FFF2-40B4-BE49-F238E27FC236}">
                  <a16:creationId xmlns:a16="http://schemas.microsoft.com/office/drawing/2014/main" id="{60865CDC-675E-4E13-8BD1-3C59AE315FB2}"/>
                </a:ext>
              </a:extLst>
            </p:cNvPr>
            <p:cNvSpPr/>
            <p:nvPr/>
          </p:nvSpPr>
          <p:spPr bwMode="auto">
            <a:xfrm>
              <a:off x="3225800" y="4675188"/>
              <a:ext cx="6042025" cy="204788"/>
            </a:xfrm>
            <a:custGeom>
              <a:avLst/>
              <a:gdLst>
                <a:gd name="T0" fmla="*/ 1722 w 1739"/>
                <a:gd name="T1" fmla="*/ 0 h 59"/>
                <a:gd name="T2" fmla="*/ 17 w 1739"/>
                <a:gd name="T3" fmla="*/ 0 h 59"/>
                <a:gd name="T4" fmla="*/ 0 w 1739"/>
                <a:gd name="T5" fmla="*/ 18 h 59"/>
                <a:gd name="T6" fmla="*/ 0 w 1739"/>
                <a:gd name="T7" fmla="*/ 41 h 59"/>
                <a:gd name="T8" fmla="*/ 17 w 1739"/>
                <a:gd name="T9" fmla="*/ 59 h 59"/>
                <a:gd name="T10" fmla="*/ 1722 w 1739"/>
                <a:gd name="T11" fmla="*/ 59 h 59"/>
                <a:gd name="T12" fmla="*/ 1739 w 1739"/>
                <a:gd name="T13" fmla="*/ 41 h 59"/>
                <a:gd name="T14" fmla="*/ 1739 w 1739"/>
                <a:gd name="T15" fmla="*/ 18 h 59"/>
                <a:gd name="T16" fmla="*/ 1722 w 1739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9" h="59">
                  <a:moveTo>
                    <a:pt x="1722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1"/>
                    <a:pt x="8" y="59"/>
                    <a:pt x="17" y="59"/>
                  </a:cubicBezTo>
                  <a:cubicBezTo>
                    <a:pt x="1722" y="59"/>
                    <a:pt x="1722" y="59"/>
                    <a:pt x="1722" y="59"/>
                  </a:cubicBezTo>
                  <a:cubicBezTo>
                    <a:pt x="1731" y="59"/>
                    <a:pt x="1739" y="51"/>
                    <a:pt x="1739" y="41"/>
                  </a:cubicBezTo>
                  <a:cubicBezTo>
                    <a:pt x="1739" y="18"/>
                    <a:pt x="1739" y="18"/>
                    <a:pt x="1739" y="18"/>
                  </a:cubicBezTo>
                  <a:cubicBezTo>
                    <a:pt x="1739" y="8"/>
                    <a:pt x="1731" y="0"/>
                    <a:pt x="1722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iŝļiḓè">
              <a:extLst>
                <a:ext uri="{FF2B5EF4-FFF2-40B4-BE49-F238E27FC236}">
                  <a16:creationId xmlns:a16="http://schemas.microsoft.com/office/drawing/2014/main" id="{A46FB1BB-8F95-4B44-8F51-99B447CB51D6}"/>
                </a:ext>
              </a:extLst>
            </p:cNvPr>
            <p:cNvSpPr/>
            <p:nvPr/>
          </p:nvSpPr>
          <p:spPr bwMode="auto">
            <a:xfrm>
              <a:off x="3708400" y="1279525"/>
              <a:ext cx="5076825" cy="3405188"/>
            </a:xfrm>
            <a:custGeom>
              <a:avLst/>
              <a:gdLst>
                <a:gd name="T0" fmla="*/ 1430 w 1461"/>
                <a:gd name="T1" fmla="*/ 0 h 981"/>
                <a:gd name="T2" fmla="*/ 31 w 1461"/>
                <a:gd name="T3" fmla="*/ 0 h 981"/>
                <a:gd name="T4" fmla="*/ 0 w 1461"/>
                <a:gd name="T5" fmla="*/ 31 h 981"/>
                <a:gd name="T6" fmla="*/ 0 w 1461"/>
                <a:gd name="T7" fmla="*/ 981 h 981"/>
                <a:gd name="T8" fmla="*/ 1461 w 1461"/>
                <a:gd name="T9" fmla="*/ 981 h 981"/>
                <a:gd name="T10" fmla="*/ 1461 w 1461"/>
                <a:gd name="T11" fmla="*/ 31 h 981"/>
                <a:gd name="T12" fmla="*/ 1430 w 1461"/>
                <a:gd name="T13" fmla="*/ 0 h 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1" h="981">
                  <a:moveTo>
                    <a:pt x="1430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14" y="0"/>
                    <a:pt x="0" y="14"/>
                    <a:pt x="0" y="31"/>
                  </a:cubicBezTo>
                  <a:cubicBezTo>
                    <a:pt x="0" y="981"/>
                    <a:pt x="0" y="981"/>
                    <a:pt x="0" y="981"/>
                  </a:cubicBezTo>
                  <a:cubicBezTo>
                    <a:pt x="1461" y="981"/>
                    <a:pt x="1461" y="981"/>
                    <a:pt x="1461" y="981"/>
                  </a:cubicBezTo>
                  <a:cubicBezTo>
                    <a:pt x="1461" y="31"/>
                    <a:pt x="1461" y="31"/>
                    <a:pt x="1461" y="31"/>
                  </a:cubicBezTo>
                  <a:cubicBezTo>
                    <a:pt x="1461" y="14"/>
                    <a:pt x="1447" y="0"/>
                    <a:pt x="1430" y="0"/>
                  </a:cubicBezTo>
                </a:path>
              </a:pathLst>
            </a:custGeom>
            <a:solidFill>
              <a:srgbClr val="5F6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ísḻiďe">
              <a:extLst>
                <a:ext uri="{FF2B5EF4-FFF2-40B4-BE49-F238E27FC236}">
                  <a16:creationId xmlns:a16="http://schemas.microsoft.com/office/drawing/2014/main" id="{3857F858-F290-4561-B399-33F594A0B05D}"/>
                </a:ext>
              </a:extLst>
            </p:cNvPr>
            <p:cNvSpPr/>
            <p:nvPr/>
          </p:nvSpPr>
          <p:spPr bwMode="auto">
            <a:xfrm>
              <a:off x="3889375" y="1522413"/>
              <a:ext cx="4714875" cy="3044825"/>
            </a:xfrm>
            <a:prstGeom prst="rect">
              <a:avLst/>
            </a:pr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10" name="ïšlïḍè">
              <a:extLst>
                <a:ext uri="{FF2B5EF4-FFF2-40B4-BE49-F238E27FC236}">
                  <a16:creationId xmlns:a16="http://schemas.microsoft.com/office/drawing/2014/main" id="{4B53ACB9-F396-47CD-B51A-4FC520365B5A}"/>
                </a:ext>
              </a:extLst>
            </p:cNvPr>
            <p:cNvSpPr/>
            <p:nvPr/>
          </p:nvSpPr>
          <p:spPr bwMode="auto">
            <a:xfrm>
              <a:off x="3889375" y="1522413"/>
              <a:ext cx="4714875" cy="304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ṩḷîḍè">
              <a:extLst>
                <a:ext uri="{FF2B5EF4-FFF2-40B4-BE49-F238E27FC236}">
                  <a16:creationId xmlns:a16="http://schemas.microsoft.com/office/drawing/2014/main" id="{2BB2FC82-BAC2-4BAF-A8AA-D3C79590E4B0}"/>
                </a:ext>
              </a:extLst>
            </p:cNvPr>
            <p:cNvSpPr/>
            <p:nvPr/>
          </p:nvSpPr>
          <p:spPr bwMode="auto">
            <a:xfrm>
              <a:off x="6219825" y="1390650"/>
              <a:ext cx="52388" cy="52388"/>
            </a:xfrm>
            <a:prstGeom prst="ellipse">
              <a:avLst/>
            </a:pr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ṧḻidê">
              <a:extLst>
                <a:ext uri="{FF2B5EF4-FFF2-40B4-BE49-F238E27FC236}">
                  <a16:creationId xmlns:a16="http://schemas.microsoft.com/office/drawing/2014/main" id="{F78243D9-F90E-4390-91AB-A61A5F5B4506}"/>
                </a:ext>
              </a:extLst>
            </p:cNvPr>
            <p:cNvSpPr/>
            <p:nvPr/>
          </p:nvSpPr>
          <p:spPr bwMode="auto">
            <a:xfrm>
              <a:off x="5713413" y="4765675"/>
              <a:ext cx="1066800" cy="47625"/>
            </a:xfrm>
            <a:custGeom>
              <a:avLst/>
              <a:gdLst>
                <a:gd name="T0" fmla="*/ 300 w 307"/>
                <a:gd name="T1" fmla="*/ 0 h 14"/>
                <a:gd name="T2" fmla="*/ 7 w 307"/>
                <a:gd name="T3" fmla="*/ 0 h 14"/>
                <a:gd name="T4" fmla="*/ 0 w 307"/>
                <a:gd name="T5" fmla="*/ 7 h 14"/>
                <a:gd name="T6" fmla="*/ 7 w 307"/>
                <a:gd name="T7" fmla="*/ 14 h 14"/>
                <a:gd name="T8" fmla="*/ 300 w 307"/>
                <a:gd name="T9" fmla="*/ 14 h 14"/>
                <a:gd name="T10" fmla="*/ 307 w 307"/>
                <a:gd name="T11" fmla="*/ 7 h 14"/>
                <a:gd name="T12" fmla="*/ 300 w 307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14">
                  <a:moveTo>
                    <a:pt x="30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4"/>
                    <a:pt x="7" y="14"/>
                  </a:cubicBezTo>
                  <a:cubicBezTo>
                    <a:pt x="300" y="14"/>
                    <a:pt x="300" y="14"/>
                    <a:pt x="300" y="14"/>
                  </a:cubicBezTo>
                  <a:cubicBezTo>
                    <a:pt x="304" y="14"/>
                    <a:pt x="307" y="10"/>
                    <a:pt x="307" y="7"/>
                  </a:cubicBezTo>
                  <a:cubicBezTo>
                    <a:pt x="307" y="3"/>
                    <a:pt x="304" y="0"/>
                    <a:pt x="300" y="0"/>
                  </a:cubicBezTo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ïŝļíḋê">
              <a:extLst>
                <a:ext uri="{FF2B5EF4-FFF2-40B4-BE49-F238E27FC236}">
                  <a16:creationId xmlns:a16="http://schemas.microsoft.com/office/drawing/2014/main" id="{390AE02C-9971-4401-980B-8D7CD25E32BA}"/>
                </a:ext>
              </a:extLst>
            </p:cNvPr>
            <p:cNvSpPr/>
            <p:nvPr/>
          </p:nvSpPr>
          <p:spPr bwMode="auto">
            <a:xfrm>
              <a:off x="4483100" y="1692275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îš1íḓê">
              <a:extLst>
                <a:ext uri="{FF2B5EF4-FFF2-40B4-BE49-F238E27FC236}">
                  <a16:creationId xmlns:a16="http://schemas.microsoft.com/office/drawing/2014/main" id="{35A02B85-A3A7-4884-856F-D6FFE64D63BD}"/>
                </a:ext>
              </a:extLst>
            </p:cNvPr>
            <p:cNvSpPr/>
            <p:nvPr/>
          </p:nvSpPr>
          <p:spPr bwMode="auto">
            <a:xfrm>
              <a:off x="4483100" y="1692275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ŝļiḓè">
              <a:extLst>
                <a:ext uri="{FF2B5EF4-FFF2-40B4-BE49-F238E27FC236}">
                  <a16:creationId xmlns:a16="http://schemas.microsoft.com/office/drawing/2014/main" id="{33843241-A0A5-4CC6-AF1B-F2D7A2CAB2EA}"/>
                </a:ext>
              </a:extLst>
            </p:cNvPr>
            <p:cNvSpPr/>
            <p:nvPr/>
          </p:nvSpPr>
          <p:spPr bwMode="auto">
            <a:xfrm>
              <a:off x="4056063" y="1692275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iṩļïḍe">
              <a:extLst>
                <a:ext uri="{FF2B5EF4-FFF2-40B4-BE49-F238E27FC236}">
                  <a16:creationId xmlns:a16="http://schemas.microsoft.com/office/drawing/2014/main" id="{A61EDBDE-A11D-409E-9F3F-76AFB711D164}"/>
                </a:ext>
              </a:extLst>
            </p:cNvPr>
            <p:cNvSpPr/>
            <p:nvPr/>
          </p:nvSpPr>
          <p:spPr bwMode="auto">
            <a:xfrm>
              <a:off x="4056063" y="1692275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ṩliḓê">
              <a:extLst>
                <a:ext uri="{FF2B5EF4-FFF2-40B4-BE49-F238E27FC236}">
                  <a16:creationId xmlns:a16="http://schemas.microsoft.com/office/drawing/2014/main" id="{A220A7EE-0B40-40FE-B45E-0D4B5DF125BF}"/>
                </a:ext>
              </a:extLst>
            </p:cNvPr>
            <p:cNvSpPr/>
            <p:nvPr/>
          </p:nvSpPr>
          <p:spPr bwMode="auto">
            <a:xfrm>
              <a:off x="4056063" y="1846263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$1iḋe">
              <a:extLst>
                <a:ext uri="{FF2B5EF4-FFF2-40B4-BE49-F238E27FC236}">
                  <a16:creationId xmlns:a16="http://schemas.microsoft.com/office/drawing/2014/main" id="{B4AC9DA6-DA4B-4BC5-91AB-62D33F8EB379}"/>
                </a:ext>
              </a:extLst>
            </p:cNvPr>
            <p:cNvSpPr/>
            <p:nvPr/>
          </p:nvSpPr>
          <p:spPr bwMode="auto">
            <a:xfrm>
              <a:off x="4056063" y="1846263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ṥļíḋé">
              <a:extLst>
                <a:ext uri="{FF2B5EF4-FFF2-40B4-BE49-F238E27FC236}">
                  <a16:creationId xmlns:a16="http://schemas.microsoft.com/office/drawing/2014/main" id="{31D0911C-A540-4264-88CD-BA3D8A6B8DBD}"/>
                </a:ext>
              </a:extLst>
            </p:cNvPr>
            <p:cNvSpPr/>
            <p:nvPr/>
          </p:nvSpPr>
          <p:spPr bwMode="auto">
            <a:xfrm>
              <a:off x="4056063" y="2025650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śḷïdé">
              <a:extLst>
                <a:ext uri="{FF2B5EF4-FFF2-40B4-BE49-F238E27FC236}">
                  <a16:creationId xmlns:a16="http://schemas.microsoft.com/office/drawing/2014/main" id="{96AD0E5A-1C88-4FE1-85CB-E46CF30CD64F}"/>
                </a:ext>
              </a:extLst>
            </p:cNvPr>
            <p:cNvSpPr/>
            <p:nvPr/>
          </p:nvSpPr>
          <p:spPr bwMode="auto">
            <a:xfrm>
              <a:off x="4056063" y="2025650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ïśḻîdé">
              <a:extLst>
                <a:ext uri="{FF2B5EF4-FFF2-40B4-BE49-F238E27FC236}">
                  <a16:creationId xmlns:a16="http://schemas.microsoft.com/office/drawing/2014/main" id="{9C11CCB2-3261-41C9-8BFE-1C875933D8C5}"/>
                </a:ext>
              </a:extLst>
            </p:cNvPr>
            <p:cNvSpPr/>
            <p:nvPr/>
          </p:nvSpPr>
          <p:spPr bwMode="auto">
            <a:xfrm>
              <a:off x="4056063" y="2206625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Slîḋê">
              <a:extLst>
                <a:ext uri="{FF2B5EF4-FFF2-40B4-BE49-F238E27FC236}">
                  <a16:creationId xmlns:a16="http://schemas.microsoft.com/office/drawing/2014/main" id="{48E926CB-BEB3-45EE-8359-727B4B4950F6}"/>
                </a:ext>
              </a:extLst>
            </p:cNvPr>
            <p:cNvSpPr/>
            <p:nvPr/>
          </p:nvSpPr>
          <p:spPr bwMode="auto">
            <a:xfrm>
              <a:off x="4056063" y="2206625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îṡ1iḓé">
              <a:extLst>
                <a:ext uri="{FF2B5EF4-FFF2-40B4-BE49-F238E27FC236}">
                  <a16:creationId xmlns:a16="http://schemas.microsoft.com/office/drawing/2014/main" id="{D3A119FD-BA01-4809-9CFA-BE8D335E8079}"/>
                </a:ext>
              </a:extLst>
            </p:cNvPr>
            <p:cNvSpPr/>
            <p:nvPr/>
          </p:nvSpPr>
          <p:spPr bwMode="auto">
            <a:xfrm>
              <a:off x="4056063" y="2387600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ṡļíḑe">
              <a:extLst>
                <a:ext uri="{FF2B5EF4-FFF2-40B4-BE49-F238E27FC236}">
                  <a16:creationId xmlns:a16="http://schemas.microsoft.com/office/drawing/2014/main" id="{A13557A1-9C72-4E7C-B581-3BDB58C70736}"/>
                </a:ext>
              </a:extLst>
            </p:cNvPr>
            <p:cNvSpPr/>
            <p:nvPr/>
          </p:nvSpPr>
          <p:spPr bwMode="auto">
            <a:xfrm>
              <a:off x="4056063" y="2387600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ŝliḑe">
              <a:extLst>
                <a:ext uri="{FF2B5EF4-FFF2-40B4-BE49-F238E27FC236}">
                  <a16:creationId xmlns:a16="http://schemas.microsoft.com/office/drawing/2014/main" id="{15EB659A-20F9-4B1B-8731-6D0F832683D7}"/>
                </a:ext>
              </a:extLst>
            </p:cNvPr>
            <p:cNvSpPr/>
            <p:nvPr/>
          </p:nvSpPr>
          <p:spPr bwMode="auto">
            <a:xfrm>
              <a:off x="4056063" y="2566988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sľîḍè">
              <a:extLst>
                <a:ext uri="{FF2B5EF4-FFF2-40B4-BE49-F238E27FC236}">
                  <a16:creationId xmlns:a16="http://schemas.microsoft.com/office/drawing/2014/main" id="{A191DCDE-5B23-44C9-A647-6058F5F40CD7}"/>
                </a:ext>
              </a:extLst>
            </p:cNvPr>
            <p:cNvSpPr/>
            <p:nvPr/>
          </p:nvSpPr>
          <p:spPr bwMode="auto">
            <a:xfrm>
              <a:off x="4056063" y="2566988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ş1íďe">
              <a:extLst>
                <a:ext uri="{FF2B5EF4-FFF2-40B4-BE49-F238E27FC236}">
                  <a16:creationId xmlns:a16="http://schemas.microsoft.com/office/drawing/2014/main" id="{F2F88F2E-3A48-4449-BE44-017A6B877409}"/>
                </a:ext>
              </a:extLst>
            </p:cNvPr>
            <p:cNvSpPr/>
            <p:nvPr/>
          </p:nvSpPr>
          <p:spPr bwMode="auto">
            <a:xfrm>
              <a:off x="5053013" y="1692275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şlïḑê">
              <a:extLst>
                <a:ext uri="{FF2B5EF4-FFF2-40B4-BE49-F238E27FC236}">
                  <a16:creationId xmlns:a16="http://schemas.microsoft.com/office/drawing/2014/main" id="{B456704A-CB28-4E8E-934A-6632794A8D9C}"/>
                </a:ext>
              </a:extLst>
            </p:cNvPr>
            <p:cNvSpPr/>
            <p:nvPr/>
          </p:nvSpPr>
          <p:spPr bwMode="auto">
            <a:xfrm>
              <a:off x="5053013" y="1692275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$ļidé">
              <a:extLst>
                <a:ext uri="{FF2B5EF4-FFF2-40B4-BE49-F238E27FC236}">
                  <a16:creationId xmlns:a16="http://schemas.microsoft.com/office/drawing/2014/main" id="{4D5AD88B-32B8-49B9-B009-0103E96F8AF1}"/>
                </a:ext>
              </a:extLst>
            </p:cNvPr>
            <p:cNvSpPr/>
            <p:nvPr/>
          </p:nvSpPr>
          <p:spPr bwMode="auto">
            <a:xfrm>
              <a:off x="4649788" y="1846263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ṩḷïḓè">
              <a:extLst>
                <a:ext uri="{FF2B5EF4-FFF2-40B4-BE49-F238E27FC236}">
                  <a16:creationId xmlns:a16="http://schemas.microsoft.com/office/drawing/2014/main" id="{E386364B-83F0-4FAF-A6A1-03F8F53DA5F6}"/>
                </a:ext>
              </a:extLst>
            </p:cNvPr>
            <p:cNvSpPr/>
            <p:nvPr/>
          </p:nvSpPr>
          <p:spPr bwMode="auto">
            <a:xfrm>
              <a:off x="4649788" y="1846263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$ľiḋe">
              <a:extLst>
                <a:ext uri="{FF2B5EF4-FFF2-40B4-BE49-F238E27FC236}">
                  <a16:creationId xmlns:a16="http://schemas.microsoft.com/office/drawing/2014/main" id="{4CCF97C4-E659-4A1E-9C04-97C31386270F}"/>
                </a:ext>
              </a:extLst>
            </p:cNvPr>
            <p:cNvSpPr/>
            <p:nvPr/>
          </p:nvSpPr>
          <p:spPr bwMode="auto">
            <a:xfrm>
              <a:off x="5219700" y="1846263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sḻîḋê">
              <a:extLst>
                <a:ext uri="{FF2B5EF4-FFF2-40B4-BE49-F238E27FC236}">
                  <a16:creationId xmlns:a16="http://schemas.microsoft.com/office/drawing/2014/main" id="{6F950997-6434-4182-9D47-8DB73F33928E}"/>
                </a:ext>
              </a:extLst>
            </p:cNvPr>
            <p:cNvSpPr/>
            <p:nvPr/>
          </p:nvSpPr>
          <p:spPr bwMode="auto">
            <a:xfrm>
              <a:off x="5219700" y="1846263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ṩļíḍé">
              <a:extLst>
                <a:ext uri="{FF2B5EF4-FFF2-40B4-BE49-F238E27FC236}">
                  <a16:creationId xmlns:a16="http://schemas.microsoft.com/office/drawing/2014/main" id="{07872928-8FBF-441F-92C1-FD902A4B304A}"/>
                </a:ext>
              </a:extLst>
            </p:cNvPr>
            <p:cNvSpPr/>
            <p:nvPr/>
          </p:nvSpPr>
          <p:spPr bwMode="auto">
            <a:xfrm>
              <a:off x="4927600" y="2025650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ş1íḑè">
              <a:extLst>
                <a:ext uri="{FF2B5EF4-FFF2-40B4-BE49-F238E27FC236}">
                  <a16:creationId xmlns:a16="http://schemas.microsoft.com/office/drawing/2014/main" id="{8197BBE5-B9AC-4B64-92C3-469AE8D3D35E}"/>
                </a:ext>
              </a:extLst>
            </p:cNvPr>
            <p:cNvSpPr/>
            <p:nvPr/>
          </p:nvSpPr>
          <p:spPr bwMode="auto">
            <a:xfrm>
              <a:off x="4927600" y="2025650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sḻîḍê">
              <a:extLst>
                <a:ext uri="{FF2B5EF4-FFF2-40B4-BE49-F238E27FC236}">
                  <a16:creationId xmlns:a16="http://schemas.microsoft.com/office/drawing/2014/main" id="{9FAF9918-38EB-43C1-817A-52F60877C19C}"/>
                </a:ext>
              </a:extLst>
            </p:cNvPr>
            <p:cNvSpPr/>
            <p:nvPr/>
          </p:nvSpPr>
          <p:spPr bwMode="auto">
            <a:xfrm>
              <a:off x="5497513" y="2025650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îslïḓé">
              <a:extLst>
                <a:ext uri="{FF2B5EF4-FFF2-40B4-BE49-F238E27FC236}">
                  <a16:creationId xmlns:a16="http://schemas.microsoft.com/office/drawing/2014/main" id="{1A7B2B5C-5DD0-4127-8866-65DA451937FA}"/>
                </a:ext>
              </a:extLst>
            </p:cNvPr>
            <p:cNvSpPr/>
            <p:nvPr/>
          </p:nvSpPr>
          <p:spPr bwMode="auto">
            <a:xfrm>
              <a:off x="5497513" y="2025650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îṧḷiḍè">
              <a:extLst>
                <a:ext uri="{FF2B5EF4-FFF2-40B4-BE49-F238E27FC236}">
                  <a16:creationId xmlns:a16="http://schemas.microsoft.com/office/drawing/2014/main" id="{EE492E59-2A5B-44B4-BFBD-D59970C569AB}"/>
                </a:ext>
              </a:extLst>
            </p:cNvPr>
            <p:cNvSpPr/>
            <p:nvPr/>
          </p:nvSpPr>
          <p:spPr bwMode="auto">
            <a:xfrm>
              <a:off x="5205413" y="2206625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ŝḻîďé">
              <a:extLst>
                <a:ext uri="{FF2B5EF4-FFF2-40B4-BE49-F238E27FC236}">
                  <a16:creationId xmlns:a16="http://schemas.microsoft.com/office/drawing/2014/main" id="{AEB78AEE-411A-4EAA-B35A-9809271A291B}"/>
                </a:ext>
              </a:extLst>
            </p:cNvPr>
            <p:cNvSpPr/>
            <p:nvPr/>
          </p:nvSpPr>
          <p:spPr bwMode="auto">
            <a:xfrm>
              <a:off x="5205413" y="2206625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šḻiḓê">
              <a:extLst>
                <a:ext uri="{FF2B5EF4-FFF2-40B4-BE49-F238E27FC236}">
                  <a16:creationId xmlns:a16="http://schemas.microsoft.com/office/drawing/2014/main" id="{D53DC61F-31C6-418B-A5C1-3F4388D7E7A7}"/>
                </a:ext>
              </a:extLst>
            </p:cNvPr>
            <p:cNvSpPr/>
            <p:nvPr/>
          </p:nvSpPr>
          <p:spPr bwMode="auto">
            <a:xfrm>
              <a:off x="5775325" y="2206625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sļïḍe">
              <a:extLst>
                <a:ext uri="{FF2B5EF4-FFF2-40B4-BE49-F238E27FC236}">
                  <a16:creationId xmlns:a16="http://schemas.microsoft.com/office/drawing/2014/main" id="{87EC3F90-6775-41CE-8400-14502F6977DB}"/>
                </a:ext>
              </a:extLst>
            </p:cNvPr>
            <p:cNvSpPr/>
            <p:nvPr/>
          </p:nvSpPr>
          <p:spPr bwMode="auto">
            <a:xfrm>
              <a:off x="5775325" y="2206625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iṧḷïďe">
              <a:extLst>
                <a:ext uri="{FF2B5EF4-FFF2-40B4-BE49-F238E27FC236}">
                  <a16:creationId xmlns:a16="http://schemas.microsoft.com/office/drawing/2014/main" id="{CB527557-3C12-4A63-B594-284093DE9C9B}"/>
                </a:ext>
              </a:extLst>
            </p:cNvPr>
            <p:cNvSpPr/>
            <p:nvPr/>
          </p:nvSpPr>
          <p:spPr bwMode="auto">
            <a:xfrm>
              <a:off x="4927600" y="2387600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ṥļïḓé">
              <a:extLst>
                <a:ext uri="{FF2B5EF4-FFF2-40B4-BE49-F238E27FC236}">
                  <a16:creationId xmlns:a16="http://schemas.microsoft.com/office/drawing/2014/main" id="{1B178EBE-C0CE-4A7D-B84F-79674D3B19BD}"/>
                </a:ext>
              </a:extLst>
            </p:cNvPr>
            <p:cNvSpPr/>
            <p:nvPr/>
          </p:nvSpPr>
          <p:spPr bwMode="auto">
            <a:xfrm>
              <a:off x="4927600" y="2387600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şļîḍê">
              <a:extLst>
                <a:ext uri="{FF2B5EF4-FFF2-40B4-BE49-F238E27FC236}">
                  <a16:creationId xmlns:a16="http://schemas.microsoft.com/office/drawing/2014/main" id="{C1D54805-1A88-4C34-9C65-6942B40A6878}"/>
                </a:ext>
              </a:extLst>
            </p:cNvPr>
            <p:cNvSpPr/>
            <p:nvPr/>
          </p:nvSpPr>
          <p:spPr bwMode="auto">
            <a:xfrm>
              <a:off x="5497513" y="2387600"/>
              <a:ext cx="2417763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šlíḍè">
              <a:extLst>
                <a:ext uri="{FF2B5EF4-FFF2-40B4-BE49-F238E27FC236}">
                  <a16:creationId xmlns:a16="http://schemas.microsoft.com/office/drawing/2014/main" id="{0D90A1CF-05E3-42FF-9ED5-7CFC591B3D1C}"/>
                </a:ext>
              </a:extLst>
            </p:cNvPr>
            <p:cNvSpPr/>
            <p:nvPr/>
          </p:nvSpPr>
          <p:spPr bwMode="auto">
            <a:xfrm>
              <a:off x="5497513" y="2387600"/>
              <a:ext cx="24177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ṣľíḑé">
              <a:extLst>
                <a:ext uri="{FF2B5EF4-FFF2-40B4-BE49-F238E27FC236}">
                  <a16:creationId xmlns:a16="http://schemas.microsoft.com/office/drawing/2014/main" id="{C77CE53A-589C-48BD-BAF7-32E171651EC5}"/>
                </a:ext>
              </a:extLst>
            </p:cNvPr>
            <p:cNvSpPr/>
            <p:nvPr/>
          </p:nvSpPr>
          <p:spPr bwMode="auto">
            <a:xfrm>
              <a:off x="4649788" y="2566988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ŝlîďé">
              <a:extLst>
                <a:ext uri="{FF2B5EF4-FFF2-40B4-BE49-F238E27FC236}">
                  <a16:creationId xmlns:a16="http://schemas.microsoft.com/office/drawing/2014/main" id="{7ADC383C-6496-40DB-BABC-E7C70D56BD08}"/>
                </a:ext>
              </a:extLst>
            </p:cNvPr>
            <p:cNvSpPr/>
            <p:nvPr/>
          </p:nvSpPr>
          <p:spPr bwMode="auto">
            <a:xfrm>
              <a:off x="4649788" y="2566988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şḷïdè">
              <a:extLst>
                <a:ext uri="{FF2B5EF4-FFF2-40B4-BE49-F238E27FC236}">
                  <a16:creationId xmlns:a16="http://schemas.microsoft.com/office/drawing/2014/main" id="{EB7221A9-8327-4C82-B3D7-E909F47E646B}"/>
                </a:ext>
              </a:extLst>
            </p:cNvPr>
            <p:cNvSpPr/>
            <p:nvPr/>
          </p:nvSpPr>
          <p:spPr bwMode="auto">
            <a:xfrm>
              <a:off x="5219700" y="2566988"/>
              <a:ext cx="1028700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ṡ1iḋê">
              <a:extLst>
                <a:ext uri="{FF2B5EF4-FFF2-40B4-BE49-F238E27FC236}">
                  <a16:creationId xmlns:a16="http://schemas.microsoft.com/office/drawing/2014/main" id="{0D58CC6F-9848-4B2B-9B6C-65D58A99D553}"/>
                </a:ext>
              </a:extLst>
            </p:cNvPr>
            <p:cNvSpPr/>
            <p:nvPr/>
          </p:nvSpPr>
          <p:spPr bwMode="auto">
            <a:xfrm>
              <a:off x="5219700" y="2566988"/>
              <a:ext cx="1028700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ṣḷïḑé">
              <a:extLst>
                <a:ext uri="{FF2B5EF4-FFF2-40B4-BE49-F238E27FC236}">
                  <a16:creationId xmlns:a16="http://schemas.microsoft.com/office/drawing/2014/main" id="{4053CA30-4AAC-4DEA-A379-3A57907B4800}"/>
                </a:ext>
              </a:extLst>
            </p:cNvPr>
            <p:cNvSpPr/>
            <p:nvPr/>
          </p:nvSpPr>
          <p:spPr bwMode="auto">
            <a:xfrm>
              <a:off x="4483100" y="2803525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šľíďè">
              <a:extLst>
                <a:ext uri="{FF2B5EF4-FFF2-40B4-BE49-F238E27FC236}">
                  <a16:creationId xmlns:a16="http://schemas.microsoft.com/office/drawing/2014/main" id="{66BC650F-21A2-4772-A36F-45916A53C8F0}"/>
                </a:ext>
              </a:extLst>
            </p:cNvPr>
            <p:cNvSpPr/>
            <p:nvPr/>
          </p:nvSpPr>
          <p:spPr bwMode="auto">
            <a:xfrm>
              <a:off x="4483100" y="2803525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śḻïďe">
              <a:extLst>
                <a:ext uri="{FF2B5EF4-FFF2-40B4-BE49-F238E27FC236}">
                  <a16:creationId xmlns:a16="http://schemas.microsoft.com/office/drawing/2014/main" id="{6B3722FE-503D-442B-8619-10A67595D291}"/>
                </a:ext>
              </a:extLst>
            </p:cNvPr>
            <p:cNvSpPr/>
            <p:nvPr/>
          </p:nvSpPr>
          <p:spPr bwMode="auto">
            <a:xfrm>
              <a:off x="4056063" y="2803525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S1iďè">
              <a:extLst>
                <a:ext uri="{FF2B5EF4-FFF2-40B4-BE49-F238E27FC236}">
                  <a16:creationId xmlns:a16="http://schemas.microsoft.com/office/drawing/2014/main" id="{920D8F65-A943-4114-8E62-AAAF6FABA25E}"/>
                </a:ext>
              </a:extLst>
            </p:cNvPr>
            <p:cNvSpPr/>
            <p:nvPr/>
          </p:nvSpPr>
          <p:spPr bwMode="auto">
            <a:xfrm>
              <a:off x="4056063" y="2803525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ṥḷïḋe">
              <a:extLst>
                <a:ext uri="{FF2B5EF4-FFF2-40B4-BE49-F238E27FC236}">
                  <a16:creationId xmlns:a16="http://schemas.microsoft.com/office/drawing/2014/main" id="{E65350D1-02D3-4E69-8755-A056190F313B}"/>
                </a:ext>
              </a:extLst>
            </p:cNvPr>
            <p:cNvSpPr/>
            <p:nvPr/>
          </p:nvSpPr>
          <p:spPr bwMode="auto">
            <a:xfrm>
              <a:off x="4056063" y="2955925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ṧľîde">
              <a:extLst>
                <a:ext uri="{FF2B5EF4-FFF2-40B4-BE49-F238E27FC236}">
                  <a16:creationId xmlns:a16="http://schemas.microsoft.com/office/drawing/2014/main" id="{B059AC92-258A-4CD8-A438-6AACFF529025}"/>
                </a:ext>
              </a:extLst>
            </p:cNvPr>
            <p:cNvSpPr/>
            <p:nvPr/>
          </p:nvSpPr>
          <p:spPr bwMode="auto">
            <a:xfrm>
              <a:off x="4056063" y="2955925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$1îďê">
              <a:extLst>
                <a:ext uri="{FF2B5EF4-FFF2-40B4-BE49-F238E27FC236}">
                  <a16:creationId xmlns:a16="http://schemas.microsoft.com/office/drawing/2014/main" id="{51038BB2-F22C-466B-8295-A31A30B7D996}"/>
                </a:ext>
              </a:extLst>
            </p:cNvPr>
            <p:cNvSpPr/>
            <p:nvPr/>
          </p:nvSpPr>
          <p:spPr bwMode="auto">
            <a:xfrm>
              <a:off x="4056063" y="3136900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ś1íḋê">
              <a:extLst>
                <a:ext uri="{FF2B5EF4-FFF2-40B4-BE49-F238E27FC236}">
                  <a16:creationId xmlns:a16="http://schemas.microsoft.com/office/drawing/2014/main" id="{D0D2DF6D-60C8-4494-9890-60B5FE51EC10}"/>
                </a:ext>
              </a:extLst>
            </p:cNvPr>
            <p:cNvSpPr/>
            <p:nvPr/>
          </p:nvSpPr>
          <p:spPr bwMode="auto">
            <a:xfrm>
              <a:off x="4056063" y="3136900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sľiḓe">
              <a:extLst>
                <a:ext uri="{FF2B5EF4-FFF2-40B4-BE49-F238E27FC236}">
                  <a16:creationId xmlns:a16="http://schemas.microsoft.com/office/drawing/2014/main" id="{65E889DE-D4E3-4D91-8AC4-C4856B42BB1E}"/>
                </a:ext>
              </a:extLst>
            </p:cNvPr>
            <p:cNvSpPr/>
            <p:nvPr/>
          </p:nvSpPr>
          <p:spPr bwMode="auto">
            <a:xfrm>
              <a:off x="4056063" y="3317875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sļíḓê">
              <a:extLst>
                <a:ext uri="{FF2B5EF4-FFF2-40B4-BE49-F238E27FC236}">
                  <a16:creationId xmlns:a16="http://schemas.microsoft.com/office/drawing/2014/main" id="{A7A30704-3D6E-4A68-9DA7-5B8746DFB2C5}"/>
                </a:ext>
              </a:extLst>
            </p:cNvPr>
            <p:cNvSpPr/>
            <p:nvPr/>
          </p:nvSpPr>
          <p:spPr bwMode="auto">
            <a:xfrm>
              <a:off x="4056063" y="3317875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ṧḷíďe">
              <a:extLst>
                <a:ext uri="{FF2B5EF4-FFF2-40B4-BE49-F238E27FC236}">
                  <a16:creationId xmlns:a16="http://schemas.microsoft.com/office/drawing/2014/main" id="{2A6D3D0B-6B66-4687-A81F-E5E2C168CAF8}"/>
                </a:ext>
              </a:extLst>
            </p:cNvPr>
            <p:cNvSpPr/>
            <p:nvPr/>
          </p:nvSpPr>
          <p:spPr bwMode="auto">
            <a:xfrm>
              <a:off x="4056063" y="3497263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slïdé">
              <a:extLst>
                <a:ext uri="{FF2B5EF4-FFF2-40B4-BE49-F238E27FC236}">
                  <a16:creationId xmlns:a16="http://schemas.microsoft.com/office/drawing/2014/main" id="{26DAC201-7239-4D5B-B851-3957BDEBC57F}"/>
                </a:ext>
              </a:extLst>
            </p:cNvPr>
            <p:cNvSpPr/>
            <p:nvPr/>
          </p:nvSpPr>
          <p:spPr bwMode="auto">
            <a:xfrm>
              <a:off x="4056063" y="3497263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ŝ1iďé">
              <a:extLst>
                <a:ext uri="{FF2B5EF4-FFF2-40B4-BE49-F238E27FC236}">
                  <a16:creationId xmlns:a16="http://schemas.microsoft.com/office/drawing/2014/main" id="{96E1CF93-7358-4667-BBA7-5E5C4074BD79}"/>
                </a:ext>
              </a:extLst>
            </p:cNvPr>
            <p:cNvSpPr/>
            <p:nvPr/>
          </p:nvSpPr>
          <p:spPr bwMode="auto">
            <a:xfrm>
              <a:off x="4056063" y="3678238"/>
              <a:ext cx="195263" cy="84138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ṥlïḑe">
              <a:extLst>
                <a:ext uri="{FF2B5EF4-FFF2-40B4-BE49-F238E27FC236}">
                  <a16:creationId xmlns:a16="http://schemas.microsoft.com/office/drawing/2014/main" id="{54933A09-ED06-4E8C-8386-DFCD703795F2}"/>
                </a:ext>
              </a:extLst>
            </p:cNvPr>
            <p:cNvSpPr/>
            <p:nvPr/>
          </p:nvSpPr>
          <p:spPr bwMode="auto">
            <a:xfrm>
              <a:off x="4056063" y="3678238"/>
              <a:ext cx="195263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$ḻiḓê">
              <a:extLst>
                <a:ext uri="{FF2B5EF4-FFF2-40B4-BE49-F238E27FC236}">
                  <a16:creationId xmlns:a16="http://schemas.microsoft.com/office/drawing/2014/main" id="{CD8F4AA0-5938-42E5-B671-93D2D3EBDA89}"/>
                </a:ext>
              </a:extLst>
            </p:cNvPr>
            <p:cNvSpPr/>
            <p:nvPr/>
          </p:nvSpPr>
          <p:spPr bwMode="auto">
            <a:xfrm>
              <a:off x="5053013" y="2803525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ṥľiďe">
              <a:extLst>
                <a:ext uri="{FF2B5EF4-FFF2-40B4-BE49-F238E27FC236}">
                  <a16:creationId xmlns:a16="http://schemas.microsoft.com/office/drawing/2014/main" id="{1ECFF78E-A185-4A7B-823C-4FD54988729B}"/>
                </a:ext>
              </a:extLst>
            </p:cNvPr>
            <p:cNvSpPr/>
            <p:nvPr/>
          </p:nvSpPr>
          <p:spPr bwMode="auto">
            <a:xfrm>
              <a:off x="5053013" y="2803525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ŝľïḑe">
              <a:extLst>
                <a:ext uri="{FF2B5EF4-FFF2-40B4-BE49-F238E27FC236}">
                  <a16:creationId xmlns:a16="http://schemas.microsoft.com/office/drawing/2014/main" id="{9823A20B-EBEF-45D1-A85C-F2FD8F80E6AC}"/>
                </a:ext>
              </a:extLst>
            </p:cNvPr>
            <p:cNvSpPr/>
            <p:nvPr/>
          </p:nvSpPr>
          <p:spPr bwMode="auto">
            <a:xfrm>
              <a:off x="4649788" y="2955925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îṥ1ïḋe">
              <a:extLst>
                <a:ext uri="{FF2B5EF4-FFF2-40B4-BE49-F238E27FC236}">
                  <a16:creationId xmlns:a16="http://schemas.microsoft.com/office/drawing/2014/main" id="{73A552E7-F3F7-4C2F-A764-7EA5CCC94A73}"/>
                </a:ext>
              </a:extLst>
            </p:cNvPr>
            <p:cNvSpPr/>
            <p:nvPr/>
          </p:nvSpPr>
          <p:spPr bwMode="auto">
            <a:xfrm>
              <a:off x="4649788" y="2955925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ṣliďe">
              <a:extLst>
                <a:ext uri="{FF2B5EF4-FFF2-40B4-BE49-F238E27FC236}">
                  <a16:creationId xmlns:a16="http://schemas.microsoft.com/office/drawing/2014/main" id="{D0D23A71-014A-40A0-BA10-A2C6643A0A3E}"/>
                </a:ext>
              </a:extLst>
            </p:cNvPr>
            <p:cNvSpPr/>
            <p:nvPr/>
          </p:nvSpPr>
          <p:spPr bwMode="auto">
            <a:xfrm>
              <a:off x="5219700" y="2955925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şlîďê">
              <a:extLst>
                <a:ext uri="{FF2B5EF4-FFF2-40B4-BE49-F238E27FC236}">
                  <a16:creationId xmlns:a16="http://schemas.microsoft.com/office/drawing/2014/main" id="{9B6E51DB-3561-44F9-A2ED-97E8ECB2C2CD}"/>
                </a:ext>
              </a:extLst>
            </p:cNvPr>
            <p:cNvSpPr/>
            <p:nvPr/>
          </p:nvSpPr>
          <p:spPr bwMode="auto">
            <a:xfrm>
              <a:off x="5219700" y="2955925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ṧliḑè">
              <a:extLst>
                <a:ext uri="{FF2B5EF4-FFF2-40B4-BE49-F238E27FC236}">
                  <a16:creationId xmlns:a16="http://schemas.microsoft.com/office/drawing/2014/main" id="{D348B7C4-6966-42DF-B859-CC64C0E94289}"/>
                </a:ext>
              </a:extLst>
            </p:cNvPr>
            <p:cNvSpPr/>
            <p:nvPr/>
          </p:nvSpPr>
          <p:spPr bwMode="auto">
            <a:xfrm>
              <a:off x="4927600" y="3136900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íṣḻïďè">
              <a:extLst>
                <a:ext uri="{FF2B5EF4-FFF2-40B4-BE49-F238E27FC236}">
                  <a16:creationId xmlns:a16="http://schemas.microsoft.com/office/drawing/2014/main" id="{5F335647-C94A-455B-9EC6-C6775D0D88CB}"/>
                </a:ext>
              </a:extLst>
            </p:cNvPr>
            <p:cNvSpPr/>
            <p:nvPr/>
          </p:nvSpPr>
          <p:spPr bwMode="auto">
            <a:xfrm>
              <a:off x="4927600" y="3136900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ṩ1iḋe">
              <a:extLst>
                <a:ext uri="{FF2B5EF4-FFF2-40B4-BE49-F238E27FC236}">
                  <a16:creationId xmlns:a16="http://schemas.microsoft.com/office/drawing/2014/main" id="{FCFE421B-DCF9-4FE4-A6A5-128C69BBDD5D}"/>
                </a:ext>
              </a:extLst>
            </p:cNvPr>
            <p:cNvSpPr/>
            <p:nvPr/>
          </p:nvSpPr>
          <p:spPr bwMode="auto">
            <a:xfrm>
              <a:off x="5497513" y="3136900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ŝḻïde">
              <a:extLst>
                <a:ext uri="{FF2B5EF4-FFF2-40B4-BE49-F238E27FC236}">
                  <a16:creationId xmlns:a16="http://schemas.microsoft.com/office/drawing/2014/main" id="{0B535A70-C35A-4985-8CD7-066873FA83A3}"/>
                </a:ext>
              </a:extLst>
            </p:cNvPr>
            <p:cNvSpPr/>
            <p:nvPr/>
          </p:nvSpPr>
          <p:spPr bwMode="auto">
            <a:xfrm>
              <a:off x="5497513" y="3136900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śļiḑê">
              <a:extLst>
                <a:ext uri="{FF2B5EF4-FFF2-40B4-BE49-F238E27FC236}">
                  <a16:creationId xmlns:a16="http://schemas.microsoft.com/office/drawing/2014/main" id="{C592F7DE-88BD-4F8F-853A-D91B6277100C}"/>
                </a:ext>
              </a:extLst>
            </p:cNvPr>
            <p:cNvSpPr/>
            <p:nvPr/>
          </p:nvSpPr>
          <p:spPr bwMode="auto">
            <a:xfrm>
              <a:off x="4483100" y="3914775"/>
              <a:ext cx="163513" cy="82550"/>
            </a:xfrm>
            <a:custGeom>
              <a:avLst/>
              <a:gdLst>
                <a:gd name="T0" fmla="*/ 103 w 103"/>
                <a:gd name="T1" fmla="*/ 0 h 52"/>
                <a:gd name="T2" fmla="*/ 0 w 103"/>
                <a:gd name="T3" fmla="*/ 0 h 52"/>
                <a:gd name="T4" fmla="*/ 0 w 103"/>
                <a:gd name="T5" fmla="*/ 52 h 52"/>
                <a:gd name="T6" fmla="*/ 75 w 103"/>
                <a:gd name="T7" fmla="*/ 52 h 52"/>
                <a:gd name="T8" fmla="*/ 103 w 103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52">
                  <a:moveTo>
                    <a:pt x="103" y="0"/>
                  </a:moveTo>
                  <a:lnTo>
                    <a:pt x="0" y="0"/>
                  </a:lnTo>
                  <a:lnTo>
                    <a:pt x="0" y="52"/>
                  </a:lnTo>
                  <a:lnTo>
                    <a:pt x="75" y="52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ṣḷîḓê">
              <a:extLst>
                <a:ext uri="{FF2B5EF4-FFF2-40B4-BE49-F238E27FC236}">
                  <a16:creationId xmlns:a16="http://schemas.microsoft.com/office/drawing/2014/main" id="{786B6775-54D7-4283-8F63-B8DCBBF2C52A}"/>
                </a:ext>
              </a:extLst>
            </p:cNvPr>
            <p:cNvSpPr/>
            <p:nvPr/>
          </p:nvSpPr>
          <p:spPr bwMode="auto">
            <a:xfrm>
              <a:off x="4483100" y="3914775"/>
              <a:ext cx="163513" cy="82550"/>
            </a:xfrm>
            <a:custGeom>
              <a:avLst/>
              <a:gdLst>
                <a:gd name="T0" fmla="*/ 103 w 103"/>
                <a:gd name="T1" fmla="*/ 0 h 52"/>
                <a:gd name="T2" fmla="*/ 0 w 103"/>
                <a:gd name="T3" fmla="*/ 0 h 52"/>
                <a:gd name="T4" fmla="*/ 0 w 103"/>
                <a:gd name="T5" fmla="*/ 52 h 52"/>
                <a:gd name="T6" fmla="*/ 75 w 103"/>
                <a:gd name="T7" fmla="*/ 52 h 52"/>
                <a:gd name="T8" fmla="*/ 103 w 103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52">
                  <a:moveTo>
                    <a:pt x="103" y="0"/>
                  </a:moveTo>
                  <a:lnTo>
                    <a:pt x="0" y="0"/>
                  </a:lnTo>
                  <a:lnTo>
                    <a:pt x="0" y="52"/>
                  </a:lnTo>
                  <a:lnTo>
                    <a:pt x="75" y="52"/>
                  </a:lnTo>
                  <a:lnTo>
                    <a:pt x="10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ṩ1îḑé">
              <a:extLst>
                <a:ext uri="{FF2B5EF4-FFF2-40B4-BE49-F238E27FC236}">
                  <a16:creationId xmlns:a16="http://schemas.microsoft.com/office/drawing/2014/main" id="{3BC1195B-92A4-4419-BAAE-E17CB3427ACA}"/>
                </a:ext>
              </a:extLst>
            </p:cNvPr>
            <p:cNvSpPr/>
            <p:nvPr/>
          </p:nvSpPr>
          <p:spPr bwMode="auto">
            <a:xfrm>
              <a:off x="4056063" y="3914775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sḷïḓè">
              <a:extLst>
                <a:ext uri="{FF2B5EF4-FFF2-40B4-BE49-F238E27FC236}">
                  <a16:creationId xmlns:a16="http://schemas.microsoft.com/office/drawing/2014/main" id="{AA151974-BC61-4A7B-9963-55F43A1B100D}"/>
                </a:ext>
              </a:extLst>
            </p:cNvPr>
            <p:cNvSpPr/>
            <p:nvPr/>
          </p:nvSpPr>
          <p:spPr bwMode="auto">
            <a:xfrm>
              <a:off x="4056063" y="3914775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ṣḷiḑe">
              <a:extLst>
                <a:ext uri="{FF2B5EF4-FFF2-40B4-BE49-F238E27FC236}">
                  <a16:creationId xmlns:a16="http://schemas.microsoft.com/office/drawing/2014/main" id="{61353666-E5C6-43EF-AB4C-EC5196F3997D}"/>
                </a:ext>
              </a:extLst>
            </p:cNvPr>
            <p:cNvSpPr/>
            <p:nvPr/>
          </p:nvSpPr>
          <p:spPr bwMode="auto">
            <a:xfrm>
              <a:off x="4056063" y="4067175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$ḷiḍe">
              <a:extLst>
                <a:ext uri="{FF2B5EF4-FFF2-40B4-BE49-F238E27FC236}">
                  <a16:creationId xmlns:a16="http://schemas.microsoft.com/office/drawing/2014/main" id="{6D5D7005-14AB-445B-BBA2-065553E66301}"/>
                </a:ext>
              </a:extLst>
            </p:cNvPr>
            <p:cNvSpPr/>
            <p:nvPr/>
          </p:nvSpPr>
          <p:spPr bwMode="auto">
            <a:xfrm>
              <a:off x="4056063" y="4067175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S1ïde">
              <a:extLst>
                <a:ext uri="{FF2B5EF4-FFF2-40B4-BE49-F238E27FC236}">
                  <a16:creationId xmlns:a16="http://schemas.microsoft.com/office/drawing/2014/main" id="{7BB68277-AEEC-4D32-A3A2-C317AAD70268}"/>
                </a:ext>
              </a:extLst>
            </p:cNvPr>
            <p:cNvSpPr/>
            <p:nvPr/>
          </p:nvSpPr>
          <p:spPr bwMode="auto">
            <a:xfrm>
              <a:off x="4056063" y="4248150"/>
              <a:ext cx="195263" cy="82550"/>
            </a:xfrm>
            <a:prstGeom prst="rect">
              <a:avLst/>
            </a:prstGeom>
            <a:solidFill>
              <a:srgbClr val="6261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ŝḷiḋé">
              <a:extLst>
                <a:ext uri="{FF2B5EF4-FFF2-40B4-BE49-F238E27FC236}">
                  <a16:creationId xmlns:a16="http://schemas.microsoft.com/office/drawing/2014/main" id="{4516CDB9-6558-461D-8510-49D08AF72584}"/>
                </a:ext>
              </a:extLst>
            </p:cNvPr>
            <p:cNvSpPr/>
            <p:nvPr/>
          </p:nvSpPr>
          <p:spPr bwMode="auto">
            <a:xfrm>
              <a:off x="4056063" y="4248150"/>
              <a:ext cx="1952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ṩlíḓê">
              <a:extLst>
                <a:ext uri="{FF2B5EF4-FFF2-40B4-BE49-F238E27FC236}">
                  <a16:creationId xmlns:a16="http://schemas.microsoft.com/office/drawing/2014/main" id="{B6956EE5-B784-40E6-BA0A-DBA85A675060}"/>
                </a:ext>
              </a:extLst>
            </p:cNvPr>
            <p:cNvSpPr/>
            <p:nvPr/>
          </p:nvSpPr>
          <p:spPr bwMode="auto">
            <a:xfrm>
              <a:off x="5202238" y="3914775"/>
              <a:ext cx="1435100" cy="82550"/>
            </a:xfrm>
            <a:custGeom>
              <a:avLst/>
              <a:gdLst>
                <a:gd name="T0" fmla="*/ 904 w 904"/>
                <a:gd name="T1" fmla="*/ 0 h 52"/>
                <a:gd name="T2" fmla="*/ 0 w 904"/>
                <a:gd name="T3" fmla="*/ 0 h 52"/>
                <a:gd name="T4" fmla="*/ 5 w 904"/>
                <a:gd name="T5" fmla="*/ 52 h 52"/>
                <a:gd name="T6" fmla="*/ 904 w 904"/>
                <a:gd name="T7" fmla="*/ 52 h 52"/>
                <a:gd name="T8" fmla="*/ 904 w 904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52">
                  <a:moveTo>
                    <a:pt x="904" y="0"/>
                  </a:moveTo>
                  <a:lnTo>
                    <a:pt x="0" y="0"/>
                  </a:lnTo>
                  <a:lnTo>
                    <a:pt x="5" y="52"/>
                  </a:lnTo>
                  <a:lnTo>
                    <a:pt x="904" y="52"/>
                  </a:lnTo>
                  <a:lnTo>
                    <a:pt x="904" y="0"/>
                  </a:lnTo>
                  <a:close/>
                </a:path>
              </a:pathLst>
            </a:cu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šļidê">
              <a:extLst>
                <a:ext uri="{FF2B5EF4-FFF2-40B4-BE49-F238E27FC236}">
                  <a16:creationId xmlns:a16="http://schemas.microsoft.com/office/drawing/2014/main" id="{EEA75CCE-EC2C-40E4-81F9-14CA1677734B}"/>
                </a:ext>
              </a:extLst>
            </p:cNvPr>
            <p:cNvSpPr/>
            <p:nvPr/>
          </p:nvSpPr>
          <p:spPr bwMode="auto">
            <a:xfrm>
              <a:off x="5202238" y="3914775"/>
              <a:ext cx="1435100" cy="82550"/>
            </a:xfrm>
            <a:custGeom>
              <a:avLst/>
              <a:gdLst>
                <a:gd name="T0" fmla="*/ 904 w 904"/>
                <a:gd name="T1" fmla="*/ 0 h 52"/>
                <a:gd name="T2" fmla="*/ 0 w 904"/>
                <a:gd name="T3" fmla="*/ 0 h 52"/>
                <a:gd name="T4" fmla="*/ 5 w 904"/>
                <a:gd name="T5" fmla="*/ 52 h 52"/>
                <a:gd name="T6" fmla="*/ 904 w 904"/>
                <a:gd name="T7" fmla="*/ 52 h 52"/>
                <a:gd name="T8" fmla="*/ 904 w 904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52">
                  <a:moveTo>
                    <a:pt x="904" y="0"/>
                  </a:moveTo>
                  <a:lnTo>
                    <a:pt x="0" y="0"/>
                  </a:lnTo>
                  <a:lnTo>
                    <a:pt x="5" y="52"/>
                  </a:lnTo>
                  <a:lnTo>
                    <a:pt x="904" y="52"/>
                  </a:lnTo>
                  <a:lnTo>
                    <a:pt x="90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ṧ1îḓé">
              <a:extLst>
                <a:ext uri="{FF2B5EF4-FFF2-40B4-BE49-F238E27FC236}">
                  <a16:creationId xmlns:a16="http://schemas.microsoft.com/office/drawing/2014/main" id="{B92380F6-3E0B-43B2-B3FD-C45C75C22D11}"/>
                </a:ext>
              </a:extLst>
            </p:cNvPr>
            <p:cNvSpPr/>
            <p:nvPr/>
          </p:nvSpPr>
          <p:spPr bwMode="auto">
            <a:xfrm>
              <a:off x="4681538" y="4067175"/>
              <a:ext cx="61913" cy="82550"/>
            </a:xfrm>
            <a:custGeom>
              <a:avLst/>
              <a:gdLst>
                <a:gd name="T0" fmla="*/ 39 w 39"/>
                <a:gd name="T1" fmla="*/ 0 h 52"/>
                <a:gd name="T2" fmla="*/ 24 w 39"/>
                <a:gd name="T3" fmla="*/ 0 h 52"/>
                <a:gd name="T4" fmla="*/ 0 w 39"/>
                <a:gd name="T5" fmla="*/ 52 h 52"/>
                <a:gd name="T6" fmla="*/ 37 w 39"/>
                <a:gd name="T7" fmla="*/ 52 h 52"/>
                <a:gd name="T8" fmla="*/ 39 w 39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52">
                  <a:moveTo>
                    <a:pt x="39" y="0"/>
                  </a:moveTo>
                  <a:lnTo>
                    <a:pt x="24" y="0"/>
                  </a:lnTo>
                  <a:lnTo>
                    <a:pt x="0" y="52"/>
                  </a:lnTo>
                  <a:lnTo>
                    <a:pt x="37" y="52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ṧḻïḓè">
              <a:extLst>
                <a:ext uri="{FF2B5EF4-FFF2-40B4-BE49-F238E27FC236}">
                  <a16:creationId xmlns:a16="http://schemas.microsoft.com/office/drawing/2014/main" id="{554667C7-8E68-4633-864F-4D67345894B4}"/>
                </a:ext>
              </a:extLst>
            </p:cNvPr>
            <p:cNvSpPr/>
            <p:nvPr/>
          </p:nvSpPr>
          <p:spPr bwMode="auto">
            <a:xfrm>
              <a:off x="4681538" y="4067175"/>
              <a:ext cx="61913" cy="82550"/>
            </a:xfrm>
            <a:custGeom>
              <a:avLst/>
              <a:gdLst>
                <a:gd name="T0" fmla="*/ 39 w 39"/>
                <a:gd name="T1" fmla="*/ 0 h 52"/>
                <a:gd name="T2" fmla="*/ 24 w 39"/>
                <a:gd name="T3" fmla="*/ 0 h 52"/>
                <a:gd name="T4" fmla="*/ 0 w 39"/>
                <a:gd name="T5" fmla="*/ 52 h 52"/>
                <a:gd name="T6" fmla="*/ 37 w 39"/>
                <a:gd name="T7" fmla="*/ 52 h 52"/>
                <a:gd name="T8" fmla="*/ 39 w 39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52">
                  <a:moveTo>
                    <a:pt x="39" y="0"/>
                  </a:moveTo>
                  <a:lnTo>
                    <a:pt x="24" y="0"/>
                  </a:lnTo>
                  <a:lnTo>
                    <a:pt x="0" y="52"/>
                  </a:lnTo>
                  <a:lnTo>
                    <a:pt x="37" y="52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îś1îḍe">
              <a:extLst>
                <a:ext uri="{FF2B5EF4-FFF2-40B4-BE49-F238E27FC236}">
                  <a16:creationId xmlns:a16="http://schemas.microsoft.com/office/drawing/2014/main" id="{7EEF0E44-C6B7-4CA7-BC99-B263ED448EC2}"/>
                </a:ext>
              </a:extLst>
            </p:cNvPr>
            <p:cNvSpPr/>
            <p:nvPr/>
          </p:nvSpPr>
          <p:spPr bwMode="auto">
            <a:xfrm>
              <a:off x="5219700" y="4067175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şľiḋe">
              <a:extLst>
                <a:ext uri="{FF2B5EF4-FFF2-40B4-BE49-F238E27FC236}">
                  <a16:creationId xmlns:a16="http://schemas.microsoft.com/office/drawing/2014/main" id="{3C5D8DBC-7A70-47D3-B884-F81B6B90B26D}"/>
                </a:ext>
              </a:extLst>
            </p:cNvPr>
            <p:cNvSpPr/>
            <p:nvPr/>
          </p:nvSpPr>
          <p:spPr bwMode="auto">
            <a:xfrm>
              <a:off x="5219700" y="4067175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ṣļïḓé">
              <a:extLst>
                <a:ext uri="{FF2B5EF4-FFF2-40B4-BE49-F238E27FC236}">
                  <a16:creationId xmlns:a16="http://schemas.microsoft.com/office/drawing/2014/main" id="{9C601CEE-9E80-4D0F-83CB-5C3569DA5806}"/>
                </a:ext>
              </a:extLst>
            </p:cNvPr>
            <p:cNvSpPr/>
            <p:nvPr/>
          </p:nvSpPr>
          <p:spPr bwMode="auto">
            <a:xfrm>
              <a:off x="5219700" y="4248150"/>
              <a:ext cx="180975" cy="82550"/>
            </a:xfrm>
            <a:custGeom>
              <a:avLst/>
              <a:gdLst>
                <a:gd name="T0" fmla="*/ 114 w 114"/>
                <a:gd name="T1" fmla="*/ 0 h 52"/>
                <a:gd name="T2" fmla="*/ 0 w 114"/>
                <a:gd name="T3" fmla="*/ 0 h 52"/>
                <a:gd name="T4" fmla="*/ 4 w 114"/>
                <a:gd name="T5" fmla="*/ 52 h 52"/>
                <a:gd name="T6" fmla="*/ 114 w 114"/>
                <a:gd name="T7" fmla="*/ 52 h 52"/>
                <a:gd name="T8" fmla="*/ 114 w 114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52">
                  <a:moveTo>
                    <a:pt x="114" y="0"/>
                  </a:moveTo>
                  <a:lnTo>
                    <a:pt x="0" y="0"/>
                  </a:lnTo>
                  <a:lnTo>
                    <a:pt x="4" y="52"/>
                  </a:lnTo>
                  <a:lnTo>
                    <a:pt x="114" y="52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ŝ1iḓè">
              <a:extLst>
                <a:ext uri="{FF2B5EF4-FFF2-40B4-BE49-F238E27FC236}">
                  <a16:creationId xmlns:a16="http://schemas.microsoft.com/office/drawing/2014/main" id="{5F5C51A1-011F-43CB-BB92-509A6ED934D2}"/>
                </a:ext>
              </a:extLst>
            </p:cNvPr>
            <p:cNvSpPr/>
            <p:nvPr/>
          </p:nvSpPr>
          <p:spPr bwMode="auto">
            <a:xfrm>
              <a:off x="5219700" y="4248150"/>
              <a:ext cx="180975" cy="82550"/>
            </a:xfrm>
            <a:custGeom>
              <a:avLst/>
              <a:gdLst>
                <a:gd name="T0" fmla="*/ 114 w 114"/>
                <a:gd name="T1" fmla="*/ 0 h 52"/>
                <a:gd name="T2" fmla="*/ 0 w 114"/>
                <a:gd name="T3" fmla="*/ 0 h 52"/>
                <a:gd name="T4" fmla="*/ 4 w 114"/>
                <a:gd name="T5" fmla="*/ 52 h 52"/>
                <a:gd name="T6" fmla="*/ 114 w 114"/>
                <a:gd name="T7" fmla="*/ 52 h 52"/>
                <a:gd name="T8" fmla="*/ 114 w 114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52">
                  <a:moveTo>
                    <a:pt x="114" y="0"/>
                  </a:moveTo>
                  <a:lnTo>
                    <a:pt x="0" y="0"/>
                  </a:lnTo>
                  <a:lnTo>
                    <a:pt x="4" y="52"/>
                  </a:lnTo>
                  <a:lnTo>
                    <a:pt x="114" y="52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š1iḋè">
              <a:extLst>
                <a:ext uri="{FF2B5EF4-FFF2-40B4-BE49-F238E27FC236}">
                  <a16:creationId xmlns:a16="http://schemas.microsoft.com/office/drawing/2014/main" id="{502985E0-F41A-4984-B521-5B01CE812354}"/>
                </a:ext>
              </a:extLst>
            </p:cNvPr>
            <p:cNvSpPr/>
            <p:nvPr/>
          </p:nvSpPr>
          <p:spPr bwMode="auto">
            <a:xfrm>
              <a:off x="5497513" y="4248150"/>
              <a:ext cx="1584325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îsḷïḓè">
              <a:extLst>
                <a:ext uri="{FF2B5EF4-FFF2-40B4-BE49-F238E27FC236}">
                  <a16:creationId xmlns:a16="http://schemas.microsoft.com/office/drawing/2014/main" id="{9E990533-265C-4458-8C48-1ED57CE3BDFE}"/>
                </a:ext>
              </a:extLst>
            </p:cNvPr>
            <p:cNvSpPr/>
            <p:nvPr/>
          </p:nvSpPr>
          <p:spPr bwMode="auto">
            <a:xfrm>
              <a:off x="5497513" y="4248150"/>
              <a:ext cx="15843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îŝļîḍe">
              <a:extLst>
                <a:ext uri="{FF2B5EF4-FFF2-40B4-BE49-F238E27FC236}">
                  <a16:creationId xmlns:a16="http://schemas.microsoft.com/office/drawing/2014/main" id="{FE8A08C8-C58E-479C-AE89-761A9491D64C}"/>
                </a:ext>
              </a:extLst>
            </p:cNvPr>
            <p:cNvSpPr/>
            <p:nvPr/>
          </p:nvSpPr>
          <p:spPr bwMode="auto">
            <a:xfrm>
              <a:off x="5205413" y="3317875"/>
              <a:ext cx="473075" cy="82550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sļïḑe">
              <a:extLst>
                <a:ext uri="{FF2B5EF4-FFF2-40B4-BE49-F238E27FC236}">
                  <a16:creationId xmlns:a16="http://schemas.microsoft.com/office/drawing/2014/main" id="{AB17EDB5-EA04-410F-9416-83400AA1FF74}"/>
                </a:ext>
              </a:extLst>
            </p:cNvPr>
            <p:cNvSpPr/>
            <p:nvPr/>
          </p:nvSpPr>
          <p:spPr bwMode="auto">
            <a:xfrm>
              <a:off x="5205413" y="3317875"/>
              <a:ext cx="47307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isḻíḋe">
              <a:extLst>
                <a:ext uri="{FF2B5EF4-FFF2-40B4-BE49-F238E27FC236}">
                  <a16:creationId xmlns:a16="http://schemas.microsoft.com/office/drawing/2014/main" id="{B6ECC9CA-7B50-43B7-8DC3-267D1FDF0769}"/>
                </a:ext>
              </a:extLst>
            </p:cNvPr>
            <p:cNvSpPr/>
            <p:nvPr/>
          </p:nvSpPr>
          <p:spPr bwMode="auto">
            <a:xfrm>
              <a:off x="5775325" y="3317875"/>
              <a:ext cx="2417763" cy="82550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śļïḍé">
              <a:extLst>
                <a:ext uri="{FF2B5EF4-FFF2-40B4-BE49-F238E27FC236}">
                  <a16:creationId xmlns:a16="http://schemas.microsoft.com/office/drawing/2014/main" id="{DAFBB93D-41E9-49A4-8C3D-493743739102}"/>
                </a:ext>
              </a:extLst>
            </p:cNvPr>
            <p:cNvSpPr/>
            <p:nvPr/>
          </p:nvSpPr>
          <p:spPr bwMode="auto">
            <a:xfrm>
              <a:off x="5775325" y="3317875"/>
              <a:ext cx="2417763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ṣḷïḋe">
              <a:extLst>
                <a:ext uri="{FF2B5EF4-FFF2-40B4-BE49-F238E27FC236}">
                  <a16:creationId xmlns:a16="http://schemas.microsoft.com/office/drawing/2014/main" id="{0E92B441-F698-4F7F-B859-FB2B94182A4D}"/>
                </a:ext>
              </a:extLst>
            </p:cNvPr>
            <p:cNvSpPr/>
            <p:nvPr/>
          </p:nvSpPr>
          <p:spPr bwMode="auto">
            <a:xfrm>
              <a:off x="4927600" y="3497263"/>
              <a:ext cx="473075" cy="84138"/>
            </a:xfrm>
            <a:prstGeom prst="rect">
              <a:avLst/>
            </a:pr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$ḻiḋe">
              <a:extLst>
                <a:ext uri="{FF2B5EF4-FFF2-40B4-BE49-F238E27FC236}">
                  <a16:creationId xmlns:a16="http://schemas.microsoft.com/office/drawing/2014/main" id="{423EE292-682D-4BD3-B822-E02D6290AEF1}"/>
                </a:ext>
              </a:extLst>
            </p:cNvPr>
            <p:cNvSpPr/>
            <p:nvPr/>
          </p:nvSpPr>
          <p:spPr bwMode="auto">
            <a:xfrm>
              <a:off x="4927600" y="3497263"/>
              <a:ext cx="4730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sliḓé">
              <a:extLst>
                <a:ext uri="{FF2B5EF4-FFF2-40B4-BE49-F238E27FC236}">
                  <a16:creationId xmlns:a16="http://schemas.microsoft.com/office/drawing/2014/main" id="{E8E0AA71-F3CC-4D7F-8BA6-01A5CACBBEC5}"/>
                </a:ext>
              </a:extLst>
            </p:cNvPr>
            <p:cNvSpPr/>
            <p:nvPr/>
          </p:nvSpPr>
          <p:spPr bwMode="auto">
            <a:xfrm>
              <a:off x="5497513" y="3497263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ślïde">
              <a:extLst>
                <a:ext uri="{FF2B5EF4-FFF2-40B4-BE49-F238E27FC236}">
                  <a16:creationId xmlns:a16="http://schemas.microsoft.com/office/drawing/2014/main" id="{BC2FE509-82D5-48B9-98F4-9DEA5D6124DA}"/>
                </a:ext>
              </a:extLst>
            </p:cNvPr>
            <p:cNvSpPr/>
            <p:nvPr/>
          </p:nvSpPr>
          <p:spPr bwMode="auto">
            <a:xfrm>
              <a:off x="5497513" y="3497263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śḻïḍè">
              <a:extLst>
                <a:ext uri="{FF2B5EF4-FFF2-40B4-BE49-F238E27FC236}">
                  <a16:creationId xmlns:a16="http://schemas.microsoft.com/office/drawing/2014/main" id="{33DEFF6F-9D2F-471E-8436-2E2B1ED62F81}"/>
                </a:ext>
              </a:extLst>
            </p:cNvPr>
            <p:cNvSpPr/>
            <p:nvPr/>
          </p:nvSpPr>
          <p:spPr bwMode="auto">
            <a:xfrm>
              <a:off x="4649788" y="3678238"/>
              <a:ext cx="473075" cy="84138"/>
            </a:xfrm>
            <a:custGeom>
              <a:avLst/>
              <a:gdLst>
                <a:gd name="T0" fmla="*/ 136 w 136"/>
                <a:gd name="T1" fmla="*/ 0 h 24"/>
                <a:gd name="T2" fmla="*/ 0 w 136"/>
                <a:gd name="T3" fmla="*/ 0 h 24"/>
                <a:gd name="T4" fmla="*/ 0 w 136"/>
                <a:gd name="T5" fmla="*/ 24 h 24"/>
                <a:gd name="T6" fmla="*/ 22 w 136"/>
                <a:gd name="T7" fmla="*/ 24 h 24"/>
                <a:gd name="T8" fmla="*/ 46 w 136"/>
                <a:gd name="T9" fmla="*/ 13 h 24"/>
                <a:gd name="T10" fmla="*/ 83 w 136"/>
                <a:gd name="T11" fmla="*/ 5 h 24"/>
                <a:gd name="T12" fmla="*/ 136 w 136"/>
                <a:gd name="T13" fmla="*/ 7 h 24"/>
                <a:gd name="T14" fmla="*/ 136 w 136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6" h="24">
                  <a:moveTo>
                    <a:pt x="1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8" y="17"/>
                    <a:pt x="37" y="17"/>
                    <a:pt x="46" y="13"/>
                  </a:cubicBezTo>
                  <a:cubicBezTo>
                    <a:pt x="59" y="9"/>
                    <a:pt x="74" y="5"/>
                    <a:pt x="83" y="5"/>
                  </a:cubicBezTo>
                  <a:cubicBezTo>
                    <a:pt x="93" y="5"/>
                    <a:pt x="118" y="6"/>
                    <a:pt x="136" y="7"/>
                  </a:cubicBezTo>
                  <a:cubicBezTo>
                    <a:pt x="136" y="0"/>
                    <a:pt x="136" y="0"/>
                    <a:pt x="136" y="0"/>
                  </a:cubicBezTo>
                </a:path>
              </a:pathLst>
            </a:custGeom>
            <a:solidFill>
              <a:srgbClr val="584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ṧlïḑê">
              <a:extLst>
                <a:ext uri="{FF2B5EF4-FFF2-40B4-BE49-F238E27FC236}">
                  <a16:creationId xmlns:a16="http://schemas.microsoft.com/office/drawing/2014/main" id="{D461D072-D5A5-4830-B511-0532F475DE48}"/>
                </a:ext>
              </a:extLst>
            </p:cNvPr>
            <p:cNvSpPr/>
            <p:nvPr/>
          </p:nvSpPr>
          <p:spPr bwMode="auto">
            <a:xfrm>
              <a:off x="5219700" y="3678238"/>
              <a:ext cx="1584325" cy="84138"/>
            </a:xfrm>
            <a:prstGeom prst="rect">
              <a:avLst/>
            </a:prstGeom>
            <a:solidFill>
              <a:srgbClr val="5A5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íṥḷîḑè">
              <a:extLst>
                <a:ext uri="{FF2B5EF4-FFF2-40B4-BE49-F238E27FC236}">
                  <a16:creationId xmlns:a16="http://schemas.microsoft.com/office/drawing/2014/main" id="{87B359F3-38C5-4248-949C-9A01C1267490}"/>
                </a:ext>
              </a:extLst>
            </p:cNvPr>
            <p:cNvSpPr/>
            <p:nvPr/>
          </p:nvSpPr>
          <p:spPr bwMode="auto">
            <a:xfrm>
              <a:off x="5219700" y="3678238"/>
              <a:ext cx="15843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šḻïḍe">
              <a:extLst>
                <a:ext uri="{FF2B5EF4-FFF2-40B4-BE49-F238E27FC236}">
                  <a16:creationId xmlns:a16="http://schemas.microsoft.com/office/drawing/2014/main" id="{F7A4EC2B-D1A5-47CB-A170-F9AEA134B542}"/>
                </a:ext>
              </a:extLst>
            </p:cNvPr>
            <p:cNvSpPr/>
            <p:nvPr/>
          </p:nvSpPr>
          <p:spPr bwMode="auto">
            <a:xfrm>
              <a:off x="4532313" y="4684713"/>
              <a:ext cx="184150" cy="195263"/>
            </a:xfrm>
            <a:prstGeom prst="rect">
              <a:avLst/>
            </a:pr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ṡļïḋe">
              <a:extLst>
                <a:ext uri="{FF2B5EF4-FFF2-40B4-BE49-F238E27FC236}">
                  <a16:creationId xmlns:a16="http://schemas.microsoft.com/office/drawing/2014/main" id="{7E9F34F7-4FF6-407E-BD37-193AD97C98AF}"/>
                </a:ext>
              </a:extLst>
            </p:cNvPr>
            <p:cNvSpPr/>
            <p:nvPr/>
          </p:nvSpPr>
          <p:spPr bwMode="auto">
            <a:xfrm>
              <a:off x="4532313" y="4684713"/>
              <a:ext cx="18415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íSľîḑe">
              <a:extLst>
                <a:ext uri="{FF2B5EF4-FFF2-40B4-BE49-F238E27FC236}">
                  <a16:creationId xmlns:a16="http://schemas.microsoft.com/office/drawing/2014/main" id="{87552DFA-93AE-40B5-9B61-79085F939B7E}"/>
                </a:ext>
              </a:extLst>
            </p:cNvPr>
            <p:cNvSpPr/>
            <p:nvPr/>
          </p:nvSpPr>
          <p:spPr bwMode="auto">
            <a:xfrm>
              <a:off x="4532313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ṥḷíḋè">
              <a:extLst>
                <a:ext uri="{FF2B5EF4-FFF2-40B4-BE49-F238E27FC236}">
                  <a16:creationId xmlns:a16="http://schemas.microsoft.com/office/drawing/2014/main" id="{0FF9BB78-21A1-42E6-B1F8-74996190391D}"/>
                </a:ext>
              </a:extLst>
            </p:cNvPr>
            <p:cNvSpPr/>
            <p:nvPr/>
          </p:nvSpPr>
          <p:spPr bwMode="auto">
            <a:xfrm>
              <a:off x="4532313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Sļíḑe">
              <a:extLst>
                <a:ext uri="{FF2B5EF4-FFF2-40B4-BE49-F238E27FC236}">
                  <a16:creationId xmlns:a16="http://schemas.microsoft.com/office/drawing/2014/main" id="{9C1124D8-DD1C-400C-B153-4A7F08C37173}"/>
                </a:ext>
              </a:extLst>
            </p:cNvPr>
            <p:cNvSpPr/>
            <p:nvPr/>
          </p:nvSpPr>
          <p:spPr bwMode="auto">
            <a:xfrm>
              <a:off x="4889500" y="4684713"/>
              <a:ext cx="184150" cy="195263"/>
            </a:xfrm>
            <a:prstGeom prst="rect">
              <a:avLst/>
            </a:pr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ïsḷïḓe">
              <a:extLst>
                <a:ext uri="{FF2B5EF4-FFF2-40B4-BE49-F238E27FC236}">
                  <a16:creationId xmlns:a16="http://schemas.microsoft.com/office/drawing/2014/main" id="{357EF5F3-4AA5-4764-929A-69B13E3647F9}"/>
                </a:ext>
              </a:extLst>
            </p:cNvPr>
            <p:cNvSpPr/>
            <p:nvPr/>
          </p:nvSpPr>
          <p:spPr bwMode="auto">
            <a:xfrm>
              <a:off x="4889500" y="4684713"/>
              <a:ext cx="18415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ṣḻïde">
              <a:extLst>
                <a:ext uri="{FF2B5EF4-FFF2-40B4-BE49-F238E27FC236}">
                  <a16:creationId xmlns:a16="http://schemas.microsoft.com/office/drawing/2014/main" id="{E74A22FD-0200-4587-80A5-32265ADDE896}"/>
                </a:ext>
              </a:extLst>
            </p:cNvPr>
            <p:cNvSpPr/>
            <p:nvPr/>
          </p:nvSpPr>
          <p:spPr bwMode="auto">
            <a:xfrm>
              <a:off x="4889500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ïşļiḓè">
              <a:extLst>
                <a:ext uri="{FF2B5EF4-FFF2-40B4-BE49-F238E27FC236}">
                  <a16:creationId xmlns:a16="http://schemas.microsoft.com/office/drawing/2014/main" id="{1FFEA8B4-E6B0-4750-B43B-2B9EF0A450B9}"/>
                </a:ext>
              </a:extLst>
            </p:cNvPr>
            <p:cNvSpPr/>
            <p:nvPr/>
          </p:nvSpPr>
          <p:spPr bwMode="auto">
            <a:xfrm>
              <a:off x="4889500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ṧḻïḍê">
              <a:extLst>
                <a:ext uri="{FF2B5EF4-FFF2-40B4-BE49-F238E27FC236}">
                  <a16:creationId xmlns:a16="http://schemas.microsoft.com/office/drawing/2014/main" id="{1BF46215-06FC-4D2C-A7C4-15326F0F6B0A}"/>
                </a:ext>
              </a:extLst>
            </p:cNvPr>
            <p:cNvSpPr/>
            <p:nvPr/>
          </p:nvSpPr>
          <p:spPr bwMode="auto">
            <a:xfrm>
              <a:off x="7645400" y="4684713"/>
              <a:ext cx="184150" cy="195263"/>
            </a:xfrm>
            <a:prstGeom prst="rect">
              <a:avLst/>
            </a:pr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šļîdè">
              <a:extLst>
                <a:ext uri="{FF2B5EF4-FFF2-40B4-BE49-F238E27FC236}">
                  <a16:creationId xmlns:a16="http://schemas.microsoft.com/office/drawing/2014/main" id="{363F8C60-7A46-48AC-9D72-39A52CACABA2}"/>
                </a:ext>
              </a:extLst>
            </p:cNvPr>
            <p:cNvSpPr/>
            <p:nvPr/>
          </p:nvSpPr>
          <p:spPr bwMode="auto">
            <a:xfrm>
              <a:off x="7645400" y="4684713"/>
              <a:ext cx="18415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îśḷíde">
              <a:extLst>
                <a:ext uri="{FF2B5EF4-FFF2-40B4-BE49-F238E27FC236}">
                  <a16:creationId xmlns:a16="http://schemas.microsoft.com/office/drawing/2014/main" id="{1F97CDC0-48DD-41EC-9EA4-4734BE8CA07F}"/>
                </a:ext>
              </a:extLst>
            </p:cNvPr>
            <p:cNvSpPr/>
            <p:nvPr/>
          </p:nvSpPr>
          <p:spPr bwMode="auto">
            <a:xfrm>
              <a:off x="7645400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íṥľíḍê">
              <a:extLst>
                <a:ext uri="{FF2B5EF4-FFF2-40B4-BE49-F238E27FC236}">
                  <a16:creationId xmlns:a16="http://schemas.microsoft.com/office/drawing/2014/main" id="{FA089CE4-F982-4614-91D1-CA1C9C03B361}"/>
                </a:ext>
              </a:extLst>
            </p:cNvPr>
            <p:cNvSpPr/>
            <p:nvPr/>
          </p:nvSpPr>
          <p:spPr bwMode="auto">
            <a:xfrm>
              <a:off x="7645400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$ļïḍè">
              <a:extLst>
                <a:ext uri="{FF2B5EF4-FFF2-40B4-BE49-F238E27FC236}">
                  <a16:creationId xmlns:a16="http://schemas.microsoft.com/office/drawing/2014/main" id="{68D90438-499A-4952-9398-395A7618F5F1}"/>
                </a:ext>
              </a:extLst>
            </p:cNvPr>
            <p:cNvSpPr/>
            <p:nvPr/>
          </p:nvSpPr>
          <p:spPr bwMode="auto">
            <a:xfrm>
              <a:off x="7964488" y="4684713"/>
              <a:ext cx="184150" cy="195263"/>
            </a:xfrm>
            <a:prstGeom prst="rect">
              <a:avLst/>
            </a:pr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ṣľidê">
              <a:extLst>
                <a:ext uri="{FF2B5EF4-FFF2-40B4-BE49-F238E27FC236}">
                  <a16:creationId xmlns:a16="http://schemas.microsoft.com/office/drawing/2014/main" id="{23F487CF-6F0D-4B73-BE90-6C0F32ADD4FC}"/>
                </a:ext>
              </a:extLst>
            </p:cNvPr>
            <p:cNvSpPr/>
            <p:nvPr/>
          </p:nvSpPr>
          <p:spPr bwMode="auto">
            <a:xfrm>
              <a:off x="7964488" y="4684713"/>
              <a:ext cx="184150" cy="195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íşḷîdê">
              <a:extLst>
                <a:ext uri="{FF2B5EF4-FFF2-40B4-BE49-F238E27FC236}">
                  <a16:creationId xmlns:a16="http://schemas.microsoft.com/office/drawing/2014/main" id="{B703645A-7289-49D7-9DBA-ECE43CFABC6B}"/>
                </a:ext>
              </a:extLst>
            </p:cNvPr>
            <p:cNvSpPr/>
            <p:nvPr/>
          </p:nvSpPr>
          <p:spPr bwMode="auto">
            <a:xfrm>
              <a:off x="7964488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ŝļîḋé">
              <a:extLst>
                <a:ext uri="{FF2B5EF4-FFF2-40B4-BE49-F238E27FC236}">
                  <a16:creationId xmlns:a16="http://schemas.microsoft.com/office/drawing/2014/main" id="{905287CF-A870-4096-A274-AEE88DF6F2FC}"/>
                </a:ext>
              </a:extLst>
            </p:cNvPr>
            <p:cNvSpPr/>
            <p:nvPr/>
          </p:nvSpPr>
          <p:spPr bwMode="auto">
            <a:xfrm>
              <a:off x="7964488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ṣḷîḓe">
              <a:extLst>
                <a:ext uri="{FF2B5EF4-FFF2-40B4-BE49-F238E27FC236}">
                  <a16:creationId xmlns:a16="http://schemas.microsoft.com/office/drawing/2014/main" id="{77AEE26C-F037-48FB-9BCB-81650316FE9B}"/>
                </a:ext>
              </a:extLst>
            </p:cNvPr>
            <p:cNvSpPr/>
            <p:nvPr/>
          </p:nvSpPr>
          <p:spPr bwMode="auto">
            <a:xfrm>
              <a:off x="4768850" y="5465763"/>
              <a:ext cx="100013" cy="444500"/>
            </a:xfrm>
            <a:custGeom>
              <a:avLst/>
              <a:gdLst>
                <a:gd name="T0" fmla="*/ 11 w 29"/>
                <a:gd name="T1" fmla="*/ 6 h 128"/>
                <a:gd name="T2" fmla="*/ 11 w 29"/>
                <a:gd name="T3" fmla="*/ 35 h 128"/>
                <a:gd name="T4" fmla="*/ 5 w 29"/>
                <a:gd name="T5" fmla="*/ 73 h 128"/>
                <a:gd name="T6" fmla="*/ 2 w 29"/>
                <a:gd name="T7" fmla="*/ 118 h 128"/>
                <a:gd name="T8" fmla="*/ 22 w 29"/>
                <a:gd name="T9" fmla="*/ 109 h 128"/>
                <a:gd name="T10" fmla="*/ 27 w 29"/>
                <a:gd name="T11" fmla="*/ 39 h 128"/>
                <a:gd name="T12" fmla="*/ 29 w 29"/>
                <a:gd name="T13" fmla="*/ 0 h 128"/>
                <a:gd name="T14" fmla="*/ 11 w 29"/>
                <a:gd name="T15" fmla="*/ 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128">
                  <a:moveTo>
                    <a:pt x="11" y="6"/>
                  </a:move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8" y="53"/>
                    <a:pt x="5" y="73"/>
                  </a:cubicBezTo>
                  <a:cubicBezTo>
                    <a:pt x="2" y="93"/>
                    <a:pt x="0" y="114"/>
                    <a:pt x="2" y="118"/>
                  </a:cubicBezTo>
                  <a:cubicBezTo>
                    <a:pt x="8" y="128"/>
                    <a:pt x="20" y="118"/>
                    <a:pt x="22" y="109"/>
                  </a:cubicBezTo>
                  <a:cubicBezTo>
                    <a:pt x="24" y="99"/>
                    <a:pt x="27" y="39"/>
                    <a:pt x="27" y="39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11" y="6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iSľiḓe">
              <a:extLst>
                <a:ext uri="{FF2B5EF4-FFF2-40B4-BE49-F238E27FC236}">
                  <a16:creationId xmlns:a16="http://schemas.microsoft.com/office/drawing/2014/main" id="{359127B3-B328-4CC0-A0D2-EBEED6453373}"/>
                </a:ext>
              </a:extLst>
            </p:cNvPr>
            <p:cNvSpPr/>
            <p:nvPr/>
          </p:nvSpPr>
          <p:spPr bwMode="auto">
            <a:xfrm>
              <a:off x="4625975" y="5473700"/>
              <a:ext cx="125413" cy="409575"/>
            </a:xfrm>
            <a:custGeom>
              <a:avLst/>
              <a:gdLst>
                <a:gd name="T0" fmla="*/ 22 w 36"/>
                <a:gd name="T1" fmla="*/ 0 h 118"/>
                <a:gd name="T2" fmla="*/ 27 w 36"/>
                <a:gd name="T3" fmla="*/ 26 h 118"/>
                <a:gd name="T4" fmla="*/ 31 w 36"/>
                <a:gd name="T5" fmla="*/ 108 h 118"/>
                <a:gd name="T6" fmla="*/ 11 w 36"/>
                <a:gd name="T7" fmla="*/ 99 h 118"/>
                <a:gd name="T8" fmla="*/ 8 w 36"/>
                <a:gd name="T9" fmla="*/ 33 h 118"/>
                <a:gd name="T10" fmla="*/ 0 w 36"/>
                <a:gd name="T11" fmla="*/ 2 h 118"/>
                <a:gd name="T12" fmla="*/ 22 w 36"/>
                <a:gd name="T1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18">
                  <a:moveTo>
                    <a:pt x="22" y="0"/>
                  </a:move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36" y="97"/>
                    <a:pt x="31" y="108"/>
                  </a:cubicBezTo>
                  <a:cubicBezTo>
                    <a:pt x="26" y="118"/>
                    <a:pt x="10" y="114"/>
                    <a:pt x="11" y="99"/>
                  </a:cubicBezTo>
                  <a:cubicBezTo>
                    <a:pt x="12" y="84"/>
                    <a:pt x="8" y="33"/>
                    <a:pt x="8" y="33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ṧľiḓè">
              <a:extLst>
                <a:ext uri="{FF2B5EF4-FFF2-40B4-BE49-F238E27FC236}">
                  <a16:creationId xmlns:a16="http://schemas.microsoft.com/office/drawing/2014/main" id="{6FD01A7D-8569-43C1-8BF8-26D161E28B69}"/>
                </a:ext>
              </a:extLst>
            </p:cNvPr>
            <p:cNvSpPr/>
            <p:nvPr/>
          </p:nvSpPr>
          <p:spPr bwMode="auto">
            <a:xfrm>
              <a:off x="4389438" y="4371975"/>
              <a:ext cx="841375" cy="1135063"/>
            </a:xfrm>
            <a:custGeom>
              <a:avLst/>
              <a:gdLst>
                <a:gd name="T0" fmla="*/ 103 w 242"/>
                <a:gd name="T1" fmla="*/ 1 h 327"/>
                <a:gd name="T2" fmla="*/ 105 w 242"/>
                <a:gd name="T3" fmla="*/ 33 h 327"/>
                <a:gd name="T4" fmla="*/ 22 w 242"/>
                <a:gd name="T5" fmla="*/ 73 h 327"/>
                <a:gd name="T6" fmla="*/ 5 w 242"/>
                <a:gd name="T7" fmla="*/ 115 h 327"/>
                <a:gd name="T8" fmla="*/ 62 w 242"/>
                <a:gd name="T9" fmla="*/ 326 h 327"/>
                <a:gd name="T10" fmla="*/ 90 w 242"/>
                <a:gd name="T11" fmla="*/ 317 h 327"/>
                <a:gd name="T12" fmla="*/ 65 w 242"/>
                <a:gd name="T13" fmla="*/ 122 h 327"/>
                <a:gd name="T14" fmla="*/ 84 w 242"/>
                <a:gd name="T15" fmla="*/ 97 h 327"/>
                <a:gd name="T16" fmla="*/ 113 w 242"/>
                <a:gd name="T17" fmla="*/ 93 h 327"/>
                <a:gd name="T18" fmla="*/ 144 w 242"/>
                <a:gd name="T19" fmla="*/ 61 h 327"/>
                <a:gd name="T20" fmla="*/ 108 w 242"/>
                <a:gd name="T21" fmla="*/ 93 h 327"/>
                <a:gd name="T22" fmla="*/ 97 w 242"/>
                <a:gd name="T23" fmla="*/ 125 h 327"/>
                <a:gd name="T24" fmla="*/ 120 w 242"/>
                <a:gd name="T25" fmla="*/ 321 h 327"/>
                <a:gd name="T26" fmla="*/ 146 w 242"/>
                <a:gd name="T27" fmla="*/ 327 h 327"/>
                <a:gd name="T28" fmla="*/ 157 w 242"/>
                <a:gd name="T29" fmla="*/ 134 h 327"/>
                <a:gd name="T30" fmla="*/ 178 w 242"/>
                <a:gd name="T31" fmla="*/ 108 h 327"/>
                <a:gd name="T32" fmla="*/ 229 w 242"/>
                <a:gd name="T33" fmla="*/ 91 h 327"/>
                <a:gd name="T34" fmla="*/ 242 w 242"/>
                <a:gd name="T35" fmla="*/ 68 h 327"/>
                <a:gd name="T36" fmla="*/ 240 w 242"/>
                <a:gd name="T37" fmla="*/ 0 h 327"/>
                <a:gd name="T38" fmla="*/ 103 w 242"/>
                <a:gd name="T39" fmla="*/ 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2" h="327">
                  <a:moveTo>
                    <a:pt x="103" y="1"/>
                  </a:moveTo>
                  <a:cubicBezTo>
                    <a:pt x="105" y="33"/>
                    <a:pt x="105" y="33"/>
                    <a:pt x="105" y="33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8" y="81"/>
                    <a:pt x="0" y="98"/>
                    <a:pt x="5" y="115"/>
                  </a:cubicBezTo>
                  <a:cubicBezTo>
                    <a:pt x="62" y="326"/>
                    <a:pt x="62" y="326"/>
                    <a:pt x="62" y="326"/>
                  </a:cubicBezTo>
                  <a:cubicBezTo>
                    <a:pt x="90" y="317"/>
                    <a:pt x="90" y="317"/>
                    <a:pt x="90" y="317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64" y="111"/>
                    <a:pt x="72" y="99"/>
                    <a:pt x="84" y="97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4" y="61"/>
                    <a:pt x="144" y="61"/>
                    <a:pt x="144" y="61"/>
                  </a:cubicBezTo>
                  <a:cubicBezTo>
                    <a:pt x="108" y="93"/>
                    <a:pt x="108" y="93"/>
                    <a:pt x="108" y="93"/>
                  </a:cubicBezTo>
                  <a:cubicBezTo>
                    <a:pt x="100" y="101"/>
                    <a:pt x="95" y="113"/>
                    <a:pt x="97" y="125"/>
                  </a:cubicBezTo>
                  <a:cubicBezTo>
                    <a:pt x="120" y="321"/>
                    <a:pt x="120" y="321"/>
                    <a:pt x="120" y="321"/>
                  </a:cubicBezTo>
                  <a:cubicBezTo>
                    <a:pt x="146" y="327"/>
                    <a:pt x="146" y="327"/>
                    <a:pt x="146" y="327"/>
                  </a:cubicBezTo>
                  <a:cubicBezTo>
                    <a:pt x="157" y="134"/>
                    <a:pt x="157" y="134"/>
                    <a:pt x="157" y="134"/>
                  </a:cubicBezTo>
                  <a:cubicBezTo>
                    <a:pt x="158" y="122"/>
                    <a:pt x="166" y="111"/>
                    <a:pt x="178" y="108"/>
                  </a:cubicBezTo>
                  <a:cubicBezTo>
                    <a:pt x="229" y="91"/>
                    <a:pt x="229" y="91"/>
                    <a:pt x="229" y="91"/>
                  </a:cubicBezTo>
                  <a:cubicBezTo>
                    <a:pt x="237" y="87"/>
                    <a:pt x="242" y="78"/>
                    <a:pt x="242" y="68"/>
                  </a:cubicBezTo>
                  <a:cubicBezTo>
                    <a:pt x="240" y="0"/>
                    <a:pt x="240" y="0"/>
                    <a:pt x="240" y="0"/>
                  </a:cubicBezTo>
                  <a:lnTo>
                    <a:pt x="103" y="1"/>
                  </a:ln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ṩ1ïde">
              <a:extLst>
                <a:ext uri="{FF2B5EF4-FFF2-40B4-BE49-F238E27FC236}">
                  <a16:creationId xmlns:a16="http://schemas.microsoft.com/office/drawing/2014/main" id="{FDAB1E60-44BC-4CBA-B640-FE06407D5548}"/>
                </a:ext>
              </a:extLst>
            </p:cNvPr>
            <p:cNvSpPr/>
            <p:nvPr/>
          </p:nvSpPr>
          <p:spPr bwMode="auto">
            <a:xfrm>
              <a:off x="4400550" y="3695700"/>
              <a:ext cx="839788" cy="930275"/>
            </a:xfrm>
            <a:custGeom>
              <a:avLst/>
              <a:gdLst>
                <a:gd name="T0" fmla="*/ 242 w 242"/>
                <a:gd name="T1" fmla="*/ 268 h 268"/>
                <a:gd name="T2" fmla="*/ 228 w 242"/>
                <a:gd name="T3" fmla="*/ 3 h 268"/>
                <a:gd name="T4" fmla="*/ 155 w 242"/>
                <a:gd name="T5" fmla="*/ 0 h 268"/>
                <a:gd name="T6" fmla="*/ 118 w 242"/>
                <a:gd name="T7" fmla="*/ 8 h 268"/>
                <a:gd name="T8" fmla="*/ 92 w 242"/>
                <a:gd name="T9" fmla="*/ 23 h 268"/>
                <a:gd name="T10" fmla="*/ 0 w 242"/>
                <a:gd name="T11" fmla="*/ 199 h 268"/>
                <a:gd name="T12" fmla="*/ 56 w 242"/>
                <a:gd name="T13" fmla="*/ 205 h 268"/>
                <a:gd name="T14" fmla="*/ 75 w 242"/>
                <a:gd name="T15" fmla="*/ 183 h 268"/>
                <a:gd name="T16" fmla="*/ 65 w 242"/>
                <a:gd name="T17" fmla="*/ 168 h 268"/>
                <a:gd name="T18" fmla="*/ 100 w 242"/>
                <a:gd name="T19" fmla="*/ 87 h 268"/>
                <a:gd name="T20" fmla="*/ 93 w 242"/>
                <a:gd name="T21" fmla="*/ 235 h 268"/>
                <a:gd name="T22" fmla="*/ 242 w 242"/>
                <a:gd name="T23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68">
                  <a:moveTo>
                    <a:pt x="242" y="268"/>
                  </a:moveTo>
                  <a:cubicBezTo>
                    <a:pt x="228" y="3"/>
                    <a:pt x="228" y="3"/>
                    <a:pt x="228" y="3"/>
                  </a:cubicBezTo>
                  <a:cubicBezTo>
                    <a:pt x="228" y="3"/>
                    <a:pt x="172" y="0"/>
                    <a:pt x="155" y="0"/>
                  </a:cubicBezTo>
                  <a:cubicBezTo>
                    <a:pt x="146" y="0"/>
                    <a:pt x="131" y="4"/>
                    <a:pt x="118" y="8"/>
                  </a:cubicBezTo>
                  <a:cubicBezTo>
                    <a:pt x="107" y="12"/>
                    <a:pt x="97" y="12"/>
                    <a:pt x="92" y="23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56" y="205"/>
                    <a:pt x="56" y="205"/>
                    <a:pt x="56" y="205"/>
                  </a:cubicBezTo>
                  <a:cubicBezTo>
                    <a:pt x="75" y="183"/>
                    <a:pt x="75" y="183"/>
                    <a:pt x="75" y="183"/>
                  </a:cubicBezTo>
                  <a:cubicBezTo>
                    <a:pt x="65" y="168"/>
                    <a:pt x="65" y="168"/>
                    <a:pt x="65" y="168"/>
                  </a:cubicBezTo>
                  <a:cubicBezTo>
                    <a:pt x="100" y="87"/>
                    <a:pt x="100" y="87"/>
                    <a:pt x="100" y="87"/>
                  </a:cubicBezTo>
                  <a:cubicBezTo>
                    <a:pt x="93" y="235"/>
                    <a:pt x="93" y="235"/>
                    <a:pt x="93" y="235"/>
                  </a:cubicBezTo>
                  <a:cubicBezTo>
                    <a:pt x="242" y="268"/>
                    <a:pt x="242" y="268"/>
                    <a:pt x="242" y="268"/>
                  </a:cubicBezTo>
                </a:path>
              </a:pathLst>
            </a:custGeom>
            <a:solidFill>
              <a:srgbClr val="EAD1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íŝľîḑé">
              <a:extLst>
                <a:ext uri="{FF2B5EF4-FFF2-40B4-BE49-F238E27FC236}">
                  <a16:creationId xmlns:a16="http://schemas.microsoft.com/office/drawing/2014/main" id="{BA2F4A5D-0260-4EC7-BD87-AAE5DF003CB3}"/>
                </a:ext>
              </a:extLst>
            </p:cNvPr>
            <p:cNvSpPr/>
            <p:nvPr/>
          </p:nvSpPr>
          <p:spPr bwMode="auto">
            <a:xfrm>
              <a:off x="4649788" y="4330700"/>
              <a:ext cx="11113" cy="14288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0 w 3"/>
                <a:gd name="T5" fmla="*/ 4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9394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íṥḻïḍê">
              <a:extLst>
                <a:ext uri="{FF2B5EF4-FFF2-40B4-BE49-F238E27FC236}">
                  <a16:creationId xmlns:a16="http://schemas.microsoft.com/office/drawing/2014/main" id="{1A3DED84-CAA9-426E-931E-A8563F5068A1}"/>
                </a:ext>
              </a:extLst>
            </p:cNvPr>
            <p:cNvSpPr/>
            <p:nvPr/>
          </p:nvSpPr>
          <p:spPr bwMode="auto">
            <a:xfrm>
              <a:off x="4879975" y="3695700"/>
              <a:ext cx="234950" cy="163513"/>
            </a:xfrm>
            <a:custGeom>
              <a:avLst/>
              <a:gdLst>
                <a:gd name="T0" fmla="*/ 34 w 68"/>
                <a:gd name="T1" fmla="*/ 47 h 47"/>
                <a:gd name="T2" fmla="*/ 68 w 68"/>
                <a:gd name="T3" fmla="*/ 13 h 47"/>
                <a:gd name="T4" fmla="*/ 66 w 68"/>
                <a:gd name="T5" fmla="*/ 2 h 47"/>
                <a:gd name="T6" fmla="*/ 17 w 68"/>
                <a:gd name="T7" fmla="*/ 0 h 47"/>
                <a:gd name="T8" fmla="*/ 2 w 68"/>
                <a:gd name="T9" fmla="*/ 2 h 47"/>
                <a:gd name="T10" fmla="*/ 0 w 68"/>
                <a:gd name="T11" fmla="*/ 13 h 47"/>
                <a:gd name="T12" fmla="*/ 34 w 68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47">
                  <a:moveTo>
                    <a:pt x="34" y="47"/>
                  </a:moveTo>
                  <a:cubicBezTo>
                    <a:pt x="53" y="47"/>
                    <a:pt x="68" y="31"/>
                    <a:pt x="68" y="13"/>
                  </a:cubicBezTo>
                  <a:cubicBezTo>
                    <a:pt x="68" y="9"/>
                    <a:pt x="67" y="5"/>
                    <a:pt x="66" y="2"/>
                  </a:cubicBezTo>
                  <a:cubicBezTo>
                    <a:pt x="49" y="1"/>
                    <a:pt x="27" y="0"/>
                    <a:pt x="17" y="0"/>
                  </a:cubicBezTo>
                  <a:cubicBezTo>
                    <a:pt x="13" y="0"/>
                    <a:pt x="8" y="1"/>
                    <a:pt x="2" y="2"/>
                  </a:cubicBezTo>
                  <a:cubicBezTo>
                    <a:pt x="1" y="6"/>
                    <a:pt x="0" y="9"/>
                    <a:pt x="0" y="13"/>
                  </a:cubicBezTo>
                  <a:cubicBezTo>
                    <a:pt x="0" y="31"/>
                    <a:pt x="15" y="47"/>
                    <a:pt x="34" y="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îśḻíde">
              <a:extLst>
                <a:ext uri="{FF2B5EF4-FFF2-40B4-BE49-F238E27FC236}">
                  <a16:creationId xmlns:a16="http://schemas.microsoft.com/office/drawing/2014/main" id="{33D0A45A-5AFA-4816-B90C-501B18D5BB4B}"/>
                </a:ext>
              </a:extLst>
            </p:cNvPr>
            <p:cNvSpPr/>
            <p:nvPr/>
          </p:nvSpPr>
          <p:spPr bwMode="auto">
            <a:xfrm>
              <a:off x="4921250" y="3546475"/>
              <a:ext cx="134938" cy="242888"/>
            </a:xfrm>
            <a:custGeom>
              <a:avLst/>
              <a:gdLst>
                <a:gd name="T0" fmla="*/ 0 w 39"/>
                <a:gd name="T1" fmla="*/ 16 h 70"/>
                <a:gd name="T2" fmla="*/ 12 w 39"/>
                <a:gd name="T3" fmla="*/ 62 h 70"/>
                <a:gd name="T4" fmla="*/ 26 w 39"/>
                <a:gd name="T5" fmla="*/ 69 h 70"/>
                <a:gd name="T6" fmla="*/ 39 w 39"/>
                <a:gd name="T7" fmla="*/ 55 h 70"/>
                <a:gd name="T8" fmla="*/ 23 w 39"/>
                <a:gd name="T9" fmla="*/ 0 h 70"/>
                <a:gd name="T10" fmla="*/ 0 w 39"/>
                <a:gd name="T11" fmla="*/ 1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70">
                  <a:moveTo>
                    <a:pt x="0" y="16"/>
                  </a:moveTo>
                  <a:cubicBezTo>
                    <a:pt x="1" y="19"/>
                    <a:pt x="12" y="62"/>
                    <a:pt x="12" y="62"/>
                  </a:cubicBezTo>
                  <a:cubicBezTo>
                    <a:pt x="12" y="62"/>
                    <a:pt x="16" y="70"/>
                    <a:pt x="26" y="69"/>
                  </a:cubicBezTo>
                  <a:cubicBezTo>
                    <a:pt x="35" y="68"/>
                    <a:pt x="39" y="55"/>
                    <a:pt x="39" y="55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$líḋè">
              <a:extLst>
                <a:ext uri="{FF2B5EF4-FFF2-40B4-BE49-F238E27FC236}">
                  <a16:creationId xmlns:a16="http://schemas.microsoft.com/office/drawing/2014/main" id="{A6FC5DC0-E2FF-4F30-946A-B73AD0B4E6E9}"/>
                </a:ext>
              </a:extLst>
            </p:cNvPr>
            <p:cNvSpPr/>
            <p:nvPr/>
          </p:nvSpPr>
          <p:spPr bwMode="auto">
            <a:xfrm>
              <a:off x="4746625" y="3321050"/>
              <a:ext cx="376238" cy="406400"/>
            </a:xfrm>
            <a:custGeom>
              <a:avLst/>
              <a:gdLst>
                <a:gd name="T0" fmla="*/ 108 w 108"/>
                <a:gd name="T1" fmla="*/ 54 h 117"/>
                <a:gd name="T2" fmla="*/ 47 w 108"/>
                <a:gd name="T3" fmla="*/ 117 h 117"/>
                <a:gd name="T4" fmla="*/ 0 w 108"/>
                <a:gd name="T5" fmla="*/ 54 h 117"/>
                <a:gd name="T6" fmla="*/ 54 w 108"/>
                <a:gd name="T7" fmla="*/ 0 h 117"/>
                <a:gd name="T8" fmla="*/ 108 w 108"/>
                <a:gd name="T9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17">
                  <a:moveTo>
                    <a:pt x="108" y="54"/>
                  </a:moveTo>
                  <a:cubicBezTo>
                    <a:pt x="108" y="84"/>
                    <a:pt x="76" y="117"/>
                    <a:pt x="47" y="117"/>
                  </a:cubicBezTo>
                  <a:cubicBezTo>
                    <a:pt x="17" y="117"/>
                    <a:pt x="0" y="8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íṡḻiḑê">
              <a:extLst>
                <a:ext uri="{FF2B5EF4-FFF2-40B4-BE49-F238E27FC236}">
                  <a16:creationId xmlns:a16="http://schemas.microsoft.com/office/drawing/2014/main" id="{3E8855C6-7081-4A61-A63E-9938628BBE10}"/>
                </a:ext>
              </a:extLst>
            </p:cNvPr>
            <p:cNvSpPr/>
            <p:nvPr/>
          </p:nvSpPr>
          <p:spPr bwMode="auto">
            <a:xfrm>
              <a:off x="4719638" y="3314700"/>
              <a:ext cx="423863" cy="419100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îṥļîde">
              <a:extLst>
                <a:ext uri="{FF2B5EF4-FFF2-40B4-BE49-F238E27FC236}">
                  <a16:creationId xmlns:a16="http://schemas.microsoft.com/office/drawing/2014/main" id="{6184E6AD-C8BD-40EA-9E5D-669F22422FA9}"/>
                </a:ext>
              </a:extLst>
            </p:cNvPr>
            <p:cNvSpPr/>
            <p:nvPr/>
          </p:nvSpPr>
          <p:spPr bwMode="auto">
            <a:xfrm>
              <a:off x="4716463" y="3584575"/>
              <a:ext cx="100013" cy="96838"/>
            </a:xfrm>
            <a:custGeom>
              <a:avLst/>
              <a:gdLst>
                <a:gd name="T0" fmla="*/ 19 w 29"/>
                <a:gd name="T1" fmla="*/ 28 h 28"/>
                <a:gd name="T2" fmla="*/ 1 w 29"/>
                <a:gd name="T3" fmla="*/ 14 h 28"/>
                <a:gd name="T4" fmla="*/ 2 w 29"/>
                <a:gd name="T5" fmla="*/ 4 h 28"/>
                <a:gd name="T6" fmla="*/ 10 w 29"/>
                <a:gd name="T7" fmla="*/ 0 h 28"/>
                <a:gd name="T8" fmla="*/ 28 w 29"/>
                <a:gd name="T9" fmla="*/ 13 h 28"/>
                <a:gd name="T10" fmla="*/ 27 w 29"/>
                <a:gd name="T11" fmla="*/ 24 h 28"/>
                <a:gd name="T12" fmla="*/ 19 w 29"/>
                <a:gd name="T13" fmla="*/ 28 h 28"/>
                <a:gd name="T14" fmla="*/ 10 w 29"/>
                <a:gd name="T15" fmla="*/ 2 h 28"/>
                <a:gd name="T16" fmla="*/ 4 w 29"/>
                <a:gd name="T17" fmla="*/ 5 h 28"/>
                <a:gd name="T18" fmla="*/ 3 w 29"/>
                <a:gd name="T19" fmla="*/ 13 h 28"/>
                <a:gd name="T20" fmla="*/ 19 w 29"/>
                <a:gd name="T21" fmla="*/ 26 h 28"/>
                <a:gd name="T22" fmla="*/ 25 w 29"/>
                <a:gd name="T23" fmla="*/ 23 h 28"/>
                <a:gd name="T24" fmla="*/ 26 w 29"/>
                <a:gd name="T25" fmla="*/ 14 h 28"/>
                <a:gd name="T26" fmla="*/ 10 w 29"/>
                <a:gd name="T27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28">
                  <a:moveTo>
                    <a:pt x="19" y="28"/>
                  </a:moveTo>
                  <a:cubicBezTo>
                    <a:pt x="12" y="28"/>
                    <a:pt x="4" y="22"/>
                    <a:pt x="1" y="14"/>
                  </a:cubicBezTo>
                  <a:cubicBezTo>
                    <a:pt x="0" y="10"/>
                    <a:pt x="0" y="6"/>
                    <a:pt x="2" y="4"/>
                  </a:cubicBezTo>
                  <a:cubicBezTo>
                    <a:pt x="4" y="1"/>
                    <a:pt x="6" y="0"/>
                    <a:pt x="10" y="0"/>
                  </a:cubicBezTo>
                  <a:cubicBezTo>
                    <a:pt x="17" y="0"/>
                    <a:pt x="25" y="6"/>
                    <a:pt x="28" y="13"/>
                  </a:cubicBezTo>
                  <a:cubicBezTo>
                    <a:pt x="29" y="17"/>
                    <a:pt x="29" y="21"/>
                    <a:pt x="27" y="24"/>
                  </a:cubicBezTo>
                  <a:cubicBezTo>
                    <a:pt x="25" y="26"/>
                    <a:pt x="22" y="28"/>
                    <a:pt x="19" y="28"/>
                  </a:cubicBezTo>
                  <a:close/>
                  <a:moveTo>
                    <a:pt x="10" y="2"/>
                  </a:moveTo>
                  <a:cubicBezTo>
                    <a:pt x="7" y="2"/>
                    <a:pt x="5" y="3"/>
                    <a:pt x="4" y="5"/>
                  </a:cubicBezTo>
                  <a:cubicBezTo>
                    <a:pt x="2" y="7"/>
                    <a:pt x="2" y="10"/>
                    <a:pt x="3" y="13"/>
                  </a:cubicBezTo>
                  <a:cubicBezTo>
                    <a:pt x="5" y="20"/>
                    <a:pt x="13" y="26"/>
                    <a:pt x="19" y="26"/>
                  </a:cubicBezTo>
                  <a:cubicBezTo>
                    <a:pt x="22" y="26"/>
                    <a:pt x="24" y="25"/>
                    <a:pt x="25" y="23"/>
                  </a:cubicBezTo>
                  <a:cubicBezTo>
                    <a:pt x="26" y="21"/>
                    <a:pt x="27" y="18"/>
                    <a:pt x="26" y="14"/>
                  </a:cubicBezTo>
                  <a:cubicBezTo>
                    <a:pt x="23" y="8"/>
                    <a:pt x="16" y="2"/>
                    <a:pt x="10" y="2"/>
                  </a:cubicBezTo>
                  <a:close/>
                </a:path>
              </a:pathLst>
            </a:custGeom>
            <a:solidFill>
              <a:srgbClr val="EF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ṥľîḓe">
              <a:extLst>
                <a:ext uri="{FF2B5EF4-FFF2-40B4-BE49-F238E27FC236}">
                  <a16:creationId xmlns:a16="http://schemas.microsoft.com/office/drawing/2014/main" id="{CFAD3F6D-B7A2-452E-B37B-A4431D1E5BC8}"/>
                </a:ext>
              </a:extLst>
            </p:cNvPr>
            <p:cNvSpPr/>
            <p:nvPr/>
          </p:nvSpPr>
          <p:spPr bwMode="auto">
            <a:xfrm>
              <a:off x="4841875" y="3584575"/>
              <a:ext cx="100013" cy="96838"/>
            </a:xfrm>
            <a:custGeom>
              <a:avLst/>
              <a:gdLst>
                <a:gd name="T0" fmla="*/ 19 w 29"/>
                <a:gd name="T1" fmla="*/ 28 h 28"/>
                <a:gd name="T2" fmla="*/ 1 w 29"/>
                <a:gd name="T3" fmla="*/ 14 h 28"/>
                <a:gd name="T4" fmla="*/ 2 w 29"/>
                <a:gd name="T5" fmla="*/ 4 h 28"/>
                <a:gd name="T6" fmla="*/ 10 w 29"/>
                <a:gd name="T7" fmla="*/ 0 h 28"/>
                <a:gd name="T8" fmla="*/ 27 w 29"/>
                <a:gd name="T9" fmla="*/ 13 h 28"/>
                <a:gd name="T10" fmla="*/ 27 w 29"/>
                <a:gd name="T11" fmla="*/ 24 h 28"/>
                <a:gd name="T12" fmla="*/ 19 w 29"/>
                <a:gd name="T13" fmla="*/ 28 h 28"/>
                <a:gd name="T14" fmla="*/ 10 w 29"/>
                <a:gd name="T15" fmla="*/ 2 h 28"/>
                <a:gd name="T16" fmla="*/ 3 w 29"/>
                <a:gd name="T17" fmla="*/ 5 h 28"/>
                <a:gd name="T18" fmla="*/ 3 w 29"/>
                <a:gd name="T19" fmla="*/ 13 h 28"/>
                <a:gd name="T20" fmla="*/ 19 w 29"/>
                <a:gd name="T21" fmla="*/ 26 h 28"/>
                <a:gd name="T22" fmla="*/ 25 w 29"/>
                <a:gd name="T23" fmla="*/ 23 h 28"/>
                <a:gd name="T24" fmla="*/ 25 w 29"/>
                <a:gd name="T25" fmla="*/ 14 h 28"/>
                <a:gd name="T26" fmla="*/ 10 w 29"/>
                <a:gd name="T27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28">
                  <a:moveTo>
                    <a:pt x="19" y="28"/>
                  </a:moveTo>
                  <a:cubicBezTo>
                    <a:pt x="12" y="28"/>
                    <a:pt x="4" y="22"/>
                    <a:pt x="1" y="14"/>
                  </a:cubicBezTo>
                  <a:cubicBezTo>
                    <a:pt x="0" y="10"/>
                    <a:pt x="0" y="6"/>
                    <a:pt x="2" y="4"/>
                  </a:cubicBezTo>
                  <a:cubicBezTo>
                    <a:pt x="3" y="1"/>
                    <a:pt x="6" y="0"/>
                    <a:pt x="10" y="0"/>
                  </a:cubicBezTo>
                  <a:cubicBezTo>
                    <a:pt x="17" y="0"/>
                    <a:pt x="25" y="6"/>
                    <a:pt x="27" y="13"/>
                  </a:cubicBezTo>
                  <a:cubicBezTo>
                    <a:pt x="29" y="17"/>
                    <a:pt x="28" y="21"/>
                    <a:pt x="27" y="24"/>
                  </a:cubicBezTo>
                  <a:cubicBezTo>
                    <a:pt x="25" y="26"/>
                    <a:pt x="22" y="28"/>
                    <a:pt x="19" y="28"/>
                  </a:cubicBezTo>
                  <a:close/>
                  <a:moveTo>
                    <a:pt x="10" y="2"/>
                  </a:moveTo>
                  <a:cubicBezTo>
                    <a:pt x="7" y="2"/>
                    <a:pt x="5" y="3"/>
                    <a:pt x="3" y="5"/>
                  </a:cubicBezTo>
                  <a:cubicBezTo>
                    <a:pt x="2" y="7"/>
                    <a:pt x="2" y="10"/>
                    <a:pt x="3" y="13"/>
                  </a:cubicBezTo>
                  <a:cubicBezTo>
                    <a:pt x="5" y="20"/>
                    <a:pt x="12" y="26"/>
                    <a:pt x="19" y="26"/>
                  </a:cubicBezTo>
                  <a:cubicBezTo>
                    <a:pt x="21" y="26"/>
                    <a:pt x="24" y="25"/>
                    <a:pt x="25" y="23"/>
                  </a:cubicBezTo>
                  <a:cubicBezTo>
                    <a:pt x="26" y="21"/>
                    <a:pt x="27" y="18"/>
                    <a:pt x="25" y="14"/>
                  </a:cubicBezTo>
                  <a:cubicBezTo>
                    <a:pt x="23" y="8"/>
                    <a:pt x="16" y="2"/>
                    <a:pt x="10" y="2"/>
                  </a:cubicBezTo>
                  <a:close/>
                </a:path>
              </a:pathLst>
            </a:custGeom>
            <a:solidFill>
              <a:srgbClr val="EF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íṣľîḓè">
              <a:extLst>
                <a:ext uri="{FF2B5EF4-FFF2-40B4-BE49-F238E27FC236}">
                  <a16:creationId xmlns:a16="http://schemas.microsoft.com/office/drawing/2014/main" id="{E081F097-C4A8-463A-B012-218E02BE6693}"/>
                </a:ext>
              </a:extLst>
            </p:cNvPr>
            <p:cNvSpPr/>
            <p:nvPr/>
          </p:nvSpPr>
          <p:spPr bwMode="auto">
            <a:xfrm>
              <a:off x="4786313" y="3636963"/>
              <a:ext cx="20638" cy="23813"/>
            </a:xfrm>
            <a:custGeom>
              <a:avLst/>
              <a:gdLst>
                <a:gd name="T0" fmla="*/ 5 w 6"/>
                <a:gd name="T1" fmla="*/ 3 h 7"/>
                <a:gd name="T2" fmla="*/ 5 w 6"/>
                <a:gd name="T3" fmla="*/ 7 h 7"/>
                <a:gd name="T4" fmla="*/ 1 w 6"/>
                <a:gd name="T5" fmla="*/ 5 h 7"/>
                <a:gd name="T6" fmla="*/ 1 w 6"/>
                <a:gd name="T7" fmla="*/ 1 h 7"/>
                <a:gd name="T8" fmla="*/ 5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cubicBezTo>
                    <a:pt x="6" y="4"/>
                    <a:pt x="6" y="6"/>
                    <a:pt x="5" y="7"/>
                  </a:cubicBezTo>
                  <a:cubicBezTo>
                    <a:pt x="4" y="7"/>
                    <a:pt x="2" y="7"/>
                    <a:pt x="1" y="5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4" y="1"/>
                    <a:pt x="5" y="3"/>
                  </a:cubicBezTo>
                  <a:close/>
                </a:path>
              </a:pathLst>
            </a:custGeom>
            <a:solidFill>
              <a:srgbClr val="2D2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îŝľiḋê">
              <a:extLst>
                <a:ext uri="{FF2B5EF4-FFF2-40B4-BE49-F238E27FC236}">
                  <a16:creationId xmlns:a16="http://schemas.microsoft.com/office/drawing/2014/main" id="{C3D44BE2-9CF7-4FBD-83A3-50B0D138AC8C}"/>
                </a:ext>
              </a:extLst>
            </p:cNvPr>
            <p:cNvSpPr/>
            <p:nvPr/>
          </p:nvSpPr>
          <p:spPr bwMode="auto">
            <a:xfrm>
              <a:off x="4879975" y="3640138"/>
              <a:ext cx="20638" cy="28575"/>
            </a:xfrm>
            <a:custGeom>
              <a:avLst/>
              <a:gdLst>
                <a:gd name="T0" fmla="*/ 5 w 6"/>
                <a:gd name="T1" fmla="*/ 3 h 8"/>
                <a:gd name="T2" fmla="*/ 5 w 6"/>
                <a:gd name="T3" fmla="*/ 7 h 8"/>
                <a:gd name="T4" fmla="*/ 1 w 6"/>
                <a:gd name="T5" fmla="*/ 5 h 8"/>
                <a:gd name="T6" fmla="*/ 1 w 6"/>
                <a:gd name="T7" fmla="*/ 1 h 8"/>
                <a:gd name="T8" fmla="*/ 5 w 6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5" y="3"/>
                  </a:moveTo>
                  <a:cubicBezTo>
                    <a:pt x="6" y="5"/>
                    <a:pt x="6" y="6"/>
                    <a:pt x="5" y="7"/>
                  </a:cubicBezTo>
                  <a:cubicBezTo>
                    <a:pt x="4" y="8"/>
                    <a:pt x="2" y="7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4" y="1"/>
                    <a:pt x="5" y="3"/>
                  </a:cubicBezTo>
                  <a:close/>
                </a:path>
              </a:pathLst>
            </a:custGeom>
            <a:solidFill>
              <a:srgbClr val="2D2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ïşľiḋe">
              <a:extLst>
                <a:ext uri="{FF2B5EF4-FFF2-40B4-BE49-F238E27FC236}">
                  <a16:creationId xmlns:a16="http://schemas.microsoft.com/office/drawing/2014/main" id="{1B8E101F-7615-4DBA-8F9E-E21D00AE2F85}"/>
                </a:ext>
              </a:extLst>
            </p:cNvPr>
            <p:cNvSpPr/>
            <p:nvPr/>
          </p:nvSpPr>
          <p:spPr bwMode="auto">
            <a:xfrm>
              <a:off x="4725988" y="4500563"/>
              <a:ext cx="257175" cy="107950"/>
            </a:xfrm>
            <a:custGeom>
              <a:avLst/>
              <a:gdLst>
                <a:gd name="T0" fmla="*/ 70 w 74"/>
                <a:gd name="T1" fmla="*/ 10 h 31"/>
                <a:gd name="T2" fmla="*/ 34 w 74"/>
                <a:gd name="T3" fmla="*/ 0 h 31"/>
                <a:gd name="T4" fmla="*/ 2 w 74"/>
                <a:gd name="T5" fmla="*/ 15 h 31"/>
                <a:gd name="T6" fmla="*/ 9 w 74"/>
                <a:gd name="T7" fmla="*/ 21 h 31"/>
                <a:gd name="T8" fmla="*/ 8 w 74"/>
                <a:gd name="T9" fmla="*/ 27 h 31"/>
                <a:gd name="T10" fmla="*/ 20 w 74"/>
                <a:gd name="T11" fmla="*/ 29 h 31"/>
                <a:gd name="T12" fmla="*/ 74 w 74"/>
                <a:gd name="T13" fmla="*/ 28 h 31"/>
                <a:gd name="T14" fmla="*/ 70 w 74"/>
                <a:gd name="T15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31">
                  <a:moveTo>
                    <a:pt x="70" y="10"/>
                  </a:moveTo>
                  <a:cubicBezTo>
                    <a:pt x="68" y="10"/>
                    <a:pt x="48" y="0"/>
                    <a:pt x="34" y="0"/>
                  </a:cubicBezTo>
                  <a:cubicBezTo>
                    <a:pt x="20" y="0"/>
                    <a:pt x="2" y="15"/>
                    <a:pt x="2" y="15"/>
                  </a:cubicBezTo>
                  <a:cubicBezTo>
                    <a:pt x="2" y="15"/>
                    <a:pt x="0" y="23"/>
                    <a:pt x="9" y="21"/>
                  </a:cubicBezTo>
                  <a:cubicBezTo>
                    <a:pt x="19" y="20"/>
                    <a:pt x="8" y="27"/>
                    <a:pt x="8" y="27"/>
                  </a:cubicBezTo>
                  <a:cubicBezTo>
                    <a:pt x="8" y="27"/>
                    <a:pt x="9" y="28"/>
                    <a:pt x="20" y="29"/>
                  </a:cubicBezTo>
                  <a:cubicBezTo>
                    <a:pt x="31" y="31"/>
                    <a:pt x="74" y="28"/>
                    <a:pt x="74" y="28"/>
                  </a:cubicBezTo>
                  <a:lnTo>
                    <a:pt x="70" y="10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śḻiḋê">
              <a:extLst>
                <a:ext uri="{FF2B5EF4-FFF2-40B4-BE49-F238E27FC236}">
                  <a16:creationId xmlns:a16="http://schemas.microsoft.com/office/drawing/2014/main" id="{A2045EB5-B246-4BB0-9569-AD71CF556370}"/>
                </a:ext>
              </a:extLst>
            </p:cNvPr>
            <p:cNvSpPr/>
            <p:nvPr/>
          </p:nvSpPr>
          <p:spPr bwMode="auto">
            <a:xfrm>
              <a:off x="4973638" y="3706813"/>
              <a:ext cx="412750" cy="892175"/>
            </a:xfrm>
            <a:custGeom>
              <a:avLst/>
              <a:gdLst>
                <a:gd name="T0" fmla="*/ 63 w 119"/>
                <a:gd name="T1" fmla="*/ 0 h 257"/>
                <a:gd name="T2" fmla="*/ 71 w 119"/>
                <a:gd name="T3" fmla="*/ 174 h 257"/>
                <a:gd name="T4" fmla="*/ 0 w 119"/>
                <a:gd name="T5" fmla="*/ 239 h 257"/>
                <a:gd name="T6" fmla="*/ 3 w 119"/>
                <a:gd name="T7" fmla="*/ 257 h 257"/>
                <a:gd name="T8" fmla="*/ 104 w 119"/>
                <a:gd name="T9" fmla="*/ 204 h 257"/>
                <a:gd name="T10" fmla="*/ 117 w 119"/>
                <a:gd name="T11" fmla="*/ 177 h 257"/>
                <a:gd name="T12" fmla="*/ 99 w 119"/>
                <a:gd name="T13" fmla="*/ 44 h 257"/>
                <a:gd name="T14" fmla="*/ 72 w 119"/>
                <a:gd name="T15" fmla="*/ 5 h 257"/>
                <a:gd name="T16" fmla="*/ 63 w 119"/>
                <a:gd name="T17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257">
                  <a:moveTo>
                    <a:pt x="63" y="0"/>
                  </a:moveTo>
                  <a:cubicBezTo>
                    <a:pt x="71" y="174"/>
                    <a:pt x="71" y="174"/>
                    <a:pt x="71" y="174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3" y="257"/>
                    <a:pt x="3" y="257"/>
                    <a:pt x="3" y="257"/>
                  </a:cubicBezTo>
                  <a:cubicBezTo>
                    <a:pt x="104" y="204"/>
                    <a:pt x="104" y="204"/>
                    <a:pt x="104" y="204"/>
                  </a:cubicBezTo>
                  <a:cubicBezTo>
                    <a:pt x="113" y="198"/>
                    <a:pt x="119" y="188"/>
                    <a:pt x="117" y="177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7" y="27"/>
                    <a:pt x="87" y="12"/>
                    <a:pt x="72" y="5"/>
                  </a:cubicBezTo>
                  <a:lnTo>
                    <a:pt x="63" y="0"/>
                  </a:lnTo>
                  <a:close/>
                </a:path>
              </a:pathLst>
            </a:custGeom>
            <a:solidFill>
              <a:srgbClr val="EAD1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š1ïḑè">
              <a:extLst>
                <a:ext uri="{FF2B5EF4-FFF2-40B4-BE49-F238E27FC236}">
                  <a16:creationId xmlns:a16="http://schemas.microsoft.com/office/drawing/2014/main" id="{CC119A91-35AB-4788-86A6-CCD082A5ECAE}"/>
                </a:ext>
              </a:extLst>
            </p:cNvPr>
            <p:cNvSpPr/>
            <p:nvPr/>
          </p:nvSpPr>
          <p:spPr bwMode="auto">
            <a:xfrm>
              <a:off x="4365625" y="4605338"/>
              <a:ext cx="652463" cy="44450"/>
            </a:xfrm>
            <a:custGeom>
              <a:avLst/>
              <a:gdLst>
                <a:gd name="T0" fmla="*/ 182 w 188"/>
                <a:gd name="T1" fmla="*/ 13 h 13"/>
                <a:gd name="T2" fmla="*/ 0 w 188"/>
                <a:gd name="T3" fmla="*/ 13 h 13"/>
                <a:gd name="T4" fmla="*/ 0 w 188"/>
                <a:gd name="T5" fmla="*/ 0 h 13"/>
                <a:gd name="T6" fmla="*/ 182 w 188"/>
                <a:gd name="T7" fmla="*/ 0 h 13"/>
                <a:gd name="T8" fmla="*/ 188 w 188"/>
                <a:gd name="T9" fmla="*/ 7 h 13"/>
                <a:gd name="T10" fmla="*/ 182 w 188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13">
                  <a:moveTo>
                    <a:pt x="182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5" y="0"/>
                    <a:pt x="188" y="3"/>
                    <a:pt x="188" y="7"/>
                  </a:cubicBezTo>
                  <a:cubicBezTo>
                    <a:pt x="188" y="10"/>
                    <a:pt x="185" y="13"/>
                    <a:pt x="18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îṧľidé">
              <a:extLst>
                <a:ext uri="{FF2B5EF4-FFF2-40B4-BE49-F238E27FC236}">
                  <a16:creationId xmlns:a16="http://schemas.microsoft.com/office/drawing/2014/main" id="{00A7218E-9ED8-4E95-A89B-31CFAA3A6AC5}"/>
                </a:ext>
              </a:extLst>
            </p:cNvPr>
            <p:cNvSpPr/>
            <p:nvPr/>
          </p:nvSpPr>
          <p:spPr bwMode="auto">
            <a:xfrm>
              <a:off x="4038600" y="4125913"/>
              <a:ext cx="785813" cy="523875"/>
            </a:xfrm>
            <a:custGeom>
              <a:avLst/>
              <a:gdLst>
                <a:gd name="T0" fmla="*/ 226 w 226"/>
                <a:gd name="T1" fmla="*/ 151 h 151"/>
                <a:gd name="T2" fmla="*/ 50 w 226"/>
                <a:gd name="T3" fmla="*/ 151 h 151"/>
                <a:gd name="T4" fmla="*/ 34 w 226"/>
                <a:gd name="T5" fmla="*/ 139 h 151"/>
                <a:gd name="T6" fmla="*/ 3 w 226"/>
                <a:gd name="T7" fmla="*/ 22 h 151"/>
                <a:gd name="T8" fmla="*/ 19 w 226"/>
                <a:gd name="T9" fmla="*/ 0 h 151"/>
                <a:gd name="T10" fmla="*/ 172 w 226"/>
                <a:gd name="T11" fmla="*/ 0 h 151"/>
                <a:gd name="T12" fmla="*/ 189 w 226"/>
                <a:gd name="T13" fmla="*/ 13 h 151"/>
                <a:gd name="T14" fmla="*/ 226 w 226"/>
                <a:gd name="T1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6" h="151">
                  <a:moveTo>
                    <a:pt x="226" y="151"/>
                  </a:moveTo>
                  <a:cubicBezTo>
                    <a:pt x="50" y="151"/>
                    <a:pt x="50" y="151"/>
                    <a:pt x="50" y="151"/>
                  </a:cubicBezTo>
                  <a:cubicBezTo>
                    <a:pt x="42" y="151"/>
                    <a:pt x="36" y="146"/>
                    <a:pt x="34" y="139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0" y="11"/>
                    <a:pt x="8" y="0"/>
                    <a:pt x="19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0" y="0"/>
                    <a:pt x="187" y="5"/>
                    <a:pt x="189" y="13"/>
                  </a:cubicBezTo>
                  <a:lnTo>
                    <a:pt x="226" y="1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ïŝḷíḍê">
              <a:extLst>
                <a:ext uri="{FF2B5EF4-FFF2-40B4-BE49-F238E27FC236}">
                  <a16:creationId xmlns:a16="http://schemas.microsoft.com/office/drawing/2014/main" id="{8D3DA357-789D-46AA-823E-DDF8AC3384BF}"/>
                </a:ext>
              </a:extLst>
            </p:cNvPr>
            <p:cNvSpPr/>
            <p:nvPr/>
          </p:nvSpPr>
          <p:spPr bwMode="auto">
            <a:xfrm>
              <a:off x="4038600" y="4125913"/>
              <a:ext cx="508000" cy="511175"/>
            </a:xfrm>
            <a:custGeom>
              <a:avLst/>
              <a:gdLst>
                <a:gd name="T0" fmla="*/ 19 w 146"/>
                <a:gd name="T1" fmla="*/ 0 h 147"/>
                <a:gd name="T2" fmla="*/ 3 w 146"/>
                <a:gd name="T3" fmla="*/ 22 h 147"/>
                <a:gd name="T4" fmla="*/ 34 w 146"/>
                <a:gd name="T5" fmla="*/ 139 h 147"/>
                <a:gd name="T6" fmla="*/ 39 w 146"/>
                <a:gd name="T7" fmla="*/ 147 h 147"/>
                <a:gd name="T8" fmla="*/ 146 w 146"/>
                <a:gd name="T9" fmla="*/ 0 h 147"/>
                <a:gd name="T10" fmla="*/ 19 w 146"/>
                <a:gd name="T11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" h="147">
                  <a:moveTo>
                    <a:pt x="19" y="0"/>
                  </a:moveTo>
                  <a:cubicBezTo>
                    <a:pt x="8" y="0"/>
                    <a:pt x="0" y="11"/>
                    <a:pt x="3" y="22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4" y="142"/>
                    <a:pt x="37" y="145"/>
                    <a:pt x="39" y="147"/>
                  </a:cubicBezTo>
                  <a:cubicBezTo>
                    <a:pt x="146" y="0"/>
                    <a:pt x="146" y="0"/>
                    <a:pt x="146" y="0"/>
                  </a:cubicBezTo>
                  <a:lnTo>
                    <a:pt x="19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3000"/>
                  </a:schemeClr>
                </a:gs>
                <a:gs pos="0">
                  <a:srgbClr val="D0DDFE"/>
                </a:gs>
              </a:gsLst>
              <a:lin ang="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íṣlîḓe">
              <a:extLst>
                <a:ext uri="{FF2B5EF4-FFF2-40B4-BE49-F238E27FC236}">
                  <a16:creationId xmlns:a16="http://schemas.microsoft.com/office/drawing/2014/main" id="{437BB1DC-592D-4B94-8AA9-CBC0730D3260}"/>
                </a:ext>
              </a:extLst>
            </p:cNvPr>
            <p:cNvSpPr/>
            <p:nvPr/>
          </p:nvSpPr>
          <p:spPr bwMode="auto">
            <a:xfrm>
              <a:off x="4357688" y="4376738"/>
              <a:ext cx="111125" cy="96838"/>
            </a:xfrm>
            <a:custGeom>
              <a:avLst/>
              <a:gdLst>
                <a:gd name="T0" fmla="*/ 30 w 32"/>
                <a:gd name="T1" fmla="*/ 14 h 28"/>
                <a:gd name="T2" fmla="*/ 20 w 32"/>
                <a:gd name="T3" fmla="*/ 28 h 28"/>
                <a:gd name="T4" fmla="*/ 2 w 32"/>
                <a:gd name="T5" fmla="*/ 14 h 28"/>
                <a:gd name="T6" fmla="*/ 13 w 32"/>
                <a:gd name="T7" fmla="*/ 0 h 28"/>
                <a:gd name="T8" fmla="*/ 30 w 3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8">
                  <a:moveTo>
                    <a:pt x="30" y="14"/>
                  </a:moveTo>
                  <a:cubicBezTo>
                    <a:pt x="32" y="22"/>
                    <a:pt x="27" y="28"/>
                    <a:pt x="20" y="28"/>
                  </a:cubicBezTo>
                  <a:cubicBezTo>
                    <a:pt x="12" y="28"/>
                    <a:pt x="4" y="22"/>
                    <a:pt x="2" y="14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20" y="0"/>
                    <a:pt x="28" y="6"/>
                    <a:pt x="30" y="14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ṣliďè">
              <a:extLst>
                <a:ext uri="{FF2B5EF4-FFF2-40B4-BE49-F238E27FC236}">
                  <a16:creationId xmlns:a16="http://schemas.microsoft.com/office/drawing/2014/main" id="{C6EF458D-67F8-4060-A330-DAE1173D8656}"/>
                </a:ext>
              </a:extLst>
            </p:cNvPr>
            <p:cNvSpPr/>
            <p:nvPr/>
          </p:nvSpPr>
          <p:spPr bwMode="auto">
            <a:xfrm>
              <a:off x="4719638" y="3314700"/>
              <a:ext cx="423863" cy="304800"/>
            </a:xfrm>
            <a:custGeom>
              <a:avLst/>
              <a:gdLst>
                <a:gd name="T0" fmla="*/ 61 w 122"/>
                <a:gd name="T1" fmla="*/ 0 h 88"/>
                <a:gd name="T2" fmla="*/ 0 w 122"/>
                <a:gd name="T3" fmla="*/ 54 h 88"/>
                <a:gd name="T4" fmla="*/ 38 w 122"/>
                <a:gd name="T5" fmla="*/ 63 h 88"/>
                <a:gd name="T6" fmla="*/ 74 w 122"/>
                <a:gd name="T7" fmla="*/ 35 h 88"/>
                <a:gd name="T8" fmla="*/ 74 w 122"/>
                <a:gd name="T9" fmla="*/ 55 h 88"/>
                <a:gd name="T10" fmla="*/ 83 w 122"/>
                <a:gd name="T11" fmla="*/ 73 h 88"/>
                <a:gd name="T12" fmla="*/ 86 w 122"/>
                <a:gd name="T13" fmla="*/ 59 h 88"/>
                <a:gd name="T14" fmla="*/ 98 w 122"/>
                <a:gd name="T15" fmla="*/ 54 h 88"/>
                <a:gd name="T16" fmla="*/ 104 w 122"/>
                <a:gd name="T17" fmla="*/ 62 h 88"/>
                <a:gd name="T18" fmla="*/ 102 w 122"/>
                <a:gd name="T19" fmla="*/ 72 h 88"/>
                <a:gd name="T20" fmla="*/ 94 w 122"/>
                <a:gd name="T21" fmla="*/ 86 h 88"/>
                <a:gd name="T22" fmla="*/ 116 w 122"/>
                <a:gd name="T23" fmla="*/ 87 h 88"/>
                <a:gd name="T24" fmla="*/ 122 w 122"/>
                <a:gd name="T25" fmla="*/ 61 h 88"/>
                <a:gd name="T26" fmla="*/ 61 w 122"/>
                <a:gd name="T2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2" h="88">
                  <a:moveTo>
                    <a:pt x="61" y="0"/>
                  </a:moveTo>
                  <a:cubicBezTo>
                    <a:pt x="30" y="0"/>
                    <a:pt x="4" y="23"/>
                    <a:pt x="0" y="54"/>
                  </a:cubicBezTo>
                  <a:cubicBezTo>
                    <a:pt x="11" y="61"/>
                    <a:pt x="25" y="65"/>
                    <a:pt x="38" y="63"/>
                  </a:cubicBezTo>
                  <a:cubicBezTo>
                    <a:pt x="53" y="60"/>
                    <a:pt x="67" y="49"/>
                    <a:pt x="74" y="35"/>
                  </a:cubicBezTo>
                  <a:cubicBezTo>
                    <a:pt x="73" y="42"/>
                    <a:pt x="73" y="49"/>
                    <a:pt x="74" y="55"/>
                  </a:cubicBezTo>
                  <a:cubicBezTo>
                    <a:pt x="75" y="62"/>
                    <a:pt x="78" y="69"/>
                    <a:pt x="83" y="73"/>
                  </a:cubicBezTo>
                  <a:cubicBezTo>
                    <a:pt x="83" y="68"/>
                    <a:pt x="84" y="63"/>
                    <a:pt x="86" y="59"/>
                  </a:cubicBezTo>
                  <a:cubicBezTo>
                    <a:pt x="89" y="55"/>
                    <a:pt x="94" y="52"/>
                    <a:pt x="98" y="54"/>
                  </a:cubicBezTo>
                  <a:cubicBezTo>
                    <a:pt x="101" y="55"/>
                    <a:pt x="103" y="59"/>
                    <a:pt x="104" y="62"/>
                  </a:cubicBezTo>
                  <a:cubicBezTo>
                    <a:pt x="104" y="65"/>
                    <a:pt x="104" y="69"/>
                    <a:pt x="102" y="72"/>
                  </a:cubicBezTo>
                  <a:cubicBezTo>
                    <a:pt x="100" y="77"/>
                    <a:pt x="97" y="82"/>
                    <a:pt x="94" y="86"/>
                  </a:cubicBezTo>
                  <a:cubicBezTo>
                    <a:pt x="101" y="87"/>
                    <a:pt x="109" y="88"/>
                    <a:pt x="116" y="87"/>
                  </a:cubicBezTo>
                  <a:cubicBezTo>
                    <a:pt x="120" y="79"/>
                    <a:pt x="122" y="70"/>
                    <a:pt x="122" y="61"/>
                  </a:cubicBezTo>
                  <a:cubicBezTo>
                    <a:pt x="122" y="27"/>
                    <a:pt x="95" y="0"/>
                    <a:pt x="61" y="0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śľíḍê">
              <a:extLst>
                <a:ext uri="{FF2B5EF4-FFF2-40B4-BE49-F238E27FC236}">
                  <a16:creationId xmlns:a16="http://schemas.microsoft.com/office/drawing/2014/main" id="{B470418C-8C38-46D1-8C4D-31D21764AC32}"/>
                </a:ext>
              </a:extLst>
            </p:cNvPr>
            <p:cNvSpPr/>
            <p:nvPr/>
          </p:nvSpPr>
          <p:spPr bwMode="auto">
            <a:xfrm>
              <a:off x="4983163" y="3494088"/>
              <a:ext cx="128588" cy="128588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íṧ1ïḋè">
              <a:extLst>
                <a:ext uri="{FF2B5EF4-FFF2-40B4-BE49-F238E27FC236}">
                  <a16:creationId xmlns:a16="http://schemas.microsoft.com/office/drawing/2014/main" id="{BEB72AB8-61FD-47B5-834C-2673C21D056A}"/>
                </a:ext>
              </a:extLst>
            </p:cNvPr>
            <p:cNvSpPr/>
            <p:nvPr/>
          </p:nvSpPr>
          <p:spPr bwMode="auto">
            <a:xfrm>
              <a:off x="4629150" y="5473700"/>
              <a:ext cx="87313" cy="88900"/>
            </a:xfrm>
            <a:custGeom>
              <a:avLst/>
              <a:gdLst>
                <a:gd name="T0" fmla="*/ 46 w 55"/>
                <a:gd name="T1" fmla="*/ 0 h 56"/>
                <a:gd name="T2" fmla="*/ 55 w 55"/>
                <a:gd name="T3" fmla="*/ 43 h 56"/>
                <a:gd name="T4" fmla="*/ 11 w 55"/>
                <a:gd name="T5" fmla="*/ 56 h 56"/>
                <a:gd name="T6" fmla="*/ 0 w 55"/>
                <a:gd name="T7" fmla="*/ 15 h 56"/>
                <a:gd name="T8" fmla="*/ 46 w 55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6">
                  <a:moveTo>
                    <a:pt x="46" y="0"/>
                  </a:moveTo>
                  <a:lnTo>
                    <a:pt x="55" y="43"/>
                  </a:lnTo>
                  <a:lnTo>
                    <a:pt x="11" y="56"/>
                  </a:lnTo>
                  <a:lnTo>
                    <a:pt x="0" y="15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íŝḻîdé">
              <a:extLst>
                <a:ext uri="{FF2B5EF4-FFF2-40B4-BE49-F238E27FC236}">
                  <a16:creationId xmlns:a16="http://schemas.microsoft.com/office/drawing/2014/main" id="{4EF954E6-11FA-4C6A-9EA1-DBB023DF584D}"/>
                </a:ext>
              </a:extLst>
            </p:cNvPr>
            <p:cNvSpPr/>
            <p:nvPr/>
          </p:nvSpPr>
          <p:spPr bwMode="auto">
            <a:xfrm>
              <a:off x="4806950" y="5486400"/>
              <a:ext cx="58738" cy="87313"/>
            </a:xfrm>
            <a:custGeom>
              <a:avLst/>
              <a:gdLst>
                <a:gd name="T0" fmla="*/ 0 w 37"/>
                <a:gd name="T1" fmla="*/ 48 h 55"/>
                <a:gd name="T2" fmla="*/ 35 w 37"/>
                <a:gd name="T3" fmla="*/ 55 h 55"/>
                <a:gd name="T4" fmla="*/ 37 w 37"/>
                <a:gd name="T5" fmla="*/ 9 h 55"/>
                <a:gd name="T6" fmla="*/ 0 w 37"/>
                <a:gd name="T7" fmla="*/ 0 h 55"/>
                <a:gd name="T8" fmla="*/ 0 w 37"/>
                <a:gd name="T9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55">
                  <a:moveTo>
                    <a:pt x="0" y="48"/>
                  </a:moveTo>
                  <a:lnTo>
                    <a:pt x="35" y="55"/>
                  </a:lnTo>
                  <a:lnTo>
                    <a:pt x="37" y="9"/>
                  </a:lnTo>
                  <a:lnTo>
                    <a:pt x="0" y="0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íṡḷiḑé">
              <a:extLst>
                <a:ext uri="{FF2B5EF4-FFF2-40B4-BE49-F238E27FC236}">
                  <a16:creationId xmlns:a16="http://schemas.microsoft.com/office/drawing/2014/main" id="{8612EF9C-9ACF-4419-B95C-AB68BA30B83D}"/>
                </a:ext>
              </a:extLst>
            </p:cNvPr>
            <p:cNvSpPr/>
            <p:nvPr/>
          </p:nvSpPr>
          <p:spPr bwMode="auto">
            <a:xfrm>
              <a:off x="7616825" y="5465763"/>
              <a:ext cx="101600" cy="444500"/>
            </a:xfrm>
            <a:custGeom>
              <a:avLst/>
              <a:gdLst>
                <a:gd name="T0" fmla="*/ 18 w 29"/>
                <a:gd name="T1" fmla="*/ 6 h 128"/>
                <a:gd name="T2" fmla="*/ 17 w 29"/>
                <a:gd name="T3" fmla="*/ 35 h 128"/>
                <a:gd name="T4" fmla="*/ 24 w 29"/>
                <a:gd name="T5" fmla="*/ 73 h 128"/>
                <a:gd name="T6" fmla="*/ 26 w 29"/>
                <a:gd name="T7" fmla="*/ 118 h 128"/>
                <a:gd name="T8" fmla="*/ 7 w 29"/>
                <a:gd name="T9" fmla="*/ 109 h 128"/>
                <a:gd name="T10" fmla="*/ 2 w 29"/>
                <a:gd name="T11" fmla="*/ 39 h 128"/>
                <a:gd name="T12" fmla="*/ 0 w 29"/>
                <a:gd name="T13" fmla="*/ 0 h 128"/>
                <a:gd name="T14" fmla="*/ 18 w 29"/>
                <a:gd name="T15" fmla="*/ 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128">
                  <a:moveTo>
                    <a:pt x="18" y="6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21" y="53"/>
                    <a:pt x="24" y="73"/>
                  </a:cubicBezTo>
                  <a:cubicBezTo>
                    <a:pt x="27" y="93"/>
                    <a:pt x="29" y="114"/>
                    <a:pt x="26" y="118"/>
                  </a:cubicBezTo>
                  <a:cubicBezTo>
                    <a:pt x="20" y="128"/>
                    <a:pt x="9" y="118"/>
                    <a:pt x="7" y="109"/>
                  </a:cubicBezTo>
                  <a:cubicBezTo>
                    <a:pt x="5" y="99"/>
                    <a:pt x="2" y="39"/>
                    <a:pt x="2" y="39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8" y="6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îṥ1ïdê">
              <a:extLst>
                <a:ext uri="{FF2B5EF4-FFF2-40B4-BE49-F238E27FC236}">
                  <a16:creationId xmlns:a16="http://schemas.microsoft.com/office/drawing/2014/main" id="{A04674FB-0880-49C9-A22D-EAA73903F029}"/>
                </a:ext>
              </a:extLst>
            </p:cNvPr>
            <p:cNvSpPr/>
            <p:nvPr/>
          </p:nvSpPr>
          <p:spPr bwMode="auto">
            <a:xfrm>
              <a:off x="7735888" y="5473700"/>
              <a:ext cx="123825" cy="409575"/>
            </a:xfrm>
            <a:custGeom>
              <a:avLst/>
              <a:gdLst>
                <a:gd name="T0" fmla="*/ 13 w 36"/>
                <a:gd name="T1" fmla="*/ 0 h 118"/>
                <a:gd name="T2" fmla="*/ 9 w 36"/>
                <a:gd name="T3" fmla="*/ 26 h 118"/>
                <a:gd name="T4" fmla="*/ 5 w 36"/>
                <a:gd name="T5" fmla="*/ 108 h 118"/>
                <a:gd name="T6" fmla="*/ 24 w 36"/>
                <a:gd name="T7" fmla="*/ 99 h 118"/>
                <a:gd name="T8" fmla="*/ 27 w 36"/>
                <a:gd name="T9" fmla="*/ 33 h 118"/>
                <a:gd name="T10" fmla="*/ 36 w 36"/>
                <a:gd name="T11" fmla="*/ 2 h 118"/>
                <a:gd name="T12" fmla="*/ 13 w 36"/>
                <a:gd name="T1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18">
                  <a:moveTo>
                    <a:pt x="13" y="0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0" y="97"/>
                    <a:pt x="5" y="108"/>
                  </a:cubicBezTo>
                  <a:cubicBezTo>
                    <a:pt x="10" y="118"/>
                    <a:pt x="25" y="114"/>
                    <a:pt x="24" y="99"/>
                  </a:cubicBezTo>
                  <a:cubicBezTo>
                    <a:pt x="23" y="84"/>
                    <a:pt x="27" y="33"/>
                    <a:pt x="27" y="33"/>
                  </a:cubicBezTo>
                  <a:cubicBezTo>
                    <a:pt x="36" y="2"/>
                    <a:pt x="36" y="2"/>
                    <a:pt x="36" y="2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iṥḻiďê">
              <a:extLst>
                <a:ext uri="{FF2B5EF4-FFF2-40B4-BE49-F238E27FC236}">
                  <a16:creationId xmlns:a16="http://schemas.microsoft.com/office/drawing/2014/main" id="{26CD138C-E419-46F1-8C73-ED9BAD2C257E}"/>
                </a:ext>
              </a:extLst>
            </p:cNvPr>
            <p:cNvSpPr/>
            <p:nvPr/>
          </p:nvSpPr>
          <p:spPr bwMode="auto">
            <a:xfrm>
              <a:off x="7256463" y="4371975"/>
              <a:ext cx="836613" cy="1135063"/>
            </a:xfrm>
            <a:custGeom>
              <a:avLst/>
              <a:gdLst>
                <a:gd name="T0" fmla="*/ 139 w 241"/>
                <a:gd name="T1" fmla="*/ 1 h 327"/>
                <a:gd name="T2" fmla="*/ 137 w 241"/>
                <a:gd name="T3" fmla="*/ 33 h 327"/>
                <a:gd name="T4" fmla="*/ 219 w 241"/>
                <a:gd name="T5" fmla="*/ 73 h 327"/>
                <a:gd name="T6" fmla="*/ 236 w 241"/>
                <a:gd name="T7" fmla="*/ 115 h 327"/>
                <a:gd name="T8" fmla="*/ 179 w 241"/>
                <a:gd name="T9" fmla="*/ 326 h 327"/>
                <a:gd name="T10" fmla="*/ 151 w 241"/>
                <a:gd name="T11" fmla="*/ 317 h 327"/>
                <a:gd name="T12" fmla="*/ 176 w 241"/>
                <a:gd name="T13" fmla="*/ 122 h 327"/>
                <a:gd name="T14" fmla="*/ 158 w 241"/>
                <a:gd name="T15" fmla="*/ 97 h 327"/>
                <a:gd name="T16" fmla="*/ 128 w 241"/>
                <a:gd name="T17" fmla="*/ 93 h 327"/>
                <a:gd name="T18" fmla="*/ 97 w 241"/>
                <a:gd name="T19" fmla="*/ 61 h 327"/>
                <a:gd name="T20" fmla="*/ 133 w 241"/>
                <a:gd name="T21" fmla="*/ 93 h 327"/>
                <a:gd name="T22" fmla="*/ 145 w 241"/>
                <a:gd name="T23" fmla="*/ 125 h 327"/>
                <a:gd name="T24" fmla="*/ 122 w 241"/>
                <a:gd name="T25" fmla="*/ 321 h 327"/>
                <a:gd name="T26" fmla="*/ 96 w 241"/>
                <a:gd name="T27" fmla="*/ 327 h 327"/>
                <a:gd name="T28" fmla="*/ 84 w 241"/>
                <a:gd name="T29" fmla="*/ 134 h 327"/>
                <a:gd name="T30" fmla="*/ 64 w 241"/>
                <a:gd name="T31" fmla="*/ 108 h 327"/>
                <a:gd name="T32" fmla="*/ 13 w 241"/>
                <a:gd name="T33" fmla="*/ 91 h 327"/>
                <a:gd name="T34" fmla="*/ 0 w 241"/>
                <a:gd name="T35" fmla="*/ 68 h 327"/>
                <a:gd name="T36" fmla="*/ 2 w 241"/>
                <a:gd name="T37" fmla="*/ 0 h 327"/>
                <a:gd name="T38" fmla="*/ 139 w 241"/>
                <a:gd name="T39" fmla="*/ 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1" h="327">
                  <a:moveTo>
                    <a:pt x="139" y="1"/>
                  </a:moveTo>
                  <a:cubicBezTo>
                    <a:pt x="137" y="33"/>
                    <a:pt x="137" y="33"/>
                    <a:pt x="137" y="33"/>
                  </a:cubicBezTo>
                  <a:cubicBezTo>
                    <a:pt x="219" y="73"/>
                    <a:pt x="219" y="73"/>
                    <a:pt x="219" y="73"/>
                  </a:cubicBezTo>
                  <a:cubicBezTo>
                    <a:pt x="234" y="81"/>
                    <a:pt x="241" y="98"/>
                    <a:pt x="236" y="115"/>
                  </a:cubicBezTo>
                  <a:cubicBezTo>
                    <a:pt x="179" y="326"/>
                    <a:pt x="179" y="326"/>
                    <a:pt x="179" y="326"/>
                  </a:cubicBezTo>
                  <a:cubicBezTo>
                    <a:pt x="151" y="317"/>
                    <a:pt x="151" y="317"/>
                    <a:pt x="151" y="317"/>
                  </a:cubicBezTo>
                  <a:cubicBezTo>
                    <a:pt x="176" y="122"/>
                    <a:pt x="176" y="122"/>
                    <a:pt x="176" y="122"/>
                  </a:cubicBezTo>
                  <a:cubicBezTo>
                    <a:pt x="178" y="111"/>
                    <a:pt x="170" y="99"/>
                    <a:pt x="158" y="97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97" y="61"/>
                    <a:pt x="97" y="61"/>
                    <a:pt x="97" y="61"/>
                  </a:cubicBezTo>
                  <a:cubicBezTo>
                    <a:pt x="133" y="93"/>
                    <a:pt x="133" y="93"/>
                    <a:pt x="133" y="93"/>
                  </a:cubicBezTo>
                  <a:cubicBezTo>
                    <a:pt x="142" y="101"/>
                    <a:pt x="146" y="113"/>
                    <a:pt x="145" y="125"/>
                  </a:cubicBezTo>
                  <a:cubicBezTo>
                    <a:pt x="122" y="321"/>
                    <a:pt x="122" y="321"/>
                    <a:pt x="122" y="321"/>
                  </a:cubicBezTo>
                  <a:cubicBezTo>
                    <a:pt x="96" y="327"/>
                    <a:pt x="96" y="327"/>
                    <a:pt x="96" y="327"/>
                  </a:cubicBezTo>
                  <a:cubicBezTo>
                    <a:pt x="84" y="134"/>
                    <a:pt x="84" y="134"/>
                    <a:pt x="84" y="134"/>
                  </a:cubicBezTo>
                  <a:cubicBezTo>
                    <a:pt x="84" y="122"/>
                    <a:pt x="75" y="111"/>
                    <a:pt x="64" y="108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5" y="87"/>
                    <a:pt x="0" y="78"/>
                    <a:pt x="0" y="68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39" y="1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iṥlïdé">
              <a:extLst>
                <a:ext uri="{FF2B5EF4-FFF2-40B4-BE49-F238E27FC236}">
                  <a16:creationId xmlns:a16="http://schemas.microsoft.com/office/drawing/2014/main" id="{9BF3287F-7551-43F8-AE43-007362F0FA6C}"/>
                </a:ext>
              </a:extLst>
            </p:cNvPr>
            <p:cNvSpPr/>
            <p:nvPr/>
          </p:nvSpPr>
          <p:spPr bwMode="auto">
            <a:xfrm>
              <a:off x="7245350" y="3695700"/>
              <a:ext cx="841375" cy="930275"/>
            </a:xfrm>
            <a:custGeom>
              <a:avLst/>
              <a:gdLst>
                <a:gd name="T0" fmla="*/ 0 w 242"/>
                <a:gd name="T1" fmla="*/ 268 h 268"/>
                <a:gd name="T2" fmla="*/ 13 w 242"/>
                <a:gd name="T3" fmla="*/ 3 h 268"/>
                <a:gd name="T4" fmla="*/ 86 w 242"/>
                <a:gd name="T5" fmla="*/ 0 h 268"/>
                <a:gd name="T6" fmla="*/ 123 w 242"/>
                <a:gd name="T7" fmla="*/ 8 h 268"/>
                <a:gd name="T8" fmla="*/ 150 w 242"/>
                <a:gd name="T9" fmla="*/ 23 h 268"/>
                <a:gd name="T10" fmla="*/ 242 w 242"/>
                <a:gd name="T11" fmla="*/ 199 h 268"/>
                <a:gd name="T12" fmla="*/ 185 w 242"/>
                <a:gd name="T13" fmla="*/ 205 h 268"/>
                <a:gd name="T14" fmla="*/ 166 w 242"/>
                <a:gd name="T15" fmla="*/ 183 h 268"/>
                <a:gd name="T16" fmla="*/ 176 w 242"/>
                <a:gd name="T17" fmla="*/ 168 h 268"/>
                <a:gd name="T18" fmla="*/ 142 w 242"/>
                <a:gd name="T19" fmla="*/ 87 h 268"/>
                <a:gd name="T20" fmla="*/ 148 w 242"/>
                <a:gd name="T21" fmla="*/ 235 h 268"/>
                <a:gd name="T22" fmla="*/ 0 w 242"/>
                <a:gd name="T23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68">
                  <a:moveTo>
                    <a:pt x="0" y="268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69" y="0"/>
                    <a:pt x="86" y="0"/>
                  </a:cubicBezTo>
                  <a:cubicBezTo>
                    <a:pt x="95" y="0"/>
                    <a:pt x="111" y="4"/>
                    <a:pt x="123" y="8"/>
                  </a:cubicBezTo>
                  <a:cubicBezTo>
                    <a:pt x="135" y="12"/>
                    <a:pt x="144" y="12"/>
                    <a:pt x="150" y="23"/>
                  </a:cubicBezTo>
                  <a:cubicBezTo>
                    <a:pt x="242" y="199"/>
                    <a:pt x="242" y="199"/>
                    <a:pt x="242" y="199"/>
                  </a:cubicBezTo>
                  <a:cubicBezTo>
                    <a:pt x="185" y="205"/>
                    <a:pt x="185" y="205"/>
                    <a:pt x="185" y="205"/>
                  </a:cubicBezTo>
                  <a:cubicBezTo>
                    <a:pt x="166" y="183"/>
                    <a:pt x="166" y="183"/>
                    <a:pt x="166" y="183"/>
                  </a:cubicBezTo>
                  <a:cubicBezTo>
                    <a:pt x="176" y="168"/>
                    <a:pt x="176" y="168"/>
                    <a:pt x="176" y="168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48" y="235"/>
                    <a:pt x="148" y="235"/>
                    <a:pt x="148" y="235"/>
                  </a:cubicBezTo>
                  <a:cubicBezTo>
                    <a:pt x="0" y="268"/>
                    <a:pt x="0" y="268"/>
                    <a:pt x="0" y="268"/>
                  </a:cubicBezTo>
                </a:path>
              </a:pathLst>
            </a:custGeom>
            <a:solidFill>
              <a:srgbClr val="D9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îṥlïḋe">
              <a:extLst>
                <a:ext uri="{FF2B5EF4-FFF2-40B4-BE49-F238E27FC236}">
                  <a16:creationId xmlns:a16="http://schemas.microsoft.com/office/drawing/2014/main" id="{77543CBC-952D-46A8-8497-F3881BB4E984}"/>
                </a:ext>
              </a:extLst>
            </p:cNvPr>
            <p:cNvSpPr/>
            <p:nvPr/>
          </p:nvSpPr>
          <p:spPr bwMode="auto">
            <a:xfrm>
              <a:off x="7821613" y="4330700"/>
              <a:ext cx="14288" cy="14288"/>
            </a:xfrm>
            <a:custGeom>
              <a:avLst/>
              <a:gdLst>
                <a:gd name="T0" fmla="*/ 0 w 4"/>
                <a:gd name="T1" fmla="*/ 0 h 4"/>
                <a:gd name="T2" fmla="*/ 4 w 4"/>
                <a:gd name="T3" fmla="*/ 4 h 4"/>
                <a:gd name="T4" fmla="*/ 4 w 4"/>
                <a:gd name="T5" fmla="*/ 4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048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íşľïḓé">
              <a:extLst>
                <a:ext uri="{FF2B5EF4-FFF2-40B4-BE49-F238E27FC236}">
                  <a16:creationId xmlns:a16="http://schemas.microsoft.com/office/drawing/2014/main" id="{AC2924CB-F8A5-475A-BD4C-EA01BD61BD53}"/>
                </a:ext>
              </a:extLst>
            </p:cNvPr>
            <p:cNvSpPr/>
            <p:nvPr/>
          </p:nvSpPr>
          <p:spPr bwMode="auto">
            <a:xfrm>
              <a:off x="7370763" y="3695700"/>
              <a:ext cx="246063" cy="277813"/>
            </a:xfrm>
            <a:custGeom>
              <a:avLst/>
              <a:gdLst>
                <a:gd name="T0" fmla="*/ 53 w 71"/>
                <a:gd name="T1" fmla="*/ 80 h 80"/>
                <a:gd name="T2" fmla="*/ 0 w 71"/>
                <a:gd name="T3" fmla="*/ 13 h 80"/>
                <a:gd name="T4" fmla="*/ 2 w 71"/>
                <a:gd name="T5" fmla="*/ 2 h 80"/>
                <a:gd name="T6" fmla="*/ 50 w 71"/>
                <a:gd name="T7" fmla="*/ 0 h 80"/>
                <a:gd name="T8" fmla="*/ 65 w 71"/>
                <a:gd name="T9" fmla="*/ 2 h 80"/>
                <a:gd name="T10" fmla="*/ 67 w 71"/>
                <a:gd name="T11" fmla="*/ 13 h 80"/>
                <a:gd name="T12" fmla="*/ 53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53" y="80"/>
                  </a:moveTo>
                  <a:cubicBezTo>
                    <a:pt x="34" y="80"/>
                    <a:pt x="0" y="31"/>
                    <a:pt x="0" y="13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19" y="1"/>
                    <a:pt x="41" y="0"/>
                    <a:pt x="50" y="0"/>
                  </a:cubicBezTo>
                  <a:cubicBezTo>
                    <a:pt x="54" y="0"/>
                    <a:pt x="60" y="1"/>
                    <a:pt x="65" y="2"/>
                  </a:cubicBezTo>
                  <a:cubicBezTo>
                    <a:pt x="67" y="6"/>
                    <a:pt x="67" y="9"/>
                    <a:pt x="67" y="13"/>
                  </a:cubicBezTo>
                  <a:cubicBezTo>
                    <a:pt x="67" y="31"/>
                    <a:pt x="71" y="80"/>
                    <a:pt x="53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îşḷïḓê">
              <a:extLst>
                <a:ext uri="{FF2B5EF4-FFF2-40B4-BE49-F238E27FC236}">
                  <a16:creationId xmlns:a16="http://schemas.microsoft.com/office/drawing/2014/main" id="{E8F396B6-14D7-4F4C-AC19-CB67B62B5FB4}"/>
                </a:ext>
              </a:extLst>
            </p:cNvPr>
            <p:cNvSpPr/>
            <p:nvPr/>
          </p:nvSpPr>
          <p:spPr bwMode="auto">
            <a:xfrm>
              <a:off x="7426325" y="3546475"/>
              <a:ext cx="138113" cy="242888"/>
            </a:xfrm>
            <a:custGeom>
              <a:avLst/>
              <a:gdLst>
                <a:gd name="T0" fmla="*/ 40 w 40"/>
                <a:gd name="T1" fmla="*/ 16 h 70"/>
                <a:gd name="T2" fmla="*/ 27 w 40"/>
                <a:gd name="T3" fmla="*/ 62 h 70"/>
                <a:gd name="T4" fmla="*/ 14 w 40"/>
                <a:gd name="T5" fmla="*/ 69 h 70"/>
                <a:gd name="T6" fmla="*/ 0 w 40"/>
                <a:gd name="T7" fmla="*/ 55 h 70"/>
                <a:gd name="T8" fmla="*/ 17 w 40"/>
                <a:gd name="T9" fmla="*/ 0 h 70"/>
                <a:gd name="T10" fmla="*/ 40 w 40"/>
                <a:gd name="T11" fmla="*/ 1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70">
                  <a:moveTo>
                    <a:pt x="40" y="16"/>
                  </a:moveTo>
                  <a:cubicBezTo>
                    <a:pt x="38" y="19"/>
                    <a:pt x="27" y="62"/>
                    <a:pt x="27" y="62"/>
                  </a:cubicBezTo>
                  <a:cubicBezTo>
                    <a:pt x="27" y="62"/>
                    <a:pt x="23" y="70"/>
                    <a:pt x="14" y="69"/>
                  </a:cubicBezTo>
                  <a:cubicBezTo>
                    <a:pt x="4" y="68"/>
                    <a:pt x="0" y="55"/>
                    <a:pt x="0" y="55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40" y="16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îṡļiḓê">
              <a:extLst>
                <a:ext uri="{FF2B5EF4-FFF2-40B4-BE49-F238E27FC236}">
                  <a16:creationId xmlns:a16="http://schemas.microsoft.com/office/drawing/2014/main" id="{E6522B3B-F049-4370-8433-76808AEBFDC1}"/>
                </a:ext>
              </a:extLst>
            </p:cNvPr>
            <p:cNvSpPr/>
            <p:nvPr/>
          </p:nvSpPr>
          <p:spPr bwMode="auto">
            <a:xfrm>
              <a:off x="7359650" y="3321050"/>
              <a:ext cx="379413" cy="406400"/>
            </a:xfrm>
            <a:custGeom>
              <a:avLst/>
              <a:gdLst>
                <a:gd name="T0" fmla="*/ 0 w 109"/>
                <a:gd name="T1" fmla="*/ 54 h 117"/>
                <a:gd name="T2" fmla="*/ 62 w 109"/>
                <a:gd name="T3" fmla="*/ 117 h 117"/>
                <a:gd name="T4" fmla="*/ 109 w 109"/>
                <a:gd name="T5" fmla="*/ 54 h 117"/>
                <a:gd name="T6" fmla="*/ 54 w 109"/>
                <a:gd name="T7" fmla="*/ 0 h 117"/>
                <a:gd name="T8" fmla="*/ 0 w 109"/>
                <a:gd name="T9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17">
                  <a:moveTo>
                    <a:pt x="0" y="54"/>
                  </a:moveTo>
                  <a:cubicBezTo>
                    <a:pt x="0" y="84"/>
                    <a:pt x="32" y="117"/>
                    <a:pt x="62" y="117"/>
                  </a:cubicBezTo>
                  <a:cubicBezTo>
                    <a:pt x="92" y="117"/>
                    <a:pt x="109" y="84"/>
                    <a:pt x="109" y="54"/>
                  </a:cubicBezTo>
                  <a:cubicBezTo>
                    <a:pt x="109" y="24"/>
                    <a:pt x="84" y="0"/>
                    <a:pt x="54" y="0"/>
                  </a:cubicBezTo>
                  <a:cubicBezTo>
                    <a:pt x="25" y="0"/>
                    <a:pt x="0" y="24"/>
                    <a:pt x="0" y="54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îśḷïḑé">
              <a:extLst>
                <a:ext uri="{FF2B5EF4-FFF2-40B4-BE49-F238E27FC236}">
                  <a16:creationId xmlns:a16="http://schemas.microsoft.com/office/drawing/2014/main" id="{AAFA00EB-E2C4-48B8-BA2B-4F3B237385B3}"/>
                </a:ext>
              </a:extLst>
            </p:cNvPr>
            <p:cNvSpPr/>
            <p:nvPr/>
          </p:nvSpPr>
          <p:spPr bwMode="auto">
            <a:xfrm>
              <a:off x="7342188" y="3314700"/>
              <a:ext cx="420688" cy="419100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iṥliḍê">
              <a:extLst>
                <a:ext uri="{FF2B5EF4-FFF2-40B4-BE49-F238E27FC236}">
                  <a16:creationId xmlns:a16="http://schemas.microsoft.com/office/drawing/2014/main" id="{A3092B79-EECF-4E52-83B8-00E17C029EC0}"/>
                </a:ext>
              </a:extLst>
            </p:cNvPr>
            <p:cNvSpPr/>
            <p:nvPr/>
          </p:nvSpPr>
          <p:spPr bwMode="auto">
            <a:xfrm>
              <a:off x="7686675" y="3629025"/>
              <a:ext cx="26988" cy="31750"/>
            </a:xfrm>
            <a:custGeom>
              <a:avLst/>
              <a:gdLst>
                <a:gd name="T0" fmla="*/ 2 w 8"/>
                <a:gd name="T1" fmla="*/ 3 h 9"/>
                <a:gd name="T2" fmla="*/ 2 w 8"/>
                <a:gd name="T3" fmla="*/ 8 h 9"/>
                <a:gd name="T4" fmla="*/ 7 w 8"/>
                <a:gd name="T5" fmla="*/ 6 h 9"/>
                <a:gd name="T6" fmla="*/ 6 w 8"/>
                <a:gd name="T7" fmla="*/ 0 h 9"/>
                <a:gd name="T8" fmla="*/ 2 w 8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2" y="3"/>
                  </a:moveTo>
                  <a:cubicBezTo>
                    <a:pt x="0" y="5"/>
                    <a:pt x="1" y="7"/>
                    <a:pt x="2" y="8"/>
                  </a:cubicBezTo>
                  <a:cubicBezTo>
                    <a:pt x="4" y="9"/>
                    <a:pt x="6" y="8"/>
                    <a:pt x="7" y="6"/>
                  </a:cubicBezTo>
                  <a:cubicBezTo>
                    <a:pt x="8" y="4"/>
                    <a:pt x="8" y="1"/>
                    <a:pt x="6" y="0"/>
                  </a:cubicBezTo>
                  <a:cubicBezTo>
                    <a:pt x="5" y="0"/>
                    <a:pt x="3" y="1"/>
                    <a:pt x="2" y="3"/>
                  </a:cubicBezTo>
                  <a:close/>
                </a:path>
              </a:pathLst>
            </a:custGeom>
            <a:solidFill>
              <a:srgbClr val="2D2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išliḑe">
              <a:extLst>
                <a:ext uri="{FF2B5EF4-FFF2-40B4-BE49-F238E27FC236}">
                  <a16:creationId xmlns:a16="http://schemas.microsoft.com/office/drawing/2014/main" id="{0EEE0805-1E9E-4A50-A77F-1B6797D9DC07}"/>
                </a:ext>
              </a:extLst>
            </p:cNvPr>
            <p:cNvSpPr/>
            <p:nvPr/>
          </p:nvSpPr>
          <p:spPr bwMode="auto">
            <a:xfrm>
              <a:off x="7581900" y="3640138"/>
              <a:ext cx="28575" cy="34925"/>
            </a:xfrm>
            <a:custGeom>
              <a:avLst/>
              <a:gdLst>
                <a:gd name="T0" fmla="*/ 1 w 8"/>
                <a:gd name="T1" fmla="*/ 3 h 10"/>
                <a:gd name="T2" fmla="*/ 1 w 8"/>
                <a:gd name="T3" fmla="*/ 9 h 10"/>
                <a:gd name="T4" fmla="*/ 7 w 8"/>
                <a:gd name="T5" fmla="*/ 6 h 10"/>
                <a:gd name="T6" fmla="*/ 6 w 8"/>
                <a:gd name="T7" fmla="*/ 0 h 10"/>
                <a:gd name="T8" fmla="*/ 1 w 8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1" y="3"/>
                  </a:moveTo>
                  <a:cubicBezTo>
                    <a:pt x="0" y="5"/>
                    <a:pt x="0" y="8"/>
                    <a:pt x="1" y="9"/>
                  </a:cubicBezTo>
                  <a:cubicBezTo>
                    <a:pt x="3" y="10"/>
                    <a:pt x="5" y="9"/>
                    <a:pt x="7" y="6"/>
                  </a:cubicBezTo>
                  <a:cubicBezTo>
                    <a:pt x="8" y="4"/>
                    <a:pt x="8" y="1"/>
                    <a:pt x="6" y="0"/>
                  </a:cubicBezTo>
                  <a:cubicBezTo>
                    <a:pt x="5" y="0"/>
                    <a:pt x="2" y="1"/>
                    <a:pt x="1" y="3"/>
                  </a:cubicBezTo>
                  <a:close/>
                </a:path>
              </a:pathLst>
            </a:custGeom>
            <a:solidFill>
              <a:srgbClr val="2D2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îṡḷíḑe">
              <a:extLst>
                <a:ext uri="{FF2B5EF4-FFF2-40B4-BE49-F238E27FC236}">
                  <a16:creationId xmlns:a16="http://schemas.microsoft.com/office/drawing/2014/main" id="{74784F00-720A-4725-AB61-A0DFEB27276C}"/>
                </a:ext>
              </a:extLst>
            </p:cNvPr>
            <p:cNvSpPr/>
            <p:nvPr/>
          </p:nvSpPr>
          <p:spPr bwMode="auto">
            <a:xfrm>
              <a:off x="7502525" y="4500563"/>
              <a:ext cx="257175" cy="107950"/>
            </a:xfrm>
            <a:custGeom>
              <a:avLst/>
              <a:gdLst>
                <a:gd name="T0" fmla="*/ 3 w 74"/>
                <a:gd name="T1" fmla="*/ 10 h 31"/>
                <a:gd name="T2" fmla="*/ 40 w 74"/>
                <a:gd name="T3" fmla="*/ 0 h 31"/>
                <a:gd name="T4" fmla="*/ 71 w 74"/>
                <a:gd name="T5" fmla="*/ 15 h 31"/>
                <a:gd name="T6" fmla="*/ 64 w 74"/>
                <a:gd name="T7" fmla="*/ 21 h 31"/>
                <a:gd name="T8" fmla="*/ 65 w 74"/>
                <a:gd name="T9" fmla="*/ 27 h 31"/>
                <a:gd name="T10" fmla="*/ 54 w 74"/>
                <a:gd name="T11" fmla="*/ 29 h 31"/>
                <a:gd name="T12" fmla="*/ 0 w 74"/>
                <a:gd name="T13" fmla="*/ 28 h 31"/>
                <a:gd name="T14" fmla="*/ 3 w 74"/>
                <a:gd name="T15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31">
                  <a:moveTo>
                    <a:pt x="3" y="10"/>
                  </a:moveTo>
                  <a:cubicBezTo>
                    <a:pt x="5" y="10"/>
                    <a:pt x="25" y="0"/>
                    <a:pt x="40" y="0"/>
                  </a:cubicBezTo>
                  <a:cubicBezTo>
                    <a:pt x="54" y="0"/>
                    <a:pt x="71" y="15"/>
                    <a:pt x="71" y="15"/>
                  </a:cubicBezTo>
                  <a:cubicBezTo>
                    <a:pt x="71" y="15"/>
                    <a:pt x="74" y="23"/>
                    <a:pt x="64" y="21"/>
                  </a:cubicBezTo>
                  <a:cubicBezTo>
                    <a:pt x="55" y="20"/>
                    <a:pt x="65" y="27"/>
                    <a:pt x="65" y="27"/>
                  </a:cubicBezTo>
                  <a:cubicBezTo>
                    <a:pt x="65" y="27"/>
                    <a:pt x="65" y="28"/>
                    <a:pt x="54" y="29"/>
                  </a:cubicBezTo>
                  <a:cubicBezTo>
                    <a:pt x="43" y="31"/>
                    <a:pt x="0" y="28"/>
                    <a:pt x="0" y="28"/>
                  </a:cubicBezTo>
                  <a:lnTo>
                    <a:pt x="3" y="10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iṡḷíḋé">
              <a:extLst>
                <a:ext uri="{FF2B5EF4-FFF2-40B4-BE49-F238E27FC236}">
                  <a16:creationId xmlns:a16="http://schemas.microsoft.com/office/drawing/2014/main" id="{92DBD934-F40C-470D-AC04-28E1616CA2FB}"/>
                </a:ext>
              </a:extLst>
            </p:cNvPr>
            <p:cNvSpPr/>
            <p:nvPr/>
          </p:nvSpPr>
          <p:spPr bwMode="auto">
            <a:xfrm>
              <a:off x="7099300" y="3706813"/>
              <a:ext cx="414338" cy="892175"/>
            </a:xfrm>
            <a:custGeom>
              <a:avLst/>
              <a:gdLst>
                <a:gd name="T0" fmla="*/ 55 w 119"/>
                <a:gd name="T1" fmla="*/ 0 h 257"/>
                <a:gd name="T2" fmla="*/ 47 w 119"/>
                <a:gd name="T3" fmla="*/ 174 h 257"/>
                <a:gd name="T4" fmla="*/ 119 w 119"/>
                <a:gd name="T5" fmla="*/ 239 h 257"/>
                <a:gd name="T6" fmla="*/ 116 w 119"/>
                <a:gd name="T7" fmla="*/ 257 h 257"/>
                <a:gd name="T8" fmla="*/ 15 w 119"/>
                <a:gd name="T9" fmla="*/ 204 h 257"/>
                <a:gd name="T10" fmla="*/ 1 w 119"/>
                <a:gd name="T11" fmla="*/ 177 h 257"/>
                <a:gd name="T12" fmla="*/ 20 w 119"/>
                <a:gd name="T13" fmla="*/ 44 h 257"/>
                <a:gd name="T14" fmla="*/ 46 w 119"/>
                <a:gd name="T15" fmla="*/ 5 h 257"/>
                <a:gd name="T16" fmla="*/ 55 w 119"/>
                <a:gd name="T17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257">
                  <a:moveTo>
                    <a:pt x="55" y="0"/>
                  </a:moveTo>
                  <a:cubicBezTo>
                    <a:pt x="47" y="174"/>
                    <a:pt x="47" y="174"/>
                    <a:pt x="47" y="174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16" y="257"/>
                    <a:pt x="116" y="257"/>
                    <a:pt x="116" y="257"/>
                  </a:cubicBezTo>
                  <a:cubicBezTo>
                    <a:pt x="15" y="204"/>
                    <a:pt x="15" y="204"/>
                    <a:pt x="15" y="204"/>
                  </a:cubicBezTo>
                  <a:cubicBezTo>
                    <a:pt x="5" y="198"/>
                    <a:pt x="0" y="188"/>
                    <a:pt x="1" y="177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1" y="27"/>
                    <a:pt x="31" y="12"/>
                    <a:pt x="46" y="5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D9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iṥḷîde">
              <a:extLst>
                <a:ext uri="{FF2B5EF4-FFF2-40B4-BE49-F238E27FC236}">
                  <a16:creationId xmlns:a16="http://schemas.microsoft.com/office/drawing/2014/main" id="{BC87A216-A42A-44F8-9F1C-050BC0AD103A}"/>
                </a:ext>
              </a:extLst>
            </p:cNvPr>
            <p:cNvSpPr/>
            <p:nvPr/>
          </p:nvSpPr>
          <p:spPr bwMode="auto">
            <a:xfrm>
              <a:off x="7464425" y="4605338"/>
              <a:ext cx="657225" cy="44450"/>
            </a:xfrm>
            <a:custGeom>
              <a:avLst/>
              <a:gdLst>
                <a:gd name="T0" fmla="*/ 7 w 189"/>
                <a:gd name="T1" fmla="*/ 13 h 13"/>
                <a:gd name="T2" fmla="*/ 189 w 189"/>
                <a:gd name="T3" fmla="*/ 13 h 13"/>
                <a:gd name="T4" fmla="*/ 189 w 189"/>
                <a:gd name="T5" fmla="*/ 0 h 13"/>
                <a:gd name="T6" fmla="*/ 7 w 189"/>
                <a:gd name="T7" fmla="*/ 0 h 13"/>
                <a:gd name="T8" fmla="*/ 0 w 189"/>
                <a:gd name="T9" fmla="*/ 7 h 13"/>
                <a:gd name="T10" fmla="*/ 7 w 189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13">
                  <a:moveTo>
                    <a:pt x="7" y="13"/>
                  </a:moveTo>
                  <a:cubicBezTo>
                    <a:pt x="189" y="13"/>
                    <a:pt x="189" y="13"/>
                    <a:pt x="189" y="13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7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íṡľïḑe">
              <a:extLst>
                <a:ext uri="{FF2B5EF4-FFF2-40B4-BE49-F238E27FC236}">
                  <a16:creationId xmlns:a16="http://schemas.microsoft.com/office/drawing/2014/main" id="{B1344F33-BE7D-495C-91B8-75AD487910FD}"/>
                </a:ext>
              </a:extLst>
            </p:cNvPr>
            <p:cNvSpPr/>
            <p:nvPr/>
          </p:nvSpPr>
          <p:spPr bwMode="auto">
            <a:xfrm>
              <a:off x="7662863" y="4125913"/>
              <a:ext cx="784225" cy="523875"/>
            </a:xfrm>
            <a:custGeom>
              <a:avLst/>
              <a:gdLst>
                <a:gd name="T0" fmla="*/ 0 w 226"/>
                <a:gd name="T1" fmla="*/ 151 h 151"/>
                <a:gd name="T2" fmla="*/ 175 w 226"/>
                <a:gd name="T3" fmla="*/ 151 h 151"/>
                <a:gd name="T4" fmla="*/ 192 w 226"/>
                <a:gd name="T5" fmla="*/ 139 h 151"/>
                <a:gd name="T6" fmla="*/ 223 w 226"/>
                <a:gd name="T7" fmla="*/ 22 h 151"/>
                <a:gd name="T8" fmla="*/ 206 w 226"/>
                <a:gd name="T9" fmla="*/ 0 h 151"/>
                <a:gd name="T10" fmla="*/ 53 w 226"/>
                <a:gd name="T11" fmla="*/ 0 h 151"/>
                <a:gd name="T12" fmla="*/ 36 w 226"/>
                <a:gd name="T13" fmla="*/ 13 h 151"/>
                <a:gd name="T14" fmla="*/ 0 w 226"/>
                <a:gd name="T1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6" h="151">
                  <a:moveTo>
                    <a:pt x="0" y="151"/>
                  </a:moveTo>
                  <a:cubicBezTo>
                    <a:pt x="175" y="151"/>
                    <a:pt x="175" y="151"/>
                    <a:pt x="175" y="151"/>
                  </a:cubicBezTo>
                  <a:cubicBezTo>
                    <a:pt x="183" y="151"/>
                    <a:pt x="190" y="146"/>
                    <a:pt x="192" y="139"/>
                  </a:cubicBezTo>
                  <a:cubicBezTo>
                    <a:pt x="223" y="22"/>
                    <a:pt x="223" y="22"/>
                    <a:pt x="223" y="22"/>
                  </a:cubicBezTo>
                  <a:cubicBezTo>
                    <a:pt x="226" y="11"/>
                    <a:pt x="218" y="0"/>
                    <a:pt x="206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5" y="0"/>
                    <a:pt x="38" y="5"/>
                    <a:pt x="36" y="13"/>
                  </a:cubicBezTo>
                  <a:lnTo>
                    <a:pt x="0" y="1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íṩļîḑê">
              <a:extLst>
                <a:ext uri="{FF2B5EF4-FFF2-40B4-BE49-F238E27FC236}">
                  <a16:creationId xmlns:a16="http://schemas.microsoft.com/office/drawing/2014/main" id="{2A6564EB-A607-44D4-A411-714E56582916}"/>
                </a:ext>
              </a:extLst>
            </p:cNvPr>
            <p:cNvSpPr/>
            <p:nvPr/>
          </p:nvSpPr>
          <p:spPr bwMode="auto">
            <a:xfrm>
              <a:off x="7937500" y="4125913"/>
              <a:ext cx="509588" cy="511175"/>
            </a:xfrm>
            <a:custGeom>
              <a:avLst/>
              <a:gdLst>
                <a:gd name="T0" fmla="*/ 127 w 147"/>
                <a:gd name="T1" fmla="*/ 0 h 147"/>
                <a:gd name="T2" fmla="*/ 144 w 147"/>
                <a:gd name="T3" fmla="*/ 22 h 147"/>
                <a:gd name="T4" fmla="*/ 113 w 147"/>
                <a:gd name="T5" fmla="*/ 139 h 147"/>
                <a:gd name="T6" fmla="*/ 107 w 147"/>
                <a:gd name="T7" fmla="*/ 147 h 147"/>
                <a:gd name="T8" fmla="*/ 0 w 147"/>
                <a:gd name="T9" fmla="*/ 0 h 147"/>
                <a:gd name="T10" fmla="*/ 127 w 147"/>
                <a:gd name="T11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147">
                  <a:moveTo>
                    <a:pt x="127" y="0"/>
                  </a:moveTo>
                  <a:cubicBezTo>
                    <a:pt x="139" y="0"/>
                    <a:pt x="147" y="11"/>
                    <a:pt x="144" y="22"/>
                  </a:cubicBezTo>
                  <a:cubicBezTo>
                    <a:pt x="113" y="139"/>
                    <a:pt x="113" y="139"/>
                    <a:pt x="113" y="139"/>
                  </a:cubicBezTo>
                  <a:cubicBezTo>
                    <a:pt x="112" y="142"/>
                    <a:pt x="110" y="145"/>
                    <a:pt x="107" y="1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27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3000"/>
                  </a:schemeClr>
                </a:gs>
                <a:gs pos="0">
                  <a:srgbClr val="D0DDFE"/>
                </a:gs>
              </a:gsLst>
              <a:lin ang="108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îṣḷíḑè">
              <a:extLst>
                <a:ext uri="{FF2B5EF4-FFF2-40B4-BE49-F238E27FC236}">
                  <a16:creationId xmlns:a16="http://schemas.microsoft.com/office/drawing/2014/main" id="{3BCADFDB-47FE-4EC4-92DB-EF25C9BC47CA}"/>
                </a:ext>
              </a:extLst>
            </p:cNvPr>
            <p:cNvSpPr/>
            <p:nvPr/>
          </p:nvSpPr>
          <p:spPr bwMode="auto">
            <a:xfrm>
              <a:off x="8013700" y="4376738"/>
              <a:ext cx="114300" cy="96838"/>
            </a:xfrm>
            <a:custGeom>
              <a:avLst/>
              <a:gdLst>
                <a:gd name="T0" fmla="*/ 2 w 33"/>
                <a:gd name="T1" fmla="*/ 14 h 28"/>
                <a:gd name="T2" fmla="*/ 13 w 33"/>
                <a:gd name="T3" fmla="*/ 28 h 28"/>
                <a:gd name="T4" fmla="*/ 31 w 33"/>
                <a:gd name="T5" fmla="*/ 14 h 28"/>
                <a:gd name="T6" fmla="*/ 20 w 33"/>
                <a:gd name="T7" fmla="*/ 0 h 28"/>
                <a:gd name="T8" fmla="*/ 2 w 3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8">
                  <a:moveTo>
                    <a:pt x="2" y="14"/>
                  </a:moveTo>
                  <a:cubicBezTo>
                    <a:pt x="0" y="22"/>
                    <a:pt x="5" y="28"/>
                    <a:pt x="13" y="28"/>
                  </a:cubicBezTo>
                  <a:cubicBezTo>
                    <a:pt x="21" y="28"/>
                    <a:pt x="29" y="22"/>
                    <a:pt x="31" y="14"/>
                  </a:cubicBezTo>
                  <a:cubicBezTo>
                    <a:pt x="33" y="6"/>
                    <a:pt x="28" y="0"/>
                    <a:pt x="20" y="0"/>
                  </a:cubicBezTo>
                  <a:cubicBezTo>
                    <a:pt x="12" y="0"/>
                    <a:pt x="4" y="6"/>
                    <a:pt x="2" y="14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ïśḷîďe">
              <a:extLst>
                <a:ext uri="{FF2B5EF4-FFF2-40B4-BE49-F238E27FC236}">
                  <a16:creationId xmlns:a16="http://schemas.microsoft.com/office/drawing/2014/main" id="{DD8F7AA9-B078-4961-8566-04B8A0E0E100}"/>
                </a:ext>
              </a:extLst>
            </p:cNvPr>
            <p:cNvSpPr/>
            <p:nvPr/>
          </p:nvSpPr>
          <p:spPr bwMode="auto">
            <a:xfrm>
              <a:off x="7342188" y="3314700"/>
              <a:ext cx="420688" cy="304800"/>
            </a:xfrm>
            <a:custGeom>
              <a:avLst/>
              <a:gdLst>
                <a:gd name="T0" fmla="*/ 61 w 121"/>
                <a:gd name="T1" fmla="*/ 0 h 88"/>
                <a:gd name="T2" fmla="*/ 121 w 121"/>
                <a:gd name="T3" fmla="*/ 54 h 88"/>
                <a:gd name="T4" fmla="*/ 84 w 121"/>
                <a:gd name="T5" fmla="*/ 63 h 88"/>
                <a:gd name="T6" fmla="*/ 48 w 121"/>
                <a:gd name="T7" fmla="*/ 35 h 88"/>
                <a:gd name="T8" fmla="*/ 48 w 121"/>
                <a:gd name="T9" fmla="*/ 55 h 88"/>
                <a:gd name="T10" fmla="*/ 39 w 121"/>
                <a:gd name="T11" fmla="*/ 73 h 88"/>
                <a:gd name="T12" fmla="*/ 35 w 121"/>
                <a:gd name="T13" fmla="*/ 59 h 88"/>
                <a:gd name="T14" fmla="*/ 23 w 121"/>
                <a:gd name="T15" fmla="*/ 54 h 88"/>
                <a:gd name="T16" fmla="*/ 18 w 121"/>
                <a:gd name="T17" fmla="*/ 62 h 88"/>
                <a:gd name="T18" fmla="*/ 19 w 121"/>
                <a:gd name="T19" fmla="*/ 72 h 88"/>
                <a:gd name="T20" fmla="*/ 28 w 121"/>
                <a:gd name="T21" fmla="*/ 86 h 88"/>
                <a:gd name="T22" fmla="*/ 6 w 121"/>
                <a:gd name="T23" fmla="*/ 87 h 88"/>
                <a:gd name="T24" fmla="*/ 0 w 121"/>
                <a:gd name="T25" fmla="*/ 61 h 88"/>
                <a:gd name="T26" fmla="*/ 61 w 121"/>
                <a:gd name="T2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" h="88">
                  <a:moveTo>
                    <a:pt x="61" y="0"/>
                  </a:moveTo>
                  <a:cubicBezTo>
                    <a:pt x="92" y="0"/>
                    <a:pt x="118" y="23"/>
                    <a:pt x="121" y="54"/>
                  </a:cubicBezTo>
                  <a:cubicBezTo>
                    <a:pt x="110" y="61"/>
                    <a:pt x="97" y="65"/>
                    <a:pt x="84" y="63"/>
                  </a:cubicBezTo>
                  <a:cubicBezTo>
                    <a:pt x="68" y="60"/>
                    <a:pt x="55" y="49"/>
                    <a:pt x="48" y="35"/>
                  </a:cubicBezTo>
                  <a:cubicBezTo>
                    <a:pt x="48" y="42"/>
                    <a:pt x="49" y="49"/>
                    <a:pt x="48" y="55"/>
                  </a:cubicBezTo>
                  <a:cubicBezTo>
                    <a:pt x="47" y="62"/>
                    <a:pt x="44" y="69"/>
                    <a:pt x="39" y="73"/>
                  </a:cubicBezTo>
                  <a:cubicBezTo>
                    <a:pt x="38" y="68"/>
                    <a:pt x="38" y="63"/>
                    <a:pt x="35" y="59"/>
                  </a:cubicBezTo>
                  <a:cubicBezTo>
                    <a:pt x="33" y="55"/>
                    <a:pt x="28" y="52"/>
                    <a:pt x="23" y="54"/>
                  </a:cubicBezTo>
                  <a:cubicBezTo>
                    <a:pt x="20" y="55"/>
                    <a:pt x="18" y="59"/>
                    <a:pt x="18" y="62"/>
                  </a:cubicBezTo>
                  <a:cubicBezTo>
                    <a:pt x="17" y="65"/>
                    <a:pt x="18" y="69"/>
                    <a:pt x="19" y="72"/>
                  </a:cubicBezTo>
                  <a:cubicBezTo>
                    <a:pt x="21" y="77"/>
                    <a:pt x="24" y="82"/>
                    <a:pt x="28" y="86"/>
                  </a:cubicBezTo>
                  <a:cubicBezTo>
                    <a:pt x="20" y="87"/>
                    <a:pt x="13" y="88"/>
                    <a:pt x="6" y="87"/>
                  </a:cubicBezTo>
                  <a:cubicBezTo>
                    <a:pt x="2" y="79"/>
                    <a:pt x="0" y="70"/>
                    <a:pt x="0" y="61"/>
                  </a:cubicBezTo>
                  <a:cubicBezTo>
                    <a:pt x="0" y="27"/>
                    <a:pt x="27" y="0"/>
                    <a:pt x="61" y="0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ïṧlíďê">
              <a:extLst>
                <a:ext uri="{FF2B5EF4-FFF2-40B4-BE49-F238E27FC236}">
                  <a16:creationId xmlns:a16="http://schemas.microsoft.com/office/drawing/2014/main" id="{760D0CE2-FFE3-43EF-ACE2-EEF34330F4C1}"/>
                </a:ext>
              </a:extLst>
            </p:cNvPr>
            <p:cNvSpPr/>
            <p:nvPr/>
          </p:nvSpPr>
          <p:spPr bwMode="auto">
            <a:xfrm>
              <a:off x="7370763" y="3494088"/>
              <a:ext cx="128588" cy="128588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iŝḷiḓè">
              <a:extLst>
                <a:ext uri="{FF2B5EF4-FFF2-40B4-BE49-F238E27FC236}">
                  <a16:creationId xmlns:a16="http://schemas.microsoft.com/office/drawing/2014/main" id="{0EC03414-0214-4AC2-AEF3-94026D8D9E93}"/>
                </a:ext>
              </a:extLst>
            </p:cNvPr>
            <p:cNvSpPr/>
            <p:nvPr/>
          </p:nvSpPr>
          <p:spPr bwMode="auto">
            <a:xfrm>
              <a:off x="7769225" y="5473700"/>
              <a:ext cx="84138" cy="88900"/>
            </a:xfrm>
            <a:custGeom>
              <a:avLst/>
              <a:gdLst>
                <a:gd name="T0" fmla="*/ 7 w 53"/>
                <a:gd name="T1" fmla="*/ 0 h 56"/>
                <a:gd name="T2" fmla="*/ 0 w 53"/>
                <a:gd name="T3" fmla="*/ 43 h 56"/>
                <a:gd name="T4" fmla="*/ 42 w 53"/>
                <a:gd name="T5" fmla="*/ 56 h 56"/>
                <a:gd name="T6" fmla="*/ 53 w 53"/>
                <a:gd name="T7" fmla="*/ 15 h 56"/>
                <a:gd name="T8" fmla="*/ 7 w 53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6">
                  <a:moveTo>
                    <a:pt x="7" y="0"/>
                  </a:moveTo>
                  <a:lnTo>
                    <a:pt x="0" y="43"/>
                  </a:lnTo>
                  <a:lnTo>
                    <a:pt x="42" y="56"/>
                  </a:lnTo>
                  <a:lnTo>
                    <a:pt x="53" y="1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ïŝḻîďe">
              <a:extLst>
                <a:ext uri="{FF2B5EF4-FFF2-40B4-BE49-F238E27FC236}">
                  <a16:creationId xmlns:a16="http://schemas.microsoft.com/office/drawing/2014/main" id="{78B0F5FD-4484-4A8D-BDDF-078B3D0A94C0}"/>
                </a:ext>
              </a:extLst>
            </p:cNvPr>
            <p:cNvSpPr/>
            <p:nvPr/>
          </p:nvSpPr>
          <p:spPr bwMode="auto">
            <a:xfrm>
              <a:off x="7616825" y="5486400"/>
              <a:ext cx="63500" cy="87313"/>
            </a:xfrm>
            <a:custGeom>
              <a:avLst/>
              <a:gdLst>
                <a:gd name="T0" fmla="*/ 37 w 40"/>
                <a:gd name="T1" fmla="*/ 48 h 55"/>
                <a:gd name="T2" fmla="*/ 2 w 40"/>
                <a:gd name="T3" fmla="*/ 55 h 55"/>
                <a:gd name="T4" fmla="*/ 0 w 40"/>
                <a:gd name="T5" fmla="*/ 9 h 55"/>
                <a:gd name="T6" fmla="*/ 40 w 40"/>
                <a:gd name="T7" fmla="*/ 0 h 55"/>
                <a:gd name="T8" fmla="*/ 37 w 40"/>
                <a:gd name="T9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5">
                  <a:moveTo>
                    <a:pt x="37" y="48"/>
                  </a:moveTo>
                  <a:lnTo>
                    <a:pt x="2" y="55"/>
                  </a:lnTo>
                  <a:lnTo>
                    <a:pt x="0" y="9"/>
                  </a:lnTo>
                  <a:lnTo>
                    <a:pt x="40" y="0"/>
                  </a:lnTo>
                  <a:lnTo>
                    <a:pt x="37" y="48"/>
                  </a:ln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íṡḷïďé">
              <a:extLst>
                <a:ext uri="{FF2B5EF4-FFF2-40B4-BE49-F238E27FC236}">
                  <a16:creationId xmlns:a16="http://schemas.microsoft.com/office/drawing/2014/main" id="{F60D4A93-77E8-4FB5-80CA-65D1972F043E}"/>
                </a:ext>
              </a:extLst>
            </p:cNvPr>
            <p:cNvSpPr/>
            <p:nvPr/>
          </p:nvSpPr>
          <p:spPr bwMode="auto">
            <a:xfrm>
              <a:off x="7300913" y="3157538"/>
              <a:ext cx="271463" cy="274638"/>
            </a:xfrm>
            <a:prstGeom prst="ellipse">
              <a:avLst/>
            </a:pr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ïŝḻíḑê">
              <a:extLst>
                <a:ext uri="{FF2B5EF4-FFF2-40B4-BE49-F238E27FC236}">
                  <a16:creationId xmlns:a16="http://schemas.microsoft.com/office/drawing/2014/main" id="{8F1A70DE-3B50-4FF2-85FC-2A702773A78D}"/>
                </a:ext>
              </a:extLst>
            </p:cNvPr>
            <p:cNvSpPr/>
            <p:nvPr/>
          </p:nvSpPr>
          <p:spPr bwMode="auto">
            <a:xfrm>
              <a:off x="5894388" y="4684713"/>
              <a:ext cx="184150" cy="195263"/>
            </a:xfrm>
            <a:custGeom>
              <a:avLst/>
              <a:gdLst>
                <a:gd name="T0" fmla="*/ 116 w 116"/>
                <a:gd name="T1" fmla="*/ 81 h 123"/>
                <a:gd name="T2" fmla="*/ 0 w 116"/>
                <a:gd name="T3" fmla="*/ 81 h 123"/>
                <a:gd name="T4" fmla="*/ 0 w 116"/>
                <a:gd name="T5" fmla="*/ 123 h 123"/>
                <a:gd name="T6" fmla="*/ 116 w 116"/>
                <a:gd name="T7" fmla="*/ 123 h 123"/>
                <a:gd name="T8" fmla="*/ 116 w 116"/>
                <a:gd name="T9" fmla="*/ 81 h 123"/>
                <a:gd name="T10" fmla="*/ 116 w 116"/>
                <a:gd name="T11" fmla="*/ 0 h 123"/>
                <a:gd name="T12" fmla="*/ 0 w 116"/>
                <a:gd name="T13" fmla="*/ 0 h 123"/>
                <a:gd name="T14" fmla="*/ 0 w 116"/>
                <a:gd name="T15" fmla="*/ 51 h 123"/>
                <a:gd name="T16" fmla="*/ 116 w 116"/>
                <a:gd name="T17" fmla="*/ 51 h 123"/>
                <a:gd name="T18" fmla="*/ 116 w 116"/>
                <a:gd name="T1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3">
                  <a:moveTo>
                    <a:pt x="116" y="81"/>
                  </a:moveTo>
                  <a:lnTo>
                    <a:pt x="0" y="81"/>
                  </a:lnTo>
                  <a:lnTo>
                    <a:pt x="0" y="123"/>
                  </a:lnTo>
                  <a:lnTo>
                    <a:pt x="116" y="123"/>
                  </a:lnTo>
                  <a:lnTo>
                    <a:pt x="116" y="81"/>
                  </a:lnTo>
                  <a:close/>
                  <a:moveTo>
                    <a:pt x="116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116" y="51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íṣľiďê">
              <a:extLst>
                <a:ext uri="{FF2B5EF4-FFF2-40B4-BE49-F238E27FC236}">
                  <a16:creationId xmlns:a16="http://schemas.microsoft.com/office/drawing/2014/main" id="{DA1D1B6C-4CD3-4FF3-AF6D-23B1B1849B79}"/>
                </a:ext>
              </a:extLst>
            </p:cNvPr>
            <p:cNvSpPr/>
            <p:nvPr/>
          </p:nvSpPr>
          <p:spPr bwMode="auto">
            <a:xfrm>
              <a:off x="5894388" y="4684713"/>
              <a:ext cx="184150" cy="195263"/>
            </a:xfrm>
            <a:custGeom>
              <a:avLst/>
              <a:gdLst>
                <a:gd name="T0" fmla="*/ 116 w 116"/>
                <a:gd name="T1" fmla="*/ 81 h 123"/>
                <a:gd name="T2" fmla="*/ 0 w 116"/>
                <a:gd name="T3" fmla="*/ 81 h 123"/>
                <a:gd name="T4" fmla="*/ 0 w 116"/>
                <a:gd name="T5" fmla="*/ 123 h 123"/>
                <a:gd name="T6" fmla="*/ 116 w 116"/>
                <a:gd name="T7" fmla="*/ 123 h 123"/>
                <a:gd name="T8" fmla="*/ 116 w 116"/>
                <a:gd name="T9" fmla="*/ 81 h 123"/>
                <a:gd name="T10" fmla="*/ 116 w 116"/>
                <a:gd name="T11" fmla="*/ 0 h 123"/>
                <a:gd name="T12" fmla="*/ 0 w 116"/>
                <a:gd name="T13" fmla="*/ 0 h 123"/>
                <a:gd name="T14" fmla="*/ 0 w 116"/>
                <a:gd name="T15" fmla="*/ 51 h 123"/>
                <a:gd name="T16" fmla="*/ 116 w 116"/>
                <a:gd name="T17" fmla="*/ 51 h 123"/>
                <a:gd name="T18" fmla="*/ 116 w 116"/>
                <a:gd name="T1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3">
                  <a:moveTo>
                    <a:pt x="116" y="81"/>
                  </a:moveTo>
                  <a:lnTo>
                    <a:pt x="0" y="81"/>
                  </a:lnTo>
                  <a:lnTo>
                    <a:pt x="0" y="123"/>
                  </a:lnTo>
                  <a:lnTo>
                    <a:pt x="116" y="123"/>
                  </a:lnTo>
                  <a:lnTo>
                    <a:pt x="116" y="81"/>
                  </a:lnTo>
                  <a:moveTo>
                    <a:pt x="116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116" y="51"/>
                  </a:lnTo>
                  <a:lnTo>
                    <a:pt x="11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ïšľîḑê">
              <a:extLst>
                <a:ext uri="{FF2B5EF4-FFF2-40B4-BE49-F238E27FC236}">
                  <a16:creationId xmlns:a16="http://schemas.microsoft.com/office/drawing/2014/main" id="{1682184D-4079-49C5-ACA4-529A770B52D1}"/>
                </a:ext>
              </a:extLst>
            </p:cNvPr>
            <p:cNvSpPr/>
            <p:nvPr/>
          </p:nvSpPr>
          <p:spPr bwMode="auto">
            <a:xfrm>
              <a:off x="5894388" y="4675188"/>
              <a:ext cx="184150" cy="9525"/>
            </a:xfrm>
            <a:prstGeom prst="rect">
              <a:avLst/>
            </a:prstGeom>
            <a:solidFill>
              <a:srgbClr val="657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iṡḻíḑê">
              <a:extLst>
                <a:ext uri="{FF2B5EF4-FFF2-40B4-BE49-F238E27FC236}">
                  <a16:creationId xmlns:a16="http://schemas.microsoft.com/office/drawing/2014/main" id="{2BD45407-6828-45B9-9FAA-99AD9B009F89}"/>
                </a:ext>
              </a:extLst>
            </p:cNvPr>
            <p:cNvSpPr/>
            <p:nvPr/>
          </p:nvSpPr>
          <p:spPr bwMode="auto">
            <a:xfrm>
              <a:off x="5894388" y="4675188"/>
              <a:ext cx="184150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íṡlîḋé">
              <a:extLst>
                <a:ext uri="{FF2B5EF4-FFF2-40B4-BE49-F238E27FC236}">
                  <a16:creationId xmlns:a16="http://schemas.microsoft.com/office/drawing/2014/main" id="{E4AF2D46-36F4-4D69-9774-FF3D191FD6F9}"/>
                </a:ext>
              </a:extLst>
            </p:cNvPr>
            <p:cNvSpPr/>
            <p:nvPr/>
          </p:nvSpPr>
          <p:spPr bwMode="auto">
            <a:xfrm>
              <a:off x="5894388" y="4765675"/>
              <a:ext cx="184150" cy="47625"/>
            </a:xfrm>
            <a:prstGeom prst="rect">
              <a:avLst/>
            </a:pr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ísḻîḑè">
              <a:extLst>
                <a:ext uri="{FF2B5EF4-FFF2-40B4-BE49-F238E27FC236}">
                  <a16:creationId xmlns:a16="http://schemas.microsoft.com/office/drawing/2014/main" id="{8A2AD056-A49C-4C10-B369-0E197DCC2142}"/>
                </a:ext>
              </a:extLst>
            </p:cNvPr>
            <p:cNvSpPr/>
            <p:nvPr/>
          </p:nvSpPr>
          <p:spPr bwMode="auto">
            <a:xfrm>
              <a:off x="5894388" y="4765675"/>
              <a:ext cx="184150" cy="47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iŝlïďe">
              <a:extLst>
                <a:ext uri="{FF2B5EF4-FFF2-40B4-BE49-F238E27FC236}">
                  <a16:creationId xmlns:a16="http://schemas.microsoft.com/office/drawing/2014/main" id="{C7B9DB1A-E09B-4E4E-ADD3-7569339EB780}"/>
                </a:ext>
              </a:extLst>
            </p:cNvPr>
            <p:cNvSpPr/>
            <p:nvPr/>
          </p:nvSpPr>
          <p:spPr bwMode="auto">
            <a:xfrm>
              <a:off x="6540500" y="4684713"/>
              <a:ext cx="184150" cy="195263"/>
            </a:xfrm>
            <a:custGeom>
              <a:avLst/>
              <a:gdLst>
                <a:gd name="T0" fmla="*/ 116 w 116"/>
                <a:gd name="T1" fmla="*/ 81 h 123"/>
                <a:gd name="T2" fmla="*/ 0 w 116"/>
                <a:gd name="T3" fmla="*/ 81 h 123"/>
                <a:gd name="T4" fmla="*/ 0 w 116"/>
                <a:gd name="T5" fmla="*/ 123 h 123"/>
                <a:gd name="T6" fmla="*/ 116 w 116"/>
                <a:gd name="T7" fmla="*/ 123 h 123"/>
                <a:gd name="T8" fmla="*/ 116 w 116"/>
                <a:gd name="T9" fmla="*/ 81 h 123"/>
                <a:gd name="T10" fmla="*/ 116 w 116"/>
                <a:gd name="T11" fmla="*/ 0 h 123"/>
                <a:gd name="T12" fmla="*/ 0 w 116"/>
                <a:gd name="T13" fmla="*/ 0 h 123"/>
                <a:gd name="T14" fmla="*/ 0 w 116"/>
                <a:gd name="T15" fmla="*/ 51 h 123"/>
                <a:gd name="T16" fmla="*/ 116 w 116"/>
                <a:gd name="T17" fmla="*/ 51 h 123"/>
                <a:gd name="T18" fmla="*/ 116 w 116"/>
                <a:gd name="T1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3">
                  <a:moveTo>
                    <a:pt x="116" y="81"/>
                  </a:moveTo>
                  <a:lnTo>
                    <a:pt x="0" y="81"/>
                  </a:lnTo>
                  <a:lnTo>
                    <a:pt x="0" y="123"/>
                  </a:lnTo>
                  <a:lnTo>
                    <a:pt x="116" y="123"/>
                  </a:lnTo>
                  <a:lnTo>
                    <a:pt x="116" y="81"/>
                  </a:lnTo>
                  <a:close/>
                  <a:moveTo>
                    <a:pt x="116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116" y="51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D5D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ṥḻiḑe">
              <a:extLst>
                <a:ext uri="{FF2B5EF4-FFF2-40B4-BE49-F238E27FC236}">
                  <a16:creationId xmlns:a16="http://schemas.microsoft.com/office/drawing/2014/main" id="{0A8BBF04-5ED3-44C4-AADB-DF35F4E495B3}"/>
                </a:ext>
              </a:extLst>
            </p:cNvPr>
            <p:cNvSpPr/>
            <p:nvPr/>
          </p:nvSpPr>
          <p:spPr bwMode="auto">
            <a:xfrm>
              <a:off x="6540500" y="4684713"/>
              <a:ext cx="184150" cy="195263"/>
            </a:xfrm>
            <a:custGeom>
              <a:avLst/>
              <a:gdLst>
                <a:gd name="T0" fmla="*/ 116 w 116"/>
                <a:gd name="T1" fmla="*/ 81 h 123"/>
                <a:gd name="T2" fmla="*/ 0 w 116"/>
                <a:gd name="T3" fmla="*/ 81 h 123"/>
                <a:gd name="T4" fmla="*/ 0 w 116"/>
                <a:gd name="T5" fmla="*/ 123 h 123"/>
                <a:gd name="T6" fmla="*/ 116 w 116"/>
                <a:gd name="T7" fmla="*/ 123 h 123"/>
                <a:gd name="T8" fmla="*/ 116 w 116"/>
                <a:gd name="T9" fmla="*/ 81 h 123"/>
                <a:gd name="T10" fmla="*/ 116 w 116"/>
                <a:gd name="T11" fmla="*/ 0 h 123"/>
                <a:gd name="T12" fmla="*/ 0 w 116"/>
                <a:gd name="T13" fmla="*/ 0 h 123"/>
                <a:gd name="T14" fmla="*/ 0 w 116"/>
                <a:gd name="T15" fmla="*/ 51 h 123"/>
                <a:gd name="T16" fmla="*/ 116 w 116"/>
                <a:gd name="T17" fmla="*/ 51 h 123"/>
                <a:gd name="T18" fmla="*/ 116 w 116"/>
                <a:gd name="T1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3">
                  <a:moveTo>
                    <a:pt x="116" y="81"/>
                  </a:moveTo>
                  <a:lnTo>
                    <a:pt x="0" y="81"/>
                  </a:lnTo>
                  <a:lnTo>
                    <a:pt x="0" y="123"/>
                  </a:lnTo>
                  <a:lnTo>
                    <a:pt x="116" y="123"/>
                  </a:lnTo>
                  <a:lnTo>
                    <a:pt x="116" y="81"/>
                  </a:lnTo>
                  <a:moveTo>
                    <a:pt x="116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116" y="51"/>
                  </a:lnTo>
                  <a:lnTo>
                    <a:pt x="11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îšḷïḑè">
              <a:extLst>
                <a:ext uri="{FF2B5EF4-FFF2-40B4-BE49-F238E27FC236}">
                  <a16:creationId xmlns:a16="http://schemas.microsoft.com/office/drawing/2014/main" id="{EAFAB5C4-17D0-4FE3-88C3-00B6FAF77EA4}"/>
                </a:ext>
              </a:extLst>
            </p:cNvPr>
            <p:cNvSpPr/>
            <p:nvPr/>
          </p:nvSpPr>
          <p:spPr bwMode="auto">
            <a:xfrm>
              <a:off x="6540500" y="4765675"/>
              <a:ext cx="184150" cy="47625"/>
            </a:xfrm>
            <a:prstGeom prst="rect">
              <a:avLst/>
            </a:pr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îṩ1ïďe">
              <a:extLst>
                <a:ext uri="{FF2B5EF4-FFF2-40B4-BE49-F238E27FC236}">
                  <a16:creationId xmlns:a16="http://schemas.microsoft.com/office/drawing/2014/main" id="{A63FD577-15C4-43DE-ABBA-DE4A8C133D35}"/>
                </a:ext>
              </a:extLst>
            </p:cNvPr>
            <p:cNvSpPr/>
            <p:nvPr/>
          </p:nvSpPr>
          <p:spPr bwMode="auto">
            <a:xfrm>
              <a:off x="6540500" y="4765675"/>
              <a:ext cx="184150" cy="47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îṣľïḓé">
              <a:extLst>
                <a:ext uri="{FF2B5EF4-FFF2-40B4-BE49-F238E27FC236}">
                  <a16:creationId xmlns:a16="http://schemas.microsoft.com/office/drawing/2014/main" id="{60707D67-49B3-4F75-8B57-448DC9B461B6}"/>
                </a:ext>
              </a:extLst>
            </p:cNvPr>
            <p:cNvSpPr/>
            <p:nvPr/>
          </p:nvSpPr>
          <p:spPr bwMode="auto">
            <a:xfrm>
              <a:off x="5953125" y="3341688"/>
              <a:ext cx="531813" cy="611188"/>
            </a:xfrm>
            <a:custGeom>
              <a:avLst/>
              <a:gdLst>
                <a:gd name="T0" fmla="*/ 60 w 153"/>
                <a:gd name="T1" fmla="*/ 0 h 176"/>
                <a:gd name="T2" fmla="*/ 38 w 153"/>
                <a:gd name="T3" fmla="*/ 27 h 176"/>
                <a:gd name="T4" fmla="*/ 27 w 153"/>
                <a:gd name="T5" fmla="*/ 50 h 176"/>
                <a:gd name="T6" fmla="*/ 17 w 153"/>
                <a:gd name="T7" fmla="*/ 78 h 176"/>
                <a:gd name="T8" fmla="*/ 1 w 153"/>
                <a:gd name="T9" fmla="*/ 95 h 176"/>
                <a:gd name="T10" fmla="*/ 2 w 153"/>
                <a:gd name="T11" fmla="*/ 117 h 176"/>
                <a:gd name="T12" fmla="*/ 23 w 153"/>
                <a:gd name="T13" fmla="*/ 144 h 176"/>
                <a:gd name="T14" fmla="*/ 50 w 153"/>
                <a:gd name="T15" fmla="*/ 158 h 176"/>
                <a:gd name="T16" fmla="*/ 96 w 153"/>
                <a:gd name="T17" fmla="*/ 176 h 176"/>
                <a:gd name="T18" fmla="*/ 119 w 153"/>
                <a:gd name="T19" fmla="*/ 154 h 176"/>
                <a:gd name="T20" fmla="*/ 111 w 153"/>
                <a:gd name="T21" fmla="*/ 142 h 176"/>
                <a:gd name="T22" fmla="*/ 138 w 153"/>
                <a:gd name="T23" fmla="*/ 125 h 176"/>
                <a:gd name="T24" fmla="*/ 153 w 153"/>
                <a:gd name="T25" fmla="*/ 111 h 176"/>
                <a:gd name="T26" fmla="*/ 151 w 153"/>
                <a:gd name="T27" fmla="*/ 95 h 176"/>
                <a:gd name="T28" fmla="*/ 137 w 153"/>
                <a:gd name="T29" fmla="*/ 56 h 176"/>
                <a:gd name="T30" fmla="*/ 119 w 153"/>
                <a:gd name="T31" fmla="*/ 29 h 176"/>
                <a:gd name="T32" fmla="*/ 109 w 153"/>
                <a:gd name="T33" fmla="*/ 12 h 176"/>
                <a:gd name="T34" fmla="*/ 60 w 153"/>
                <a:gd name="T3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3" h="176">
                  <a:moveTo>
                    <a:pt x="60" y="0"/>
                  </a:moveTo>
                  <a:cubicBezTo>
                    <a:pt x="38" y="27"/>
                    <a:pt x="38" y="27"/>
                    <a:pt x="38" y="27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0" y="94"/>
                    <a:pt x="1" y="95"/>
                  </a:cubicBezTo>
                  <a:cubicBezTo>
                    <a:pt x="2" y="95"/>
                    <a:pt x="0" y="114"/>
                    <a:pt x="2" y="117"/>
                  </a:cubicBezTo>
                  <a:cubicBezTo>
                    <a:pt x="4" y="120"/>
                    <a:pt x="23" y="144"/>
                    <a:pt x="23" y="144"/>
                  </a:cubicBezTo>
                  <a:cubicBezTo>
                    <a:pt x="23" y="144"/>
                    <a:pt x="42" y="156"/>
                    <a:pt x="50" y="158"/>
                  </a:cubicBezTo>
                  <a:cubicBezTo>
                    <a:pt x="58" y="160"/>
                    <a:pt x="96" y="176"/>
                    <a:pt x="96" y="176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11" y="142"/>
                    <a:pt x="111" y="142"/>
                    <a:pt x="111" y="142"/>
                  </a:cubicBezTo>
                  <a:cubicBezTo>
                    <a:pt x="111" y="142"/>
                    <a:pt x="135" y="127"/>
                    <a:pt x="138" y="125"/>
                  </a:cubicBezTo>
                  <a:cubicBezTo>
                    <a:pt x="141" y="123"/>
                    <a:pt x="153" y="111"/>
                    <a:pt x="153" y="111"/>
                  </a:cubicBezTo>
                  <a:cubicBezTo>
                    <a:pt x="153" y="111"/>
                    <a:pt x="152" y="101"/>
                    <a:pt x="151" y="95"/>
                  </a:cubicBezTo>
                  <a:cubicBezTo>
                    <a:pt x="149" y="88"/>
                    <a:pt x="137" y="56"/>
                    <a:pt x="137" y="56"/>
                  </a:cubicBezTo>
                  <a:cubicBezTo>
                    <a:pt x="137" y="56"/>
                    <a:pt x="121" y="33"/>
                    <a:pt x="119" y="29"/>
                  </a:cubicBezTo>
                  <a:cubicBezTo>
                    <a:pt x="118" y="25"/>
                    <a:pt x="109" y="12"/>
                    <a:pt x="109" y="12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ïṩľiḑê">
              <a:extLst>
                <a:ext uri="{FF2B5EF4-FFF2-40B4-BE49-F238E27FC236}">
                  <a16:creationId xmlns:a16="http://schemas.microsoft.com/office/drawing/2014/main" id="{4062E356-2843-423A-AF72-4F0C096DA897}"/>
                </a:ext>
              </a:extLst>
            </p:cNvPr>
            <p:cNvSpPr/>
            <p:nvPr/>
          </p:nvSpPr>
          <p:spPr bwMode="auto">
            <a:xfrm>
              <a:off x="5962650" y="3838575"/>
              <a:ext cx="528638" cy="593725"/>
            </a:xfrm>
            <a:custGeom>
              <a:avLst/>
              <a:gdLst>
                <a:gd name="T0" fmla="*/ 152 w 152"/>
                <a:gd name="T1" fmla="*/ 169 h 171"/>
                <a:gd name="T2" fmla="*/ 1 w 152"/>
                <a:gd name="T3" fmla="*/ 171 h 171"/>
                <a:gd name="T4" fmla="*/ 0 w 152"/>
                <a:gd name="T5" fmla="*/ 17 h 171"/>
                <a:gd name="T6" fmla="*/ 16 w 152"/>
                <a:gd name="T7" fmla="*/ 1 h 171"/>
                <a:gd name="T8" fmla="*/ 134 w 152"/>
                <a:gd name="T9" fmla="*/ 0 h 171"/>
                <a:gd name="T10" fmla="*/ 151 w 152"/>
                <a:gd name="T11" fmla="*/ 16 h 171"/>
                <a:gd name="T12" fmla="*/ 152 w 152"/>
                <a:gd name="T13" fmla="*/ 16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71">
                  <a:moveTo>
                    <a:pt x="152" y="169"/>
                  </a:moveTo>
                  <a:cubicBezTo>
                    <a:pt x="1" y="171"/>
                    <a:pt x="1" y="171"/>
                    <a:pt x="1" y="17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1"/>
                    <a:pt x="16" y="1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3" y="0"/>
                    <a:pt x="151" y="7"/>
                    <a:pt x="151" y="16"/>
                  </a:cubicBezTo>
                  <a:lnTo>
                    <a:pt x="152" y="169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î$ľïḓe">
              <a:extLst>
                <a:ext uri="{FF2B5EF4-FFF2-40B4-BE49-F238E27FC236}">
                  <a16:creationId xmlns:a16="http://schemas.microsoft.com/office/drawing/2014/main" id="{FAD80317-D5B7-40E7-95C4-25B971A08C65}"/>
                </a:ext>
              </a:extLst>
            </p:cNvPr>
            <p:cNvSpPr/>
            <p:nvPr/>
          </p:nvSpPr>
          <p:spPr bwMode="auto">
            <a:xfrm>
              <a:off x="6126163" y="3810000"/>
              <a:ext cx="227013" cy="444500"/>
            </a:xfrm>
            <a:custGeom>
              <a:avLst/>
              <a:gdLst>
                <a:gd name="T0" fmla="*/ 0 w 65"/>
                <a:gd name="T1" fmla="*/ 9 h 128"/>
                <a:gd name="T2" fmla="*/ 11 w 65"/>
                <a:gd name="T3" fmla="*/ 50 h 128"/>
                <a:gd name="T4" fmla="*/ 12 w 65"/>
                <a:gd name="T5" fmla="*/ 128 h 128"/>
                <a:gd name="T6" fmla="*/ 46 w 65"/>
                <a:gd name="T7" fmla="*/ 128 h 128"/>
                <a:gd name="T8" fmla="*/ 46 w 65"/>
                <a:gd name="T9" fmla="*/ 48 h 128"/>
                <a:gd name="T10" fmla="*/ 65 w 65"/>
                <a:gd name="T11" fmla="*/ 0 h 128"/>
                <a:gd name="T12" fmla="*/ 28 w 65"/>
                <a:gd name="T13" fmla="*/ 1 h 128"/>
                <a:gd name="T14" fmla="*/ 0 w 65"/>
                <a:gd name="T15" fmla="*/ 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128">
                  <a:moveTo>
                    <a:pt x="0" y="9"/>
                  </a:moveTo>
                  <a:cubicBezTo>
                    <a:pt x="0" y="9"/>
                    <a:pt x="11" y="22"/>
                    <a:pt x="11" y="50"/>
                  </a:cubicBezTo>
                  <a:cubicBezTo>
                    <a:pt x="11" y="77"/>
                    <a:pt x="12" y="128"/>
                    <a:pt x="12" y="128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8"/>
                    <a:pt x="43" y="21"/>
                    <a:pt x="65" y="0"/>
                  </a:cubicBezTo>
                  <a:cubicBezTo>
                    <a:pt x="28" y="1"/>
                    <a:pt x="28" y="1"/>
                    <a:pt x="28" y="1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iṡḷidè">
              <a:extLst>
                <a:ext uri="{FF2B5EF4-FFF2-40B4-BE49-F238E27FC236}">
                  <a16:creationId xmlns:a16="http://schemas.microsoft.com/office/drawing/2014/main" id="{67343540-9D5D-4940-BE6F-5FAA7ECDD630}"/>
                </a:ext>
              </a:extLst>
            </p:cNvPr>
            <p:cNvSpPr/>
            <p:nvPr/>
          </p:nvSpPr>
          <p:spPr bwMode="auto">
            <a:xfrm>
              <a:off x="6154738" y="3684588"/>
              <a:ext cx="128588" cy="268288"/>
            </a:xfrm>
            <a:custGeom>
              <a:avLst/>
              <a:gdLst>
                <a:gd name="T0" fmla="*/ 19 w 37"/>
                <a:gd name="T1" fmla="*/ 77 h 77"/>
                <a:gd name="T2" fmla="*/ 19 w 37"/>
                <a:gd name="T3" fmla="*/ 77 h 77"/>
                <a:gd name="T4" fmla="*/ 1 w 37"/>
                <a:gd name="T5" fmla="*/ 59 h 77"/>
                <a:gd name="T6" fmla="*/ 0 w 37"/>
                <a:gd name="T7" fmla="*/ 3 h 77"/>
                <a:gd name="T8" fmla="*/ 3 w 37"/>
                <a:gd name="T9" fmla="*/ 0 h 77"/>
                <a:gd name="T10" fmla="*/ 34 w 37"/>
                <a:gd name="T11" fmla="*/ 0 h 77"/>
                <a:gd name="T12" fmla="*/ 37 w 37"/>
                <a:gd name="T13" fmla="*/ 3 h 77"/>
                <a:gd name="T14" fmla="*/ 37 w 37"/>
                <a:gd name="T15" fmla="*/ 58 h 77"/>
                <a:gd name="T16" fmla="*/ 19 w 37"/>
                <a:gd name="T1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77">
                  <a:moveTo>
                    <a:pt x="19" y="77"/>
                  </a:moveTo>
                  <a:cubicBezTo>
                    <a:pt x="19" y="77"/>
                    <a:pt x="19" y="77"/>
                    <a:pt x="19" y="77"/>
                  </a:cubicBezTo>
                  <a:cubicBezTo>
                    <a:pt x="9" y="77"/>
                    <a:pt x="1" y="69"/>
                    <a:pt x="1" y="5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6" y="0"/>
                    <a:pt x="37" y="1"/>
                    <a:pt x="37" y="3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69"/>
                    <a:pt x="29" y="77"/>
                    <a:pt x="19" y="77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îŝľíďe">
              <a:extLst>
                <a:ext uri="{FF2B5EF4-FFF2-40B4-BE49-F238E27FC236}">
                  <a16:creationId xmlns:a16="http://schemas.microsoft.com/office/drawing/2014/main" id="{A1345181-CAAC-414B-9E1F-ED93DD09C914}"/>
                </a:ext>
              </a:extLst>
            </p:cNvPr>
            <p:cNvSpPr/>
            <p:nvPr/>
          </p:nvSpPr>
          <p:spPr bwMode="auto">
            <a:xfrm>
              <a:off x="5994400" y="3344863"/>
              <a:ext cx="447675" cy="306388"/>
            </a:xfrm>
            <a:custGeom>
              <a:avLst/>
              <a:gdLst>
                <a:gd name="T0" fmla="*/ 129 w 129"/>
                <a:gd name="T1" fmla="*/ 88 h 88"/>
                <a:gd name="T2" fmla="*/ 129 w 129"/>
                <a:gd name="T3" fmla="*/ 86 h 88"/>
                <a:gd name="T4" fmla="*/ 127 w 129"/>
                <a:gd name="T5" fmla="*/ 70 h 88"/>
                <a:gd name="T6" fmla="*/ 127 w 129"/>
                <a:gd name="T7" fmla="*/ 63 h 88"/>
                <a:gd name="T8" fmla="*/ 63 w 129"/>
                <a:gd name="T9" fmla="*/ 0 h 88"/>
                <a:gd name="T10" fmla="*/ 0 w 129"/>
                <a:gd name="T11" fmla="*/ 63 h 88"/>
                <a:gd name="T12" fmla="*/ 0 w 129"/>
                <a:gd name="T13" fmla="*/ 88 h 88"/>
                <a:gd name="T14" fmla="*/ 129 w 129"/>
                <a:gd name="T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88">
                  <a:moveTo>
                    <a:pt x="129" y="88"/>
                  </a:moveTo>
                  <a:cubicBezTo>
                    <a:pt x="129" y="88"/>
                    <a:pt x="129" y="87"/>
                    <a:pt x="129" y="86"/>
                  </a:cubicBezTo>
                  <a:cubicBezTo>
                    <a:pt x="129" y="81"/>
                    <a:pt x="128" y="75"/>
                    <a:pt x="127" y="70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7" y="28"/>
                    <a:pt x="98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88"/>
                    <a:pt x="0" y="88"/>
                    <a:pt x="0" y="88"/>
                  </a:cubicBezTo>
                  <a:lnTo>
                    <a:pt x="129" y="88"/>
                  </a:lnTo>
                  <a:close/>
                </a:path>
              </a:pathLst>
            </a:custGeom>
            <a:solidFill>
              <a:srgbClr val="9B53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íSḷiḍè">
              <a:extLst>
                <a:ext uri="{FF2B5EF4-FFF2-40B4-BE49-F238E27FC236}">
                  <a16:creationId xmlns:a16="http://schemas.microsoft.com/office/drawing/2014/main" id="{86A261FC-B4C3-4654-BB74-3E46DAC98580}"/>
                </a:ext>
              </a:extLst>
            </p:cNvPr>
            <p:cNvSpPr/>
            <p:nvPr/>
          </p:nvSpPr>
          <p:spPr bwMode="auto">
            <a:xfrm>
              <a:off x="6011863" y="3365500"/>
              <a:ext cx="414338" cy="482600"/>
            </a:xfrm>
            <a:custGeom>
              <a:avLst/>
              <a:gdLst>
                <a:gd name="T0" fmla="*/ 117 w 119"/>
                <a:gd name="T1" fmla="*/ 64 h 139"/>
                <a:gd name="T2" fmla="*/ 117 w 119"/>
                <a:gd name="T3" fmla="*/ 58 h 139"/>
                <a:gd name="T4" fmla="*/ 59 w 119"/>
                <a:gd name="T5" fmla="*/ 0 h 139"/>
                <a:gd name="T6" fmla="*/ 0 w 119"/>
                <a:gd name="T7" fmla="*/ 58 h 139"/>
                <a:gd name="T8" fmla="*/ 0 w 119"/>
                <a:gd name="T9" fmla="*/ 82 h 139"/>
                <a:gd name="T10" fmla="*/ 0 w 119"/>
                <a:gd name="T11" fmla="*/ 87 h 139"/>
                <a:gd name="T12" fmla="*/ 59 w 119"/>
                <a:gd name="T13" fmla="*/ 139 h 139"/>
                <a:gd name="T14" fmla="*/ 119 w 119"/>
                <a:gd name="T15" fmla="*/ 79 h 139"/>
                <a:gd name="T16" fmla="*/ 117 w 119"/>
                <a:gd name="T17" fmla="*/ 6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139">
                  <a:moveTo>
                    <a:pt x="117" y="64"/>
                  </a:moveTo>
                  <a:cubicBezTo>
                    <a:pt x="117" y="58"/>
                    <a:pt x="117" y="58"/>
                    <a:pt x="117" y="58"/>
                  </a:cubicBezTo>
                  <a:cubicBezTo>
                    <a:pt x="117" y="26"/>
                    <a:pt x="91" y="0"/>
                    <a:pt x="59" y="0"/>
                  </a:cubicBezTo>
                  <a:cubicBezTo>
                    <a:pt x="26" y="0"/>
                    <a:pt x="0" y="26"/>
                    <a:pt x="0" y="58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4"/>
                    <a:pt x="0" y="85"/>
                    <a:pt x="0" y="87"/>
                  </a:cubicBezTo>
                  <a:cubicBezTo>
                    <a:pt x="4" y="116"/>
                    <a:pt x="29" y="139"/>
                    <a:pt x="59" y="139"/>
                  </a:cubicBezTo>
                  <a:cubicBezTo>
                    <a:pt x="92" y="139"/>
                    <a:pt x="119" y="112"/>
                    <a:pt x="119" y="79"/>
                  </a:cubicBezTo>
                  <a:cubicBezTo>
                    <a:pt x="119" y="74"/>
                    <a:pt x="118" y="69"/>
                    <a:pt x="117" y="64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îšḷiḋe">
              <a:extLst>
                <a:ext uri="{FF2B5EF4-FFF2-40B4-BE49-F238E27FC236}">
                  <a16:creationId xmlns:a16="http://schemas.microsoft.com/office/drawing/2014/main" id="{BA19AA14-01A8-408D-8110-BA651283A591}"/>
                </a:ext>
              </a:extLst>
            </p:cNvPr>
            <p:cNvSpPr/>
            <p:nvPr/>
          </p:nvSpPr>
          <p:spPr bwMode="auto">
            <a:xfrm>
              <a:off x="6122988" y="3660775"/>
              <a:ext cx="31750" cy="31750"/>
            </a:xfrm>
            <a:prstGeom prst="ellipse">
              <a:avLst/>
            </a:pr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ïṩľidè">
              <a:extLst>
                <a:ext uri="{FF2B5EF4-FFF2-40B4-BE49-F238E27FC236}">
                  <a16:creationId xmlns:a16="http://schemas.microsoft.com/office/drawing/2014/main" id="{F1113926-841B-43C4-8D29-6E16BC0F8DED}"/>
                </a:ext>
              </a:extLst>
            </p:cNvPr>
            <p:cNvSpPr/>
            <p:nvPr/>
          </p:nvSpPr>
          <p:spPr bwMode="auto">
            <a:xfrm>
              <a:off x="6269038" y="3660775"/>
              <a:ext cx="31750" cy="31750"/>
            </a:xfrm>
            <a:prstGeom prst="ellipse">
              <a:avLst/>
            </a:pr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iṧḷïďé">
              <a:extLst>
                <a:ext uri="{FF2B5EF4-FFF2-40B4-BE49-F238E27FC236}">
                  <a16:creationId xmlns:a16="http://schemas.microsoft.com/office/drawing/2014/main" id="{FC82C2C1-D29C-4A82-9F29-61122AE5E81A}"/>
                </a:ext>
              </a:extLst>
            </p:cNvPr>
            <p:cNvSpPr/>
            <p:nvPr/>
          </p:nvSpPr>
          <p:spPr bwMode="auto">
            <a:xfrm>
              <a:off x="5956300" y="3613150"/>
              <a:ext cx="114300" cy="114300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íśļiḋe">
              <a:extLst>
                <a:ext uri="{FF2B5EF4-FFF2-40B4-BE49-F238E27FC236}">
                  <a16:creationId xmlns:a16="http://schemas.microsoft.com/office/drawing/2014/main" id="{767BE87E-D95C-4B21-93EF-2851565CFC6C}"/>
                </a:ext>
              </a:extLst>
            </p:cNvPr>
            <p:cNvSpPr/>
            <p:nvPr/>
          </p:nvSpPr>
          <p:spPr bwMode="auto">
            <a:xfrm>
              <a:off x="6362700" y="3613150"/>
              <a:ext cx="114300" cy="114300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iṡļíďé">
              <a:extLst>
                <a:ext uri="{FF2B5EF4-FFF2-40B4-BE49-F238E27FC236}">
                  <a16:creationId xmlns:a16="http://schemas.microsoft.com/office/drawing/2014/main" id="{827CF3FE-AC84-4174-8A29-08D3CD0E63D5}"/>
                </a:ext>
              </a:extLst>
            </p:cNvPr>
            <p:cNvSpPr/>
            <p:nvPr/>
          </p:nvSpPr>
          <p:spPr bwMode="auto">
            <a:xfrm>
              <a:off x="5737225" y="4521200"/>
              <a:ext cx="493713" cy="1041400"/>
            </a:xfrm>
            <a:custGeom>
              <a:avLst/>
              <a:gdLst>
                <a:gd name="T0" fmla="*/ 142 w 142"/>
                <a:gd name="T1" fmla="*/ 40 h 300"/>
                <a:gd name="T2" fmla="*/ 68 w 142"/>
                <a:gd name="T3" fmla="*/ 75 h 300"/>
                <a:gd name="T4" fmla="*/ 82 w 142"/>
                <a:gd name="T5" fmla="*/ 300 h 300"/>
                <a:gd name="T6" fmla="*/ 55 w 142"/>
                <a:gd name="T7" fmla="*/ 300 h 300"/>
                <a:gd name="T8" fmla="*/ 2 w 142"/>
                <a:gd name="T9" fmla="*/ 69 h 300"/>
                <a:gd name="T10" fmla="*/ 13 w 142"/>
                <a:gd name="T11" fmla="*/ 43 h 300"/>
                <a:gd name="T12" fmla="*/ 83 w 142"/>
                <a:gd name="T13" fmla="*/ 0 h 300"/>
                <a:gd name="T14" fmla="*/ 142 w 142"/>
                <a:gd name="T15" fmla="*/ 4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00">
                  <a:moveTo>
                    <a:pt x="142" y="40"/>
                  </a:moveTo>
                  <a:cubicBezTo>
                    <a:pt x="68" y="75"/>
                    <a:pt x="68" y="75"/>
                    <a:pt x="68" y="75"/>
                  </a:cubicBezTo>
                  <a:cubicBezTo>
                    <a:pt x="82" y="300"/>
                    <a:pt x="82" y="300"/>
                    <a:pt x="82" y="300"/>
                  </a:cubicBezTo>
                  <a:cubicBezTo>
                    <a:pt x="55" y="300"/>
                    <a:pt x="55" y="300"/>
                    <a:pt x="55" y="300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0" y="59"/>
                    <a:pt x="4" y="49"/>
                    <a:pt x="13" y="43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42" y="40"/>
                  </a:ln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iŝḻiḋê">
              <a:extLst>
                <a:ext uri="{FF2B5EF4-FFF2-40B4-BE49-F238E27FC236}">
                  <a16:creationId xmlns:a16="http://schemas.microsoft.com/office/drawing/2014/main" id="{12A49C13-67C3-42E9-845C-4746061D225E}"/>
                </a:ext>
              </a:extLst>
            </p:cNvPr>
            <p:cNvSpPr/>
            <p:nvPr/>
          </p:nvSpPr>
          <p:spPr bwMode="auto">
            <a:xfrm>
              <a:off x="5976938" y="3633788"/>
              <a:ext cx="34925" cy="73025"/>
            </a:xfrm>
            <a:custGeom>
              <a:avLst/>
              <a:gdLst>
                <a:gd name="T0" fmla="*/ 10 w 10"/>
                <a:gd name="T1" fmla="*/ 0 h 21"/>
                <a:gd name="T2" fmla="*/ 0 w 10"/>
                <a:gd name="T3" fmla="*/ 11 h 21"/>
                <a:gd name="T4" fmla="*/ 10 w 10"/>
                <a:gd name="T5" fmla="*/ 21 h 21"/>
                <a:gd name="T6" fmla="*/ 10 w 10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10" y="0"/>
                  </a:moveTo>
                  <a:cubicBezTo>
                    <a:pt x="4" y="0"/>
                    <a:pt x="0" y="5"/>
                    <a:pt x="0" y="11"/>
                  </a:cubicBezTo>
                  <a:cubicBezTo>
                    <a:pt x="0" y="16"/>
                    <a:pt x="4" y="21"/>
                    <a:pt x="10" y="21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D9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íş1îḍé">
              <a:extLst>
                <a:ext uri="{FF2B5EF4-FFF2-40B4-BE49-F238E27FC236}">
                  <a16:creationId xmlns:a16="http://schemas.microsoft.com/office/drawing/2014/main" id="{BEA1774F-7553-4C1A-AE2C-C02E74744461}"/>
                </a:ext>
              </a:extLst>
            </p:cNvPr>
            <p:cNvSpPr/>
            <p:nvPr/>
          </p:nvSpPr>
          <p:spPr bwMode="auto">
            <a:xfrm>
              <a:off x="6415088" y="3633788"/>
              <a:ext cx="34925" cy="73025"/>
            </a:xfrm>
            <a:custGeom>
              <a:avLst/>
              <a:gdLst>
                <a:gd name="T0" fmla="*/ 0 w 10"/>
                <a:gd name="T1" fmla="*/ 0 h 21"/>
                <a:gd name="T2" fmla="*/ 10 w 10"/>
                <a:gd name="T3" fmla="*/ 11 h 21"/>
                <a:gd name="T4" fmla="*/ 0 w 10"/>
                <a:gd name="T5" fmla="*/ 21 h 21"/>
                <a:gd name="T6" fmla="*/ 0 w 10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1">
                  <a:moveTo>
                    <a:pt x="0" y="0"/>
                  </a:moveTo>
                  <a:cubicBezTo>
                    <a:pt x="6" y="0"/>
                    <a:pt x="10" y="5"/>
                    <a:pt x="10" y="11"/>
                  </a:cubicBezTo>
                  <a:cubicBezTo>
                    <a:pt x="10" y="16"/>
                    <a:pt x="6" y="21"/>
                    <a:pt x="0" y="2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9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ïŝļiḍe">
              <a:extLst>
                <a:ext uri="{FF2B5EF4-FFF2-40B4-BE49-F238E27FC236}">
                  <a16:creationId xmlns:a16="http://schemas.microsoft.com/office/drawing/2014/main" id="{5F18A5E6-2717-4CB3-938A-2464B1409FCC}"/>
                </a:ext>
              </a:extLst>
            </p:cNvPr>
            <p:cNvSpPr/>
            <p:nvPr/>
          </p:nvSpPr>
          <p:spPr bwMode="auto">
            <a:xfrm>
              <a:off x="6169025" y="4000500"/>
              <a:ext cx="117475" cy="628650"/>
            </a:xfrm>
            <a:prstGeom prst="rect">
              <a:avLst/>
            </a:pr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iṩ1iḓe">
              <a:extLst>
                <a:ext uri="{FF2B5EF4-FFF2-40B4-BE49-F238E27FC236}">
                  <a16:creationId xmlns:a16="http://schemas.microsoft.com/office/drawing/2014/main" id="{BF0514CE-77CA-4A14-A052-465DC97D3BAA}"/>
                </a:ext>
              </a:extLst>
            </p:cNvPr>
            <p:cNvSpPr/>
            <p:nvPr/>
          </p:nvSpPr>
          <p:spPr bwMode="auto">
            <a:xfrm>
              <a:off x="6327775" y="3473450"/>
              <a:ext cx="119063" cy="163513"/>
            </a:xfrm>
            <a:custGeom>
              <a:avLst/>
              <a:gdLst>
                <a:gd name="T0" fmla="*/ 9 w 34"/>
                <a:gd name="T1" fmla="*/ 33 h 47"/>
                <a:gd name="T2" fmla="*/ 18 w 34"/>
                <a:gd name="T3" fmla="*/ 46 h 47"/>
                <a:gd name="T4" fmla="*/ 29 w 34"/>
                <a:gd name="T5" fmla="*/ 42 h 47"/>
                <a:gd name="T6" fmla="*/ 33 w 34"/>
                <a:gd name="T7" fmla="*/ 37 h 47"/>
                <a:gd name="T8" fmla="*/ 32 w 34"/>
                <a:gd name="T9" fmla="*/ 32 h 47"/>
                <a:gd name="T10" fmla="*/ 20 w 34"/>
                <a:gd name="T11" fmla="*/ 13 h 47"/>
                <a:gd name="T12" fmla="*/ 3 w 34"/>
                <a:gd name="T13" fmla="*/ 9 h 47"/>
                <a:gd name="T14" fmla="*/ 9 w 34"/>
                <a:gd name="T15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7">
                  <a:moveTo>
                    <a:pt x="9" y="33"/>
                  </a:moveTo>
                  <a:cubicBezTo>
                    <a:pt x="10" y="38"/>
                    <a:pt x="13" y="44"/>
                    <a:pt x="18" y="46"/>
                  </a:cubicBezTo>
                  <a:cubicBezTo>
                    <a:pt x="22" y="47"/>
                    <a:pt x="26" y="45"/>
                    <a:pt x="29" y="42"/>
                  </a:cubicBezTo>
                  <a:cubicBezTo>
                    <a:pt x="31" y="41"/>
                    <a:pt x="33" y="39"/>
                    <a:pt x="33" y="37"/>
                  </a:cubicBezTo>
                  <a:cubicBezTo>
                    <a:pt x="34" y="35"/>
                    <a:pt x="33" y="33"/>
                    <a:pt x="32" y="32"/>
                  </a:cubicBezTo>
                  <a:cubicBezTo>
                    <a:pt x="28" y="25"/>
                    <a:pt x="25" y="19"/>
                    <a:pt x="20" y="13"/>
                  </a:cubicBezTo>
                  <a:cubicBezTo>
                    <a:pt x="15" y="8"/>
                    <a:pt x="8" y="0"/>
                    <a:pt x="3" y="9"/>
                  </a:cubicBezTo>
                  <a:cubicBezTo>
                    <a:pt x="0" y="14"/>
                    <a:pt x="7" y="28"/>
                    <a:pt x="9" y="33"/>
                  </a:cubicBez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îṥļîďê">
              <a:extLst>
                <a:ext uri="{FF2B5EF4-FFF2-40B4-BE49-F238E27FC236}">
                  <a16:creationId xmlns:a16="http://schemas.microsoft.com/office/drawing/2014/main" id="{DC693E09-3910-4064-ACD3-85BCDF2D750F}"/>
                </a:ext>
              </a:extLst>
            </p:cNvPr>
            <p:cNvSpPr/>
            <p:nvPr/>
          </p:nvSpPr>
          <p:spPr bwMode="auto">
            <a:xfrm>
              <a:off x="6061075" y="3370263"/>
              <a:ext cx="319088" cy="176213"/>
            </a:xfrm>
            <a:custGeom>
              <a:avLst/>
              <a:gdLst>
                <a:gd name="T0" fmla="*/ 92 w 92"/>
                <a:gd name="T1" fmla="*/ 26 h 51"/>
                <a:gd name="T2" fmla="*/ 46 w 92"/>
                <a:gd name="T3" fmla="*/ 11 h 51"/>
                <a:gd name="T4" fmla="*/ 46 w 92"/>
                <a:gd name="T5" fmla="*/ 0 h 51"/>
                <a:gd name="T6" fmla="*/ 0 w 92"/>
                <a:gd name="T7" fmla="*/ 26 h 51"/>
                <a:gd name="T8" fmla="*/ 46 w 92"/>
                <a:gd name="T9" fmla="*/ 51 h 51"/>
                <a:gd name="T10" fmla="*/ 92 w 92"/>
                <a:gd name="T11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51">
                  <a:moveTo>
                    <a:pt x="92" y="26"/>
                  </a:moveTo>
                  <a:cubicBezTo>
                    <a:pt x="79" y="16"/>
                    <a:pt x="63" y="11"/>
                    <a:pt x="46" y="11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9" y="0"/>
                    <a:pt x="12" y="16"/>
                    <a:pt x="0" y="26"/>
                  </a:cubicBezTo>
                  <a:cubicBezTo>
                    <a:pt x="11" y="39"/>
                    <a:pt x="27" y="51"/>
                    <a:pt x="46" y="51"/>
                  </a:cubicBezTo>
                  <a:cubicBezTo>
                    <a:pt x="64" y="51"/>
                    <a:pt x="81" y="39"/>
                    <a:pt x="92" y="26"/>
                  </a:cubicBez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îṩļïďè">
              <a:extLst>
                <a:ext uri="{FF2B5EF4-FFF2-40B4-BE49-F238E27FC236}">
                  <a16:creationId xmlns:a16="http://schemas.microsoft.com/office/drawing/2014/main" id="{C0C7D1FB-4353-4D3C-8117-CF2725994E8C}"/>
                </a:ext>
              </a:extLst>
            </p:cNvPr>
            <p:cNvSpPr/>
            <p:nvPr/>
          </p:nvSpPr>
          <p:spPr bwMode="auto">
            <a:xfrm>
              <a:off x="5667375" y="3844925"/>
              <a:ext cx="347663" cy="792163"/>
            </a:xfrm>
            <a:custGeom>
              <a:avLst/>
              <a:gdLst>
                <a:gd name="T0" fmla="*/ 3 w 100"/>
                <a:gd name="T1" fmla="*/ 137 h 228"/>
                <a:gd name="T2" fmla="*/ 1 w 100"/>
                <a:gd name="T3" fmla="*/ 126 h 228"/>
                <a:gd name="T4" fmla="*/ 73 w 100"/>
                <a:gd name="T5" fmla="*/ 9 h 228"/>
                <a:gd name="T6" fmla="*/ 97 w 100"/>
                <a:gd name="T7" fmla="*/ 0 h 228"/>
                <a:gd name="T8" fmla="*/ 100 w 100"/>
                <a:gd name="T9" fmla="*/ 54 h 228"/>
                <a:gd name="T10" fmla="*/ 45 w 100"/>
                <a:gd name="T11" fmla="*/ 119 h 228"/>
                <a:gd name="T12" fmla="*/ 43 w 100"/>
                <a:gd name="T13" fmla="*/ 134 h 228"/>
                <a:gd name="T14" fmla="*/ 86 w 100"/>
                <a:gd name="T15" fmla="*/ 222 h 228"/>
                <a:gd name="T16" fmla="*/ 64 w 100"/>
                <a:gd name="T17" fmla="*/ 228 h 228"/>
                <a:gd name="T18" fmla="*/ 3 w 100"/>
                <a:gd name="T19" fmla="*/ 137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228">
                  <a:moveTo>
                    <a:pt x="3" y="137"/>
                  </a:moveTo>
                  <a:cubicBezTo>
                    <a:pt x="1" y="134"/>
                    <a:pt x="0" y="130"/>
                    <a:pt x="1" y="126"/>
                  </a:cubicBezTo>
                  <a:cubicBezTo>
                    <a:pt x="9" y="92"/>
                    <a:pt x="70" y="12"/>
                    <a:pt x="73" y="9"/>
                  </a:cubicBezTo>
                  <a:cubicBezTo>
                    <a:pt x="77" y="4"/>
                    <a:pt x="97" y="0"/>
                    <a:pt x="97" y="0"/>
                  </a:cubicBezTo>
                  <a:cubicBezTo>
                    <a:pt x="100" y="54"/>
                    <a:pt x="100" y="54"/>
                    <a:pt x="100" y="54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41" y="123"/>
                    <a:pt x="41" y="129"/>
                    <a:pt x="43" y="134"/>
                  </a:cubicBezTo>
                  <a:cubicBezTo>
                    <a:pt x="86" y="222"/>
                    <a:pt x="86" y="222"/>
                    <a:pt x="86" y="222"/>
                  </a:cubicBezTo>
                  <a:cubicBezTo>
                    <a:pt x="64" y="228"/>
                    <a:pt x="64" y="228"/>
                    <a:pt x="64" y="228"/>
                  </a:cubicBezTo>
                  <a:lnTo>
                    <a:pt x="3" y="137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îSľiḍe">
              <a:extLst>
                <a:ext uri="{FF2B5EF4-FFF2-40B4-BE49-F238E27FC236}">
                  <a16:creationId xmlns:a16="http://schemas.microsoft.com/office/drawing/2014/main" id="{D124E6B4-C707-4EC0-835C-78D342F43BB9}"/>
                </a:ext>
              </a:extLst>
            </p:cNvPr>
            <p:cNvSpPr/>
            <p:nvPr/>
          </p:nvSpPr>
          <p:spPr bwMode="auto">
            <a:xfrm>
              <a:off x="6157913" y="4521200"/>
              <a:ext cx="493713" cy="1041400"/>
            </a:xfrm>
            <a:custGeom>
              <a:avLst/>
              <a:gdLst>
                <a:gd name="T0" fmla="*/ 59 w 142"/>
                <a:gd name="T1" fmla="*/ 0 h 300"/>
                <a:gd name="T2" fmla="*/ 129 w 142"/>
                <a:gd name="T3" fmla="*/ 43 h 300"/>
                <a:gd name="T4" fmla="*/ 140 w 142"/>
                <a:gd name="T5" fmla="*/ 69 h 300"/>
                <a:gd name="T6" fmla="*/ 87 w 142"/>
                <a:gd name="T7" fmla="*/ 300 h 300"/>
                <a:gd name="T8" fmla="*/ 60 w 142"/>
                <a:gd name="T9" fmla="*/ 300 h 300"/>
                <a:gd name="T10" fmla="*/ 74 w 142"/>
                <a:gd name="T11" fmla="*/ 75 h 300"/>
                <a:gd name="T12" fmla="*/ 0 w 142"/>
                <a:gd name="T13" fmla="*/ 40 h 300"/>
                <a:gd name="T14" fmla="*/ 59 w 142"/>
                <a:gd name="T15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00">
                  <a:moveTo>
                    <a:pt x="59" y="0"/>
                  </a:moveTo>
                  <a:cubicBezTo>
                    <a:pt x="129" y="43"/>
                    <a:pt x="129" y="43"/>
                    <a:pt x="129" y="43"/>
                  </a:cubicBezTo>
                  <a:cubicBezTo>
                    <a:pt x="138" y="49"/>
                    <a:pt x="142" y="59"/>
                    <a:pt x="140" y="69"/>
                  </a:cubicBezTo>
                  <a:cubicBezTo>
                    <a:pt x="87" y="300"/>
                    <a:pt x="87" y="300"/>
                    <a:pt x="87" y="300"/>
                  </a:cubicBezTo>
                  <a:cubicBezTo>
                    <a:pt x="60" y="300"/>
                    <a:pt x="60" y="300"/>
                    <a:pt x="60" y="300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0" y="40"/>
                    <a:pt x="0" y="40"/>
                    <a:pt x="0" y="40"/>
                  </a:cubicBezTo>
                  <a:lnTo>
                    <a:pt x="59" y="0"/>
                  </a:lnTo>
                  <a:close/>
                </a:path>
              </a:pathLst>
            </a:custGeom>
            <a:solidFill>
              <a:srgbClr val="BC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îṧḷidé">
              <a:extLst>
                <a:ext uri="{FF2B5EF4-FFF2-40B4-BE49-F238E27FC236}">
                  <a16:creationId xmlns:a16="http://schemas.microsoft.com/office/drawing/2014/main" id="{3DBA4EE9-27DE-4F97-825F-30AD0B325E66}"/>
                </a:ext>
              </a:extLst>
            </p:cNvPr>
            <p:cNvSpPr/>
            <p:nvPr/>
          </p:nvSpPr>
          <p:spPr bwMode="auto">
            <a:xfrm>
              <a:off x="6432550" y="3844925"/>
              <a:ext cx="319088" cy="792163"/>
            </a:xfrm>
            <a:custGeom>
              <a:avLst/>
              <a:gdLst>
                <a:gd name="T0" fmla="*/ 89 w 92"/>
                <a:gd name="T1" fmla="*/ 135 h 228"/>
                <a:gd name="T2" fmla="*/ 91 w 92"/>
                <a:gd name="T3" fmla="*/ 125 h 228"/>
                <a:gd name="T4" fmla="*/ 27 w 92"/>
                <a:gd name="T5" fmla="*/ 9 h 228"/>
                <a:gd name="T6" fmla="*/ 3 w 92"/>
                <a:gd name="T7" fmla="*/ 0 h 228"/>
                <a:gd name="T8" fmla="*/ 0 w 92"/>
                <a:gd name="T9" fmla="*/ 54 h 228"/>
                <a:gd name="T10" fmla="*/ 47 w 92"/>
                <a:gd name="T11" fmla="*/ 117 h 228"/>
                <a:gd name="T12" fmla="*/ 49 w 92"/>
                <a:gd name="T13" fmla="*/ 132 h 228"/>
                <a:gd name="T14" fmla="*/ 14 w 92"/>
                <a:gd name="T15" fmla="*/ 222 h 228"/>
                <a:gd name="T16" fmla="*/ 36 w 92"/>
                <a:gd name="T17" fmla="*/ 228 h 228"/>
                <a:gd name="T18" fmla="*/ 89 w 92"/>
                <a:gd name="T19" fmla="*/ 13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228">
                  <a:moveTo>
                    <a:pt x="89" y="135"/>
                  </a:moveTo>
                  <a:cubicBezTo>
                    <a:pt x="91" y="132"/>
                    <a:pt x="92" y="129"/>
                    <a:pt x="91" y="125"/>
                  </a:cubicBezTo>
                  <a:cubicBezTo>
                    <a:pt x="84" y="92"/>
                    <a:pt x="30" y="13"/>
                    <a:pt x="27" y="9"/>
                  </a:cubicBezTo>
                  <a:cubicBezTo>
                    <a:pt x="23" y="4"/>
                    <a:pt x="3" y="0"/>
                    <a:pt x="3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7" y="117"/>
                    <a:pt x="47" y="117"/>
                    <a:pt x="47" y="117"/>
                  </a:cubicBezTo>
                  <a:cubicBezTo>
                    <a:pt x="51" y="121"/>
                    <a:pt x="51" y="127"/>
                    <a:pt x="49" y="132"/>
                  </a:cubicBezTo>
                  <a:cubicBezTo>
                    <a:pt x="14" y="222"/>
                    <a:pt x="14" y="222"/>
                    <a:pt x="14" y="222"/>
                  </a:cubicBezTo>
                  <a:cubicBezTo>
                    <a:pt x="36" y="228"/>
                    <a:pt x="36" y="228"/>
                    <a:pt x="36" y="228"/>
                  </a:cubicBezTo>
                  <a:lnTo>
                    <a:pt x="89" y="135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ís1ídè">
              <a:extLst>
                <a:ext uri="{FF2B5EF4-FFF2-40B4-BE49-F238E27FC236}">
                  <a16:creationId xmlns:a16="http://schemas.microsoft.com/office/drawing/2014/main" id="{F2FBEA20-B07F-4278-BC25-DD191619D31B}"/>
                </a:ext>
              </a:extLst>
            </p:cNvPr>
            <p:cNvSpPr/>
            <p:nvPr/>
          </p:nvSpPr>
          <p:spPr bwMode="auto">
            <a:xfrm>
              <a:off x="5988050" y="3473450"/>
              <a:ext cx="117475" cy="163513"/>
            </a:xfrm>
            <a:custGeom>
              <a:avLst/>
              <a:gdLst>
                <a:gd name="T0" fmla="*/ 25 w 34"/>
                <a:gd name="T1" fmla="*/ 33 h 47"/>
                <a:gd name="T2" fmla="*/ 16 w 34"/>
                <a:gd name="T3" fmla="*/ 46 h 47"/>
                <a:gd name="T4" fmla="*/ 4 w 34"/>
                <a:gd name="T5" fmla="*/ 42 h 47"/>
                <a:gd name="T6" fmla="*/ 0 w 34"/>
                <a:gd name="T7" fmla="*/ 37 h 47"/>
                <a:gd name="T8" fmla="*/ 2 w 34"/>
                <a:gd name="T9" fmla="*/ 32 h 47"/>
                <a:gd name="T10" fmla="*/ 14 w 34"/>
                <a:gd name="T11" fmla="*/ 13 h 47"/>
                <a:gd name="T12" fmla="*/ 31 w 34"/>
                <a:gd name="T13" fmla="*/ 9 h 47"/>
                <a:gd name="T14" fmla="*/ 25 w 34"/>
                <a:gd name="T15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7">
                  <a:moveTo>
                    <a:pt x="25" y="33"/>
                  </a:moveTo>
                  <a:cubicBezTo>
                    <a:pt x="23" y="38"/>
                    <a:pt x="21" y="44"/>
                    <a:pt x="16" y="46"/>
                  </a:cubicBezTo>
                  <a:cubicBezTo>
                    <a:pt x="12" y="47"/>
                    <a:pt x="8" y="45"/>
                    <a:pt x="4" y="42"/>
                  </a:cubicBezTo>
                  <a:cubicBezTo>
                    <a:pt x="2" y="41"/>
                    <a:pt x="0" y="39"/>
                    <a:pt x="0" y="37"/>
                  </a:cubicBezTo>
                  <a:cubicBezTo>
                    <a:pt x="0" y="35"/>
                    <a:pt x="1" y="33"/>
                    <a:pt x="2" y="32"/>
                  </a:cubicBezTo>
                  <a:cubicBezTo>
                    <a:pt x="5" y="25"/>
                    <a:pt x="9" y="19"/>
                    <a:pt x="14" y="13"/>
                  </a:cubicBezTo>
                  <a:cubicBezTo>
                    <a:pt x="18" y="8"/>
                    <a:pt x="26" y="0"/>
                    <a:pt x="31" y="9"/>
                  </a:cubicBezTo>
                  <a:cubicBezTo>
                    <a:pt x="34" y="14"/>
                    <a:pt x="27" y="28"/>
                    <a:pt x="25" y="33"/>
                  </a:cubicBezTo>
                  <a:close/>
                </a:path>
              </a:pathLst>
            </a:custGeom>
            <a:solidFill>
              <a:srgbClr val="3735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íş1ïḍê">
              <a:extLst>
                <a:ext uri="{FF2B5EF4-FFF2-40B4-BE49-F238E27FC236}">
                  <a16:creationId xmlns:a16="http://schemas.microsoft.com/office/drawing/2014/main" id="{E1CBE241-A799-4CD1-939A-8079A4020DED}"/>
                </a:ext>
              </a:extLst>
            </p:cNvPr>
            <p:cNvSpPr/>
            <p:nvPr/>
          </p:nvSpPr>
          <p:spPr bwMode="auto">
            <a:xfrm>
              <a:off x="5873750" y="4549775"/>
              <a:ext cx="131763" cy="134938"/>
            </a:xfrm>
            <a:prstGeom prst="ellipse">
              <a:avLst/>
            </a:pr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iŝ1iďe">
              <a:extLst>
                <a:ext uri="{FF2B5EF4-FFF2-40B4-BE49-F238E27FC236}">
                  <a16:creationId xmlns:a16="http://schemas.microsoft.com/office/drawing/2014/main" id="{731CE373-2C17-485D-9825-3D231539939D}"/>
                </a:ext>
              </a:extLst>
            </p:cNvPr>
            <p:cNvSpPr/>
            <p:nvPr/>
          </p:nvSpPr>
          <p:spPr bwMode="auto">
            <a:xfrm>
              <a:off x="5929313" y="3309938"/>
              <a:ext cx="579438" cy="531813"/>
            </a:xfrm>
            <a:custGeom>
              <a:avLst/>
              <a:gdLst>
                <a:gd name="T0" fmla="*/ 135 w 167"/>
                <a:gd name="T1" fmla="*/ 27 h 153"/>
                <a:gd name="T2" fmla="*/ 83 w 167"/>
                <a:gd name="T3" fmla="*/ 0 h 153"/>
                <a:gd name="T4" fmla="*/ 83 w 167"/>
                <a:gd name="T5" fmla="*/ 0 h 153"/>
                <a:gd name="T6" fmla="*/ 83 w 167"/>
                <a:gd name="T7" fmla="*/ 0 h 153"/>
                <a:gd name="T8" fmla="*/ 83 w 167"/>
                <a:gd name="T9" fmla="*/ 0 h 153"/>
                <a:gd name="T10" fmla="*/ 83 w 167"/>
                <a:gd name="T11" fmla="*/ 0 h 153"/>
                <a:gd name="T12" fmla="*/ 31 w 167"/>
                <a:gd name="T13" fmla="*/ 27 h 153"/>
                <a:gd name="T14" fmla="*/ 1 w 167"/>
                <a:gd name="T15" fmla="*/ 121 h 153"/>
                <a:gd name="T16" fmla="*/ 30 w 167"/>
                <a:gd name="T17" fmla="*/ 153 h 153"/>
                <a:gd name="T18" fmla="*/ 57 w 167"/>
                <a:gd name="T19" fmla="*/ 153 h 153"/>
                <a:gd name="T20" fmla="*/ 14 w 167"/>
                <a:gd name="T21" fmla="*/ 115 h 153"/>
                <a:gd name="T22" fmla="*/ 28 w 167"/>
                <a:gd name="T23" fmla="*/ 87 h 153"/>
                <a:gd name="T24" fmla="*/ 71 w 167"/>
                <a:gd name="T25" fmla="*/ 32 h 153"/>
                <a:gd name="T26" fmla="*/ 95 w 167"/>
                <a:gd name="T27" fmla="*/ 32 h 153"/>
                <a:gd name="T28" fmla="*/ 138 w 167"/>
                <a:gd name="T29" fmla="*/ 87 h 153"/>
                <a:gd name="T30" fmla="*/ 153 w 167"/>
                <a:gd name="T31" fmla="*/ 115 h 153"/>
                <a:gd name="T32" fmla="*/ 114 w 167"/>
                <a:gd name="T33" fmla="*/ 153 h 153"/>
                <a:gd name="T34" fmla="*/ 136 w 167"/>
                <a:gd name="T35" fmla="*/ 153 h 153"/>
                <a:gd name="T36" fmla="*/ 166 w 167"/>
                <a:gd name="T37" fmla="*/ 121 h 153"/>
                <a:gd name="T38" fmla="*/ 135 w 167"/>
                <a:gd name="T39" fmla="*/ 2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7" h="153">
                  <a:moveTo>
                    <a:pt x="135" y="27"/>
                  </a:moveTo>
                  <a:cubicBezTo>
                    <a:pt x="128" y="7"/>
                    <a:pt x="84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39" y="7"/>
                    <a:pt x="31" y="27"/>
                  </a:cubicBezTo>
                  <a:cubicBezTo>
                    <a:pt x="23" y="48"/>
                    <a:pt x="0" y="106"/>
                    <a:pt x="1" y="121"/>
                  </a:cubicBezTo>
                  <a:cubicBezTo>
                    <a:pt x="2" y="137"/>
                    <a:pt x="30" y="153"/>
                    <a:pt x="30" y="153"/>
                  </a:cubicBezTo>
                  <a:cubicBezTo>
                    <a:pt x="57" y="153"/>
                    <a:pt x="57" y="153"/>
                    <a:pt x="57" y="153"/>
                  </a:cubicBezTo>
                  <a:cubicBezTo>
                    <a:pt x="57" y="153"/>
                    <a:pt x="18" y="126"/>
                    <a:pt x="14" y="115"/>
                  </a:cubicBezTo>
                  <a:cubicBezTo>
                    <a:pt x="10" y="103"/>
                    <a:pt x="24" y="90"/>
                    <a:pt x="28" y="87"/>
                  </a:cubicBezTo>
                  <a:cubicBezTo>
                    <a:pt x="45" y="59"/>
                    <a:pt x="61" y="42"/>
                    <a:pt x="71" y="32"/>
                  </a:cubicBezTo>
                  <a:cubicBezTo>
                    <a:pt x="78" y="26"/>
                    <a:pt x="89" y="26"/>
                    <a:pt x="95" y="32"/>
                  </a:cubicBezTo>
                  <a:cubicBezTo>
                    <a:pt x="106" y="42"/>
                    <a:pt x="122" y="59"/>
                    <a:pt x="138" y="87"/>
                  </a:cubicBezTo>
                  <a:cubicBezTo>
                    <a:pt x="142" y="90"/>
                    <a:pt x="157" y="103"/>
                    <a:pt x="153" y="115"/>
                  </a:cubicBezTo>
                  <a:cubicBezTo>
                    <a:pt x="149" y="126"/>
                    <a:pt x="114" y="153"/>
                    <a:pt x="114" y="153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36" y="153"/>
                    <a:pt x="165" y="137"/>
                    <a:pt x="166" y="121"/>
                  </a:cubicBezTo>
                  <a:cubicBezTo>
                    <a:pt x="167" y="106"/>
                    <a:pt x="143" y="48"/>
                    <a:pt x="135" y="27"/>
                  </a:cubicBez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ïsḷíḑè">
              <a:extLst>
                <a:ext uri="{FF2B5EF4-FFF2-40B4-BE49-F238E27FC236}">
                  <a16:creationId xmlns:a16="http://schemas.microsoft.com/office/drawing/2014/main" id="{1EAF19F7-0498-4F55-B8AD-F792841338C2}"/>
                </a:ext>
              </a:extLst>
            </p:cNvPr>
            <p:cNvSpPr/>
            <p:nvPr/>
          </p:nvSpPr>
          <p:spPr bwMode="auto">
            <a:xfrm>
              <a:off x="6446838" y="4556125"/>
              <a:ext cx="138113" cy="139700"/>
            </a:xfrm>
            <a:custGeom>
              <a:avLst/>
              <a:gdLst>
                <a:gd name="T0" fmla="*/ 39 w 40"/>
                <a:gd name="T1" fmla="*/ 21 h 40"/>
                <a:gd name="T2" fmla="*/ 21 w 40"/>
                <a:gd name="T3" fmla="*/ 1 h 40"/>
                <a:gd name="T4" fmla="*/ 1 w 40"/>
                <a:gd name="T5" fmla="*/ 19 h 40"/>
                <a:gd name="T6" fmla="*/ 19 w 40"/>
                <a:gd name="T7" fmla="*/ 39 h 40"/>
                <a:gd name="T8" fmla="*/ 39 w 40"/>
                <a:gd name="T9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0">
                  <a:moveTo>
                    <a:pt x="39" y="21"/>
                  </a:moveTo>
                  <a:cubicBezTo>
                    <a:pt x="40" y="10"/>
                    <a:pt x="32" y="1"/>
                    <a:pt x="21" y="1"/>
                  </a:cubicBezTo>
                  <a:cubicBezTo>
                    <a:pt x="11" y="0"/>
                    <a:pt x="2" y="8"/>
                    <a:pt x="1" y="19"/>
                  </a:cubicBezTo>
                  <a:cubicBezTo>
                    <a:pt x="0" y="29"/>
                    <a:pt x="8" y="38"/>
                    <a:pt x="19" y="39"/>
                  </a:cubicBezTo>
                  <a:cubicBezTo>
                    <a:pt x="29" y="40"/>
                    <a:pt x="38" y="32"/>
                    <a:pt x="39" y="21"/>
                  </a:cubicBezTo>
                  <a:close/>
                </a:path>
              </a:pathLst>
            </a:custGeom>
            <a:solidFill>
              <a:srgbClr val="EEB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î$ḻiḑê">
              <a:extLst>
                <a:ext uri="{FF2B5EF4-FFF2-40B4-BE49-F238E27FC236}">
                  <a16:creationId xmlns:a16="http://schemas.microsoft.com/office/drawing/2014/main" id="{59B5D516-7307-40E9-8A0F-A579333F1649}"/>
                </a:ext>
              </a:extLst>
            </p:cNvPr>
            <p:cNvSpPr/>
            <p:nvPr/>
          </p:nvSpPr>
          <p:spPr bwMode="auto">
            <a:xfrm>
              <a:off x="6280150" y="4330700"/>
              <a:ext cx="204788" cy="344488"/>
            </a:xfrm>
            <a:custGeom>
              <a:avLst/>
              <a:gdLst>
                <a:gd name="T0" fmla="*/ 59 w 59"/>
                <a:gd name="T1" fmla="*/ 0 h 99"/>
                <a:gd name="T2" fmla="*/ 59 w 59"/>
                <a:gd name="T3" fmla="*/ 82 h 99"/>
                <a:gd name="T4" fmla="*/ 6 w 59"/>
                <a:gd name="T5" fmla="*/ 98 h 99"/>
                <a:gd name="T6" fmla="*/ 0 w 59"/>
                <a:gd name="T7" fmla="*/ 25 h 99"/>
                <a:gd name="T8" fmla="*/ 8 w 59"/>
                <a:gd name="T9" fmla="*/ 3 h 99"/>
                <a:gd name="T10" fmla="*/ 59 w 59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99">
                  <a:moveTo>
                    <a:pt x="59" y="0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13" y="99"/>
                    <a:pt x="6" y="98"/>
                  </a:cubicBezTo>
                  <a:cubicBezTo>
                    <a:pt x="0" y="97"/>
                    <a:pt x="0" y="25"/>
                    <a:pt x="0" y="25"/>
                  </a:cubicBezTo>
                  <a:cubicBezTo>
                    <a:pt x="8" y="3"/>
                    <a:pt x="8" y="3"/>
                    <a:pt x="8" y="3"/>
                  </a:cubicBezTo>
                  <a:lnTo>
                    <a:pt x="59" y="0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íŝľiḋê">
              <a:extLst>
                <a:ext uri="{FF2B5EF4-FFF2-40B4-BE49-F238E27FC236}">
                  <a16:creationId xmlns:a16="http://schemas.microsoft.com/office/drawing/2014/main" id="{DD1CD040-6331-43E5-BD43-196A18B12393}"/>
                </a:ext>
              </a:extLst>
            </p:cNvPr>
            <p:cNvSpPr/>
            <p:nvPr/>
          </p:nvSpPr>
          <p:spPr bwMode="auto">
            <a:xfrm>
              <a:off x="5967413" y="4330700"/>
              <a:ext cx="207963" cy="344488"/>
            </a:xfrm>
            <a:custGeom>
              <a:avLst/>
              <a:gdLst>
                <a:gd name="T0" fmla="*/ 0 w 60"/>
                <a:gd name="T1" fmla="*/ 0 h 99"/>
                <a:gd name="T2" fmla="*/ 0 w 60"/>
                <a:gd name="T3" fmla="*/ 82 h 99"/>
                <a:gd name="T4" fmla="*/ 53 w 60"/>
                <a:gd name="T5" fmla="*/ 98 h 99"/>
                <a:gd name="T6" fmla="*/ 60 w 60"/>
                <a:gd name="T7" fmla="*/ 25 h 99"/>
                <a:gd name="T8" fmla="*/ 51 w 60"/>
                <a:gd name="T9" fmla="*/ 3 h 99"/>
                <a:gd name="T10" fmla="*/ 0 w 60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99">
                  <a:moveTo>
                    <a:pt x="0" y="0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47" y="99"/>
                    <a:pt x="53" y="98"/>
                  </a:cubicBezTo>
                  <a:cubicBezTo>
                    <a:pt x="60" y="97"/>
                    <a:pt x="60" y="25"/>
                    <a:pt x="60" y="25"/>
                  </a:cubicBezTo>
                  <a:cubicBezTo>
                    <a:pt x="51" y="3"/>
                    <a:pt x="51" y="3"/>
                    <a:pt x="51" y="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ï$liḍê">
              <a:extLst>
                <a:ext uri="{FF2B5EF4-FFF2-40B4-BE49-F238E27FC236}">
                  <a16:creationId xmlns:a16="http://schemas.microsoft.com/office/drawing/2014/main" id="{40B928FE-1CE2-414B-96B6-4CC4AD78A9B6}"/>
                </a:ext>
              </a:extLst>
            </p:cNvPr>
            <p:cNvSpPr/>
            <p:nvPr/>
          </p:nvSpPr>
          <p:spPr bwMode="auto">
            <a:xfrm>
              <a:off x="5821363" y="5562600"/>
              <a:ext cx="211138" cy="323850"/>
            </a:xfrm>
            <a:custGeom>
              <a:avLst/>
              <a:gdLst>
                <a:gd name="T0" fmla="*/ 58 w 61"/>
                <a:gd name="T1" fmla="*/ 0 h 93"/>
                <a:gd name="T2" fmla="*/ 61 w 61"/>
                <a:gd name="T3" fmla="*/ 34 h 93"/>
                <a:gd name="T4" fmla="*/ 14 w 61"/>
                <a:gd name="T5" fmla="*/ 92 h 93"/>
                <a:gd name="T6" fmla="*/ 14 w 61"/>
                <a:gd name="T7" fmla="*/ 58 h 93"/>
                <a:gd name="T8" fmla="*/ 37 w 61"/>
                <a:gd name="T9" fmla="*/ 25 h 93"/>
                <a:gd name="T10" fmla="*/ 42 w 61"/>
                <a:gd name="T11" fmla="*/ 0 h 93"/>
                <a:gd name="T12" fmla="*/ 58 w 61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93">
                  <a:moveTo>
                    <a:pt x="58" y="0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27" y="90"/>
                    <a:pt x="14" y="92"/>
                  </a:cubicBezTo>
                  <a:cubicBezTo>
                    <a:pt x="0" y="93"/>
                    <a:pt x="6" y="69"/>
                    <a:pt x="14" y="58"/>
                  </a:cubicBezTo>
                  <a:cubicBezTo>
                    <a:pt x="22" y="47"/>
                    <a:pt x="37" y="25"/>
                    <a:pt x="37" y="25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58" y="0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íŝḷîḓê">
              <a:extLst>
                <a:ext uri="{FF2B5EF4-FFF2-40B4-BE49-F238E27FC236}">
                  <a16:creationId xmlns:a16="http://schemas.microsoft.com/office/drawing/2014/main" id="{B420526C-B8CC-4026-8126-E1800B3A3E20}"/>
                </a:ext>
              </a:extLst>
            </p:cNvPr>
            <p:cNvSpPr/>
            <p:nvPr/>
          </p:nvSpPr>
          <p:spPr bwMode="auto">
            <a:xfrm>
              <a:off x="6370638" y="5562600"/>
              <a:ext cx="211138" cy="323850"/>
            </a:xfrm>
            <a:custGeom>
              <a:avLst/>
              <a:gdLst>
                <a:gd name="T0" fmla="*/ 4 w 61"/>
                <a:gd name="T1" fmla="*/ 0 h 93"/>
                <a:gd name="T2" fmla="*/ 0 w 61"/>
                <a:gd name="T3" fmla="*/ 34 h 93"/>
                <a:gd name="T4" fmla="*/ 48 w 61"/>
                <a:gd name="T5" fmla="*/ 92 h 93"/>
                <a:gd name="T6" fmla="*/ 48 w 61"/>
                <a:gd name="T7" fmla="*/ 58 h 93"/>
                <a:gd name="T8" fmla="*/ 25 w 61"/>
                <a:gd name="T9" fmla="*/ 25 h 93"/>
                <a:gd name="T10" fmla="*/ 19 w 61"/>
                <a:gd name="T11" fmla="*/ 0 h 93"/>
                <a:gd name="T12" fmla="*/ 4 w 61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93">
                  <a:moveTo>
                    <a:pt x="4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34" y="90"/>
                    <a:pt x="48" y="92"/>
                  </a:cubicBezTo>
                  <a:cubicBezTo>
                    <a:pt x="61" y="93"/>
                    <a:pt x="56" y="69"/>
                    <a:pt x="48" y="58"/>
                  </a:cubicBezTo>
                  <a:cubicBezTo>
                    <a:pt x="40" y="47"/>
                    <a:pt x="25" y="25"/>
                    <a:pt x="25" y="25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2D2C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ïṩḻïdê">
              <a:extLst>
                <a:ext uri="{FF2B5EF4-FFF2-40B4-BE49-F238E27FC236}">
                  <a16:creationId xmlns:a16="http://schemas.microsoft.com/office/drawing/2014/main" id="{277E8F1F-F556-4F76-8522-75A361E794D1}"/>
                </a:ext>
              </a:extLst>
            </p:cNvPr>
            <p:cNvSpPr/>
            <p:nvPr/>
          </p:nvSpPr>
          <p:spPr bwMode="auto">
            <a:xfrm>
              <a:off x="5800725" y="4359275"/>
              <a:ext cx="836613" cy="336550"/>
            </a:xfrm>
            <a:custGeom>
              <a:avLst/>
              <a:gdLst>
                <a:gd name="T0" fmla="*/ 37 w 241"/>
                <a:gd name="T1" fmla="*/ 97 h 97"/>
                <a:gd name="T2" fmla="*/ 211 w 241"/>
                <a:gd name="T3" fmla="*/ 97 h 97"/>
                <a:gd name="T4" fmla="*/ 224 w 241"/>
                <a:gd name="T5" fmla="*/ 86 h 97"/>
                <a:gd name="T6" fmla="*/ 239 w 241"/>
                <a:gd name="T7" fmla="*/ 23 h 97"/>
                <a:gd name="T8" fmla="*/ 219 w 241"/>
                <a:gd name="T9" fmla="*/ 0 h 97"/>
                <a:gd name="T10" fmla="*/ 21 w 241"/>
                <a:gd name="T11" fmla="*/ 2 h 97"/>
                <a:gd name="T12" fmla="*/ 2 w 241"/>
                <a:gd name="T13" fmla="*/ 25 h 97"/>
                <a:gd name="T14" fmla="*/ 24 w 241"/>
                <a:gd name="T15" fmla="*/ 88 h 97"/>
                <a:gd name="T16" fmla="*/ 37 w 241"/>
                <a:gd name="T1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1" h="97">
                  <a:moveTo>
                    <a:pt x="37" y="97"/>
                  </a:moveTo>
                  <a:cubicBezTo>
                    <a:pt x="211" y="97"/>
                    <a:pt x="211" y="97"/>
                    <a:pt x="211" y="97"/>
                  </a:cubicBezTo>
                  <a:cubicBezTo>
                    <a:pt x="217" y="97"/>
                    <a:pt x="223" y="92"/>
                    <a:pt x="224" y="86"/>
                  </a:cubicBezTo>
                  <a:cubicBezTo>
                    <a:pt x="239" y="23"/>
                    <a:pt x="239" y="23"/>
                    <a:pt x="239" y="23"/>
                  </a:cubicBezTo>
                  <a:cubicBezTo>
                    <a:pt x="241" y="11"/>
                    <a:pt x="232" y="0"/>
                    <a:pt x="219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9" y="2"/>
                    <a:pt x="0" y="13"/>
                    <a:pt x="2" y="25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6" y="93"/>
                    <a:pt x="31" y="97"/>
                    <a:pt x="37" y="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ïSļîḓê">
              <a:extLst>
                <a:ext uri="{FF2B5EF4-FFF2-40B4-BE49-F238E27FC236}">
                  <a16:creationId xmlns:a16="http://schemas.microsoft.com/office/drawing/2014/main" id="{2B6E3FA3-7A8D-483B-93A6-940D98BFE57D}"/>
                </a:ext>
              </a:extLst>
            </p:cNvPr>
            <p:cNvSpPr/>
            <p:nvPr/>
          </p:nvSpPr>
          <p:spPr bwMode="auto">
            <a:xfrm>
              <a:off x="5800725" y="4362450"/>
              <a:ext cx="496888" cy="333375"/>
            </a:xfrm>
            <a:custGeom>
              <a:avLst/>
              <a:gdLst>
                <a:gd name="T0" fmla="*/ 143 w 143"/>
                <a:gd name="T1" fmla="*/ 0 h 96"/>
                <a:gd name="T2" fmla="*/ 21 w 143"/>
                <a:gd name="T3" fmla="*/ 1 h 96"/>
                <a:gd name="T4" fmla="*/ 2 w 143"/>
                <a:gd name="T5" fmla="*/ 24 h 96"/>
                <a:gd name="T6" fmla="*/ 24 w 143"/>
                <a:gd name="T7" fmla="*/ 87 h 96"/>
                <a:gd name="T8" fmla="*/ 37 w 143"/>
                <a:gd name="T9" fmla="*/ 96 h 96"/>
                <a:gd name="T10" fmla="*/ 68 w 143"/>
                <a:gd name="T11" fmla="*/ 96 h 96"/>
                <a:gd name="T12" fmla="*/ 143 w 14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96">
                  <a:moveTo>
                    <a:pt x="143" y="0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9" y="1"/>
                    <a:pt x="0" y="12"/>
                    <a:pt x="2" y="24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6" y="92"/>
                    <a:pt x="31" y="96"/>
                    <a:pt x="37" y="96"/>
                  </a:cubicBezTo>
                  <a:cubicBezTo>
                    <a:pt x="68" y="96"/>
                    <a:pt x="68" y="96"/>
                    <a:pt x="68" y="96"/>
                  </a:cubicBezTo>
                  <a:lnTo>
                    <a:pt x="143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3000"/>
                  </a:schemeClr>
                </a:gs>
                <a:gs pos="0">
                  <a:srgbClr val="D0DDFE"/>
                </a:gs>
              </a:gsLst>
              <a:lin ang="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îśľiḑé">
              <a:extLst>
                <a:ext uri="{FF2B5EF4-FFF2-40B4-BE49-F238E27FC236}">
                  <a16:creationId xmlns:a16="http://schemas.microsoft.com/office/drawing/2014/main" id="{54A082BF-DD07-47B3-AC64-A3C708A3DD18}"/>
                </a:ext>
              </a:extLst>
            </p:cNvPr>
            <p:cNvSpPr/>
            <p:nvPr/>
          </p:nvSpPr>
          <p:spPr bwMode="auto">
            <a:xfrm>
              <a:off x="6151563" y="4500563"/>
              <a:ext cx="120650" cy="111125"/>
            </a:xfrm>
            <a:prstGeom prst="ellipse">
              <a:avLst/>
            </a:prstGeom>
            <a:solidFill>
              <a:srgbClr val="737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03" name="矩形 202">
            <a:extLst>
              <a:ext uri="{FF2B5EF4-FFF2-40B4-BE49-F238E27FC236}">
                <a16:creationId xmlns:a16="http://schemas.microsoft.com/office/drawing/2014/main" id="{D809D5F6-68E7-45ED-A79F-6F13CA933960}"/>
              </a:ext>
            </a:extLst>
          </p:cNvPr>
          <p:cNvSpPr/>
          <p:nvPr/>
        </p:nvSpPr>
        <p:spPr>
          <a:xfrm>
            <a:off x="1483766" y="1647781"/>
            <a:ext cx="3128799" cy="1754326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</a:rPr>
              <a:t>{} Display        </a:t>
            </a:r>
          </a:p>
          <a:p>
            <a:r>
              <a:rPr lang="en-US" altLang="zh-CN" b="1" dirty="0">
                <a:solidFill>
                  <a:schemeClr val="bg1"/>
                </a:solidFill>
              </a:rPr>
              <a:t>{:o} </a:t>
            </a:r>
            <a:r>
              <a:rPr lang="zh-CN" altLang="en-US" b="1" dirty="0">
                <a:solidFill>
                  <a:schemeClr val="bg1"/>
                </a:solidFill>
              </a:rPr>
              <a:t>八进制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:x} </a:t>
            </a:r>
            <a:r>
              <a:rPr lang="zh-CN" altLang="en-US" b="1" dirty="0">
                <a:solidFill>
                  <a:schemeClr val="bg1"/>
                </a:solidFill>
              </a:rPr>
              <a:t>十六进制小写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:X} </a:t>
            </a:r>
            <a:r>
              <a:rPr lang="zh-CN" altLang="en-US" b="1" dirty="0">
                <a:solidFill>
                  <a:schemeClr val="bg1"/>
                </a:solidFill>
              </a:rPr>
              <a:t>十六进制大写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:p} </a:t>
            </a:r>
            <a:r>
              <a:rPr lang="zh-CN" altLang="en-US" b="1" dirty="0">
                <a:solidFill>
                  <a:schemeClr val="bg1"/>
                </a:solidFill>
              </a:rPr>
              <a:t>指针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:b} </a:t>
            </a:r>
            <a:r>
              <a:rPr lang="zh-CN" altLang="en-US" b="1" dirty="0">
                <a:solidFill>
                  <a:schemeClr val="bg1"/>
                </a:solidFill>
              </a:rPr>
              <a:t>二进制</a:t>
            </a:r>
          </a:p>
        </p:txBody>
      </p:sp>
      <p:sp>
        <p:nvSpPr>
          <p:cNvPr id="204" name="矩形 203">
            <a:extLst>
              <a:ext uri="{FF2B5EF4-FFF2-40B4-BE49-F238E27FC236}">
                <a16:creationId xmlns:a16="http://schemas.microsoft.com/office/drawing/2014/main" id="{ED67260F-B098-49EA-BE19-FE3B32E1DE06}"/>
              </a:ext>
            </a:extLst>
          </p:cNvPr>
          <p:cNvSpPr/>
          <p:nvPr/>
        </p:nvSpPr>
        <p:spPr>
          <a:xfrm>
            <a:off x="4669702" y="1647781"/>
            <a:ext cx="2960827" cy="1477328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</a:rPr>
              <a:t>{:e} </a:t>
            </a:r>
            <a:r>
              <a:rPr lang="zh-CN" altLang="en-US" b="1" dirty="0">
                <a:solidFill>
                  <a:schemeClr val="bg1"/>
                </a:solidFill>
              </a:rPr>
              <a:t>科学计数小写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:E} </a:t>
            </a:r>
            <a:r>
              <a:rPr lang="zh-CN" altLang="en-US" b="1" dirty="0">
                <a:solidFill>
                  <a:schemeClr val="bg1"/>
                </a:solidFill>
              </a:rPr>
              <a:t>科学计数大写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:?} Debug</a:t>
            </a:r>
          </a:p>
          <a:p>
            <a:r>
              <a:rPr lang="en-US" altLang="zh-CN" b="1" dirty="0">
                <a:solidFill>
                  <a:schemeClr val="bg1"/>
                </a:solidFill>
              </a:rPr>
              <a:t>{:#?} </a:t>
            </a:r>
            <a:r>
              <a:rPr lang="zh-CN" altLang="en-US" b="1" dirty="0">
                <a:solidFill>
                  <a:schemeClr val="bg1"/>
                </a:solidFill>
              </a:rPr>
              <a:t>美化的</a:t>
            </a:r>
            <a:r>
              <a:rPr lang="en-US" altLang="zh-CN" b="1" dirty="0">
                <a:solidFill>
                  <a:schemeClr val="bg1"/>
                </a:solidFill>
              </a:rPr>
              <a:t>Debug</a:t>
            </a:r>
            <a:r>
              <a:rPr lang="zh-CN" altLang="en-US" b="1" dirty="0">
                <a:solidFill>
                  <a:schemeClr val="bg1"/>
                </a:solidFill>
              </a:rPr>
              <a:t>输出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name} </a:t>
            </a:r>
            <a:r>
              <a:rPr lang="zh-CN" altLang="en-US" b="1" dirty="0">
                <a:solidFill>
                  <a:schemeClr val="bg1"/>
                </a:solidFill>
              </a:rPr>
              <a:t>变量名占位</a:t>
            </a:r>
          </a:p>
        </p:txBody>
      </p:sp>
      <p:sp>
        <p:nvSpPr>
          <p:cNvPr id="205" name="矩形 204">
            <a:extLst>
              <a:ext uri="{FF2B5EF4-FFF2-40B4-BE49-F238E27FC236}">
                <a16:creationId xmlns:a16="http://schemas.microsoft.com/office/drawing/2014/main" id="{D53BE198-748D-4130-B84B-E1C6BC2DE1D7}"/>
              </a:ext>
            </a:extLst>
          </p:cNvPr>
          <p:cNvSpPr/>
          <p:nvPr/>
        </p:nvSpPr>
        <p:spPr>
          <a:xfrm>
            <a:off x="7687665" y="1640861"/>
            <a:ext cx="3157392" cy="1200329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</a:rPr>
              <a:t>{index} </a:t>
            </a:r>
            <a:r>
              <a:rPr lang="zh-CN" altLang="en-US" b="1" dirty="0">
                <a:solidFill>
                  <a:schemeClr val="bg1"/>
                </a:solidFill>
              </a:rPr>
              <a:t>下标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&gt;} </a:t>
            </a:r>
            <a:r>
              <a:rPr lang="zh-CN" altLang="en-US" b="1" dirty="0">
                <a:solidFill>
                  <a:schemeClr val="bg1"/>
                </a:solidFill>
              </a:rPr>
              <a:t>右移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&lt;} </a:t>
            </a:r>
            <a:r>
              <a:rPr lang="zh-CN" altLang="en-US" b="1" dirty="0">
                <a:solidFill>
                  <a:schemeClr val="bg1"/>
                </a:solidFill>
              </a:rPr>
              <a:t>左移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{.N} </a:t>
            </a:r>
            <a:r>
              <a:rPr lang="zh-CN" altLang="en-US" b="1" dirty="0">
                <a:solidFill>
                  <a:schemeClr val="bg1"/>
                </a:solidFill>
              </a:rPr>
              <a:t>精度</a:t>
            </a: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608B8E4B-34CA-4D5C-BE38-639A5E518CEC}"/>
              </a:ext>
            </a:extLst>
          </p:cNvPr>
          <p:cNvSpPr/>
          <p:nvPr/>
        </p:nvSpPr>
        <p:spPr>
          <a:xfrm>
            <a:off x="3848632" y="4394103"/>
            <a:ext cx="44807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.rust-lang.org/std/fmt/index.html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7951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5BF8183-9C62-4039-A9E6-EAC2702E9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学习资源推荐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BED14F2-CCD6-4BC8-BCA7-D2ACA3CDA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B4E3387-54A0-4E59-8D79-177936CCB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4098" name="Picture 2" descr="Rustç¼ç¨ä¹é">
            <a:extLst>
              <a:ext uri="{FF2B5EF4-FFF2-40B4-BE49-F238E27FC236}">
                <a16:creationId xmlns:a16="http://schemas.microsoft.com/office/drawing/2014/main" id="{985983C1-FE6B-41C3-ABD2-7C0F5B147D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5" y="1194318"/>
            <a:ext cx="2053842" cy="2053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s://img11.360buyimg.com/n1/s200x200_jfs/t25759/348/1211929012/82894/b866b106/5b8cf08fNb2fca89d.jpg">
            <a:extLst>
              <a:ext uri="{FF2B5EF4-FFF2-40B4-BE49-F238E27FC236}">
                <a16:creationId xmlns:a16="http://schemas.microsoft.com/office/drawing/2014/main" id="{F508A397-6994-49F6-A616-A134BC49B6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945" y="1268739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a2b07127-7530-4f8f-868c-227b06e0b1f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B8350DC-57F8-4F87-97CC-3F7891A845E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43611" y="1661777"/>
            <a:ext cx="4585154" cy="2946616"/>
            <a:chOff x="2397126" y="1050926"/>
            <a:chExt cx="7400925" cy="4756150"/>
          </a:xfrm>
        </p:grpSpPr>
        <p:sp>
          <p:nvSpPr>
            <p:cNvPr id="8" name="ïṣliḍe">
              <a:extLst>
                <a:ext uri="{FF2B5EF4-FFF2-40B4-BE49-F238E27FC236}">
                  <a16:creationId xmlns:a16="http://schemas.microsoft.com/office/drawing/2014/main" id="{4F882772-D366-40D9-AE0A-69B299F7BFF1}"/>
                </a:ext>
              </a:extLst>
            </p:cNvPr>
            <p:cNvSpPr/>
            <p:nvPr/>
          </p:nvSpPr>
          <p:spPr bwMode="auto">
            <a:xfrm>
              <a:off x="3146426" y="1050926"/>
              <a:ext cx="5903913" cy="3756025"/>
            </a:xfrm>
            <a:custGeom>
              <a:avLst/>
              <a:gdLst>
                <a:gd name="T0" fmla="*/ 74 w 2632"/>
                <a:gd name="T1" fmla="*/ 0 h 1676"/>
                <a:gd name="T2" fmla="*/ 0 w 2632"/>
                <a:gd name="T3" fmla="*/ 74 h 1676"/>
                <a:gd name="T4" fmla="*/ 0 w 2632"/>
                <a:gd name="T5" fmla="*/ 1602 h 1676"/>
                <a:gd name="T6" fmla="*/ 74 w 2632"/>
                <a:gd name="T7" fmla="*/ 1676 h 1676"/>
                <a:gd name="T8" fmla="*/ 2558 w 2632"/>
                <a:gd name="T9" fmla="*/ 1676 h 1676"/>
                <a:gd name="T10" fmla="*/ 2632 w 2632"/>
                <a:gd name="T11" fmla="*/ 1602 h 1676"/>
                <a:gd name="T12" fmla="*/ 2632 w 2632"/>
                <a:gd name="T13" fmla="*/ 74 h 1676"/>
                <a:gd name="T14" fmla="*/ 2558 w 2632"/>
                <a:gd name="T15" fmla="*/ 0 h 1676"/>
                <a:gd name="T16" fmla="*/ 74 w 2632"/>
                <a:gd name="T17" fmla="*/ 0 h 1676"/>
                <a:gd name="T18" fmla="*/ 2458 w 2632"/>
                <a:gd name="T19" fmla="*/ 1511 h 1676"/>
                <a:gd name="T20" fmla="*/ 169 w 2632"/>
                <a:gd name="T21" fmla="*/ 1511 h 1676"/>
                <a:gd name="T22" fmla="*/ 169 w 2632"/>
                <a:gd name="T23" fmla="*/ 160 h 1676"/>
                <a:gd name="T24" fmla="*/ 2458 w 2632"/>
                <a:gd name="T25" fmla="*/ 160 h 1676"/>
                <a:gd name="T26" fmla="*/ 2458 w 2632"/>
                <a:gd name="T27" fmla="*/ 1511 h 1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32" h="1676">
                  <a:moveTo>
                    <a:pt x="74" y="0"/>
                  </a:moveTo>
                  <a:cubicBezTo>
                    <a:pt x="33" y="0"/>
                    <a:pt x="0" y="33"/>
                    <a:pt x="0" y="74"/>
                  </a:cubicBezTo>
                  <a:cubicBezTo>
                    <a:pt x="0" y="1602"/>
                    <a:pt x="0" y="1602"/>
                    <a:pt x="0" y="1602"/>
                  </a:cubicBezTo>
                  <a:cubicBezTo>
                    <a:pt x="0" y="1643"/>
                    <a:pt x="33" y="1676"/>
                    <a:pt x="74" y="1676"/>
                  </a:cubicBezTo>
                  <a:cubicBezTo>
                    <a:pt x="2558" y="1676"/>
                    <a:pt x="2558" y="1676"/>
                    <a:pt x="2558" y="1676"/>
                  </a:cubicBezTo>
                  <a:cubicBezTo>
                    <a:pt x="2599" y="1676"/>
                    <a:pt x="2632" y="1643"/>
                    <a:pt x="2632" y="1602"/>
                  </a:cubicBezTo>
                  <a:cubicBezTo>
                    <a:pt x="2632" y="74"/>
                    <a:pt x="2632" y="74"/>
                    <a:pt x="2632" y="74"/>
                  </a:cubicBezTo>
                  <a:cubicBezTo>
                    <a:pt x="2632" y="33"/>
                    <a:pt x="2599" y="0"/>
                    <a:pt x="2558" y="0"/>
                  </a:cubicBezTo>
                  <a:lnTo>
                    <a:pt x="74" y="0"/>
                  </a:lnTo>
                  <a:close/>
                  <a:moveTo>
                    <a:pt x="2458" y="1511"/>
                  </a:moveTo>
                  <a:cubicBezTo>
                    <a:pt x="169" y="1511"/>
                    <a:pt x="169" y="1511"/>
                    <a:pt x="169" y="1511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2458" y="160"/>
                    <a:pt x="2458" y="160"/>
                    <a:pt x="2458" y="160"/>
                  </a:cubicBezTo>
                  <a:lnTo>
                    <a:pt x="2458" y="1511"/>
                  </a:lnTo>
                  <a:close/>
                </a:path>
              </a:pathLst>
            </a:custGeom>
            <a:solidFill>
              <a:srgbClr val="616E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îSlïḋé">
              <a:extLst>
                <a:ext uri="{FF2B5EF4-FFF2-40B4-BE49-F238E27FC236}">
                  <a16:creationId xmlns:a16="http://schemas.microsoft.com/office/drawing/2014/main" id="{12E06C79-3364-4CCE-8E67-00173B5E7563}"/>
                </a:ext>
              </a:extLst>
            </p:cNvPr>
            <p:cNvSpPr/>
            <p:nvPr/>
          </p:nvSpPr>
          <p:spPr bwMode="auto">
            <a:xfrm>
              <a:off x="2397126" y="4878388"/>
              <a:ext cx="7400925" cy="928688"/>
            </a:xfrm>
            <a:custGeom>
              <a:avLst/>
              <a:gdLst>
                <a:gd name="T0" fmla="*/ 2939 w 3300"/>
                <a:gd name="T1" fmla="*/ 0 h 414"/>
                <a:gd name="T2" fmla="*/ 361 w 3300"/>
                <a:gd name="T3" fmla="*/ 0 h 414"/>
                <a:gd name="T4" fmla="*/ 314 w 3300"/>
                <a:gd name="T5" fmla="*/ 19 h 414"/>
                <a:gd name="T6" fmla="*/ 54 w 3300"/>
                <a:gd name="T7" fmla="*/ 263 h 414"/>
                <a:gd name="T8" fmla="*/ 101 w 3300"/>
                <a:gd name="T9" fmla="*/ 414 h 414"/>
                <a:gd name="T10" fmla="*/ 3199 w 3300"/>
                <a:gd name="T11" fmla="*/ 414 h 414"/>
                <a:gd name="T12" fmla="*/ 3246 w 3300"/>
                <a:gd name="T13" fmla="*/ 263 h 414"/>
                <a:gd name="T14" fmla="*/ 2986 w 3300"/>
                <a:gd name="T15" fmla="*/ 19 h 414"/>
                <a:gd name="T16" fmla="*/ 2939 w 3300"/>
                <a:gd name="T17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00" h="414">
                  <a:moveTo>
                    <a:pt x="2939" y="0"/>
                  </a:moveTo>
                  <a:cubicBezTo>
                    <a:pt x="361" y="0"/>
                    <a:pt x="361" y="0"/>
                    <a:pt x="361" y="0"/>
                  </a:cubicBezTo>
                  <a:cubicBezTo>
                    <a:pt x="344" y="0"/>
                    <a:pt x="327" y="7"/>
                    <a:pt x="314" y="19"/>
                  </a:cubicBezTo>
                  <a:cubicBezTo>
                    <a:pt x="54" y="263"/>
                    <a:pt x="54" y="263"/>
                    <a:pt x="54" y="263"/>
                  </a:cubicBezTo>
                  <a:cubicBezTo>
                    <a:pt x="0" y="314"/>
                    <a:pt x="31" y="414"/>
                    <a:pt x="101" y="414"/>
                  </a:cubicBezTo>
                  <a:cubicBezTo>
                    <a:pt x="3199" y="414"/>
                    <a:pt x="3199" y="414"/>
                    <a:pt x="3199" y="414"/>
                  </a:cubicBezTo>
                  <a:cubicBezTo>
                    <a:pt x="3269" y="414"/>
                    <a:pt x="3300" y="314"/>
                    <a:pt x="3246" y="263"/>
                  </a:cubicBezTo>
                  <a:cubicBezTo>
                    <a:pt x="2986" y="19"/>
                    <a:pt x="2986" y="19"/>
                    <a:pt x="2986" y="19"/>
                  </a:cubicBezTo>
                  <a:cubicBezTo>
                    <a:pt x="2973" y="7"/>
                    <a:pt x="2956" y="0"/>
                    <a:pt x="2939" y="0"/>
                  </a:cubicBezTo>
                  <a:close/>
                </a:path>
              </a:pathLst>
            </a:custGeom>
            <a:solidFill>
              <a:srgbClr val="616E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šḻídê">
              <a:extLst>
                <a:ext uri="{FF2B5EF4-FFF2-40B4-BE49-F238E27FC236}">
                  <a16:creationId xmlns:a16="http://schemas.microsoft.com/office/drawing/2014/main" id="{BC7F7C7D-86EB-4441-9C55-1D2318223644}"/>
                </a:ext>
              </a:extLst>
            </p:cNvPr>
            <p:cNvSpPr/>
            <p:nvPr/>
          </p:nvSpPr>
          <p:spPr bwMode="auto">
            <a:xfrm>
              <a:off x="3525838" y="1409701"/>
              <a:ext cx="5133975" cy="3027363"/>
            </a:xfrm>
            <a:custGeom>
              <a:avLst/>
              <a:gdLst>
                <a:gd name="T0" fmla="*/ 3234 w 3234"/>
                <a:gd name="T1" fmla="*/ 1907 h 1907"/>
                <a:gd name="T2" fmla="*/ 3234 w 3234"/>
                <a:gd name="T3" fmla="*/ 0 h 1907"/>
                <a:gd name="T4" fmla="*/ 0 w 3234"/>
                <a:gd name="T5" fmla="*/ 0 h 1907"/>
                <a:gd name="T6" fmla="*/ 0 w 3234"/>
                <a:gd name="T7" fmla="*/ 1907 h 1907"/>
                <a:gd name="T8" fmla="*/ 3234 w 3234"/>
                <a:gd name="T9" fmla="*/ 1907 h 1907"/>
                <a:gd name="T10" fmla="*/ 1586 w 3234"/>
                <a:gd name="T11" fmla="*/ 1221 h 1907"/>
                <a:gd name="T12" fmla="*/ 886 w 3234"/>
                <a:gd name="T13" fmla="*/ 1221 h 1907"/>
                <a:gd name="T14" fmla="*/ 886 w 3234"/>
                <a:gd name="T15" fmla="*/ 1135 h 1907"/>
                <a:gd name="T16" fmla="*/ 1586 w 3234"/>
                <a:gd name="T17" fmla="*/ 1135 h 1907"/>
                <a:gd name="T18" fmla="*/ 1586 w 3234"/>
                <a:gd name="T19" fmla="*/ 1221 h 1907"/>
                <a:gd name="T20" fmla="*/ 2380 w 3234"/>
                <a:gd name="T21" fmla="*/ 1701 h 1907"/>
                <a:gd name="T22" fmla="*/ 1630 w 3234"/>
                <a:gd name="T23" fmla="*/ 1701 h 1907"/>
                <a:gd name="T24" fmla="*/ 1630 w 3234"/>
                <a:gd name="T25" fmla="*/ 1635 h 1907"/>
                <a:gd name="T26" fmla="*/ 2380 w 3234"/>
                <a:gd name="T27" fmla="*/ 1635 h 1907"/>
                <a:gd name="T28" fmla="*/ 2380 w 3234"/>
                <a:gd name="T29" fmla="*/ 1701 h 1907"/>
                <a:gd name="T30" fmla="*/ 3073 w 3234"/>
                <a:gd name="T31" fmla="*/ 1588 h 1907"/>
                <a:gd name="T32" fmla="*/ 1630 w 3234"/>
                <a:gd name="T33" fmla="*/ 1588 h 1907"/>
                <a:gd name="T34" fmla="*/ 1630 w 3234"/>
                <a:gd name="T35" fmla="*/ 1522 h 1907"/>
                <a:gd name="T36" fmla="*/ 3073 w 3234"/>
                <a:gd name="T37" fmla="*/ 1522 h 1907"/>
                <a:gd name="T38" fmla="*/ 3073 w 3234"/>
                <a:gd name="T39" fmla="*/ 1588 h 1907"/>
                <a:gd name="T40" fmla="*/ 3073 w 3234"/>
                <a:gd name="T41" fmla="*/ 1474 h 1907"/>
                <a:gd name="T42" fmla="*/ 1630 w 3234"/>
                <a:gd name="T43" fmla="*/ 1474 h 1907"/>
                <a:gd name="T44" fmla="*/ 1630 w 3234"/>
                <a:gd name="T45" fmla="*/ 1409 h 1907"/>
                <a:gd name="T46" fmla="*/ 3073 w 3234"/>
                <a:gd name="T47" fmla="*/ 1409 h 1907"/>
                <a:gd name="T48" fmla="*/ 3073 w 3234"/>
                <a:gd name="T49" fmla="*/ 1474 h 1907"/>
                <a:gd name="T50" fmla="*/ 3073 w 3234"/>
                <a:gd name="T51" fmla="*/ 1361 h 1907"/>
                <a:gd name="T52" fmla="*/ 1630 w 3234"/>
                <a:gd name="T53" fmla="*/ 1361 h 1907"/>
                <a:gd name="T54" fmla="*/ 1630 w 3234"/>
                <a:gd name="T55" fmla="*/ 1296 h 1907"/>
                <a:gd name="T56" fmla="*/ 3073 w 3234"/>
                <a:gd name="T57" fmla="*/ 1296 h 1907"/>
                <a:gd name="T58" fmla="*/ 3073 w 3234"/>
                <a:gd name="T59" fmla="*/ 1361 h 1907"/>
                <a:gd name="T60" fmla="*/ 1630 w 3234"/>
                <a:gd name="T61" fmla="*/ 1221 h 1907"/>
                <a:gd name="T62" fmla="*/ 1630 w 3234"/>
                <a:gd name="T63" fmla="*/ 1135 h 1907"/>
                <a:gd name="T64" fmla="*/ 2330 w 3234"/>
                <a:gd name="T65" fmla="*/ 1135 h 1907"/>
                <a:gd name="T66" fmla="*/ 2330 w 3234"/>
                <a:gd name="T67" fmla="*/ 1221 h 1907"/>
                <a:gd name="T68" fmla="*/ 1630 w 3234"/>
                <a:gd name="T69" fmla="*/ 1221 h 1907"/>
                <a:gd name="T70" fmla="*/ 3073 w 3234"/>
                <a:gd name="T71" fmla="*/ 1221 h 1907"/>
                <a:gd name="T72" fmla="*/ 2373 w 3234"/>
                <a:gd name="T73" fmla="*/ 1221 h 1907"/>
                <a:gd name="T74" fmla="*/ 2373 w 3234"/>
                <a:gd name="T75" fmla="*/ 1135 h 1907"/>
                <a:gd name="T76" fmla="*/ 3073 w 3234"/>
                <a:gd name="T77" fmla="*/ 1135 h 1907"/>
                <a:gd name="T78" fmla="*/ 3073 w 3234"/>
                <a:gd name="T79" fmla="*/ 1221 h 1907"/>
                <a:gd name="T80" fmla="*/ 143 w 3234"/>
                <a:gd name="T81" fmla="*/ 163 h 1907"/>
                <a:gd name="T82" fmla="*/ 3073 w 3234"/>
                <a:gd name="T83" fmla="*/ 163 h 1907"/>
                <a:gd name="T84" fmla="*/ 3073 w 3234"/>
                <a:gd name="T85" fmla="*/ 1056 h 1907"/>
                <a:gd name="T86" fmla="*/ 143 w 3234"/>
                <a:gd name="T87" fmla="*/ 1056 h 1907"/>
                <a:gd name="T88" fmla="*/ 143 w 3234"/>
                <a:gd name="T89" fmla="*/ 163 h 1907"/>
                <a:gd name="T90" fmla="*/ 143 w 3234"/>
                <a:gd name="T91" fmla="*/ 1135 h 1907"/>
                <a:gd name="T92" fmla="*/ 842 w 3234"/>
                <a:gd name="T93" fmla="*/ 1135 h 1907"/>
                <a:gd name="T94" fmla="*/ 842 w 3234"/>
                <a:gd name="T95" fmla="*/ 1221 h 1907"/>
                <a:gd name="T96" fmla="*/ 143 w 3234"/>
                <a:gd name="T97" fmla="*/ 1221 h 1907"/>
                <a:gd name="T98" fmla="*/ 143 w 3234"/>
                <a:gd name="T99" fmla="*/ 1135 h 1907"/>
                <a:gd name="T100" fmla="*/ 143 w 3234"/>
                <a:gd name="T101" fmla="*/ 1300 h 1907"/>
                <a:gd name="T102" fmla="*/ 1585 w 3234"/>
                <a:gd name="T103" fmla="*/ 1300 h 1907"/>
                <a:gd name="T104" fmla="*/ 1585 w 3234"/>
                <a:gd name="T105" fmla="*/ 1739 h 1907"/>
                <a:gd name="T106" fmla="*/ 143 w 3234"/>
                <a:gd name="T107" fmla="*/ 1739 h 1907"/>
                <a:gd name="T108" fmla="*/ 143 w 3234"/>
                <a:gd name="T109" fmla="*/ 1300 h 1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4" h="1907">
                  <a:moveTo>
                    <a:pt x="3234" y="1907"/>
                  </a:moveTo>
                  <a:lnTo>
                    <a:pt x="3234" y="0"/>
                  </a:lnTo>
                  <a:lnTo>
                    <a:pt x="0" y="0"/>
                  </a:lnTo>
                  <a:lnTo>
                    <a:pt x="0" y="1907"/>
                  </a:lnTo>
                  <a:lnTo>
                    <a:pt x="3234" y="1907"/>
                  </a:lnTo>
                  <a:close/>
                  <a:moveTo>
                    <a:pt x="1586" y="1221"/>
                  </a:moveTo>
                  <a:lnTo>
                    <a:pt x="886" y="1221"/>
                  </a:lnTo>
                  <a:lnTo>
                    <a:pt x="886" y="1135"/>
                  </a:lnTo>
                  <a:lnTo>
                    <a:pt x="1586" y="1135"/>
                  </a:lnTo>
                  <a:lnTo>
                    <a:pt x="1586" y="1221"/>
                  </a:lnTo>
                  <a:close/>
                  <a:moveTo>
                    <a:pt x="2380" y="1701"/>
                  </a:moveTo>
                  <a:lnTo>
                    <a:pt x="1630" y="1701"/>
                  </a:lnTo>
                  <a:lnTo>
                    <a:pt x="1630" y="1635"/>
                  </a:lnTo>
                  <a:lnTo>
                    <a:pt x="2380" y="1635"/>
                  </a:lnTo>
                  <a:lnTo>
                    <a:pt x="2380" y="1701"/>
                  </a:lnTo>
                  <a:close/>
                  <a:moveTo>
                    <a:pt x="3073" y="1588"/>
                  </a:moveTo>
                  <a:lnTo>
                    <a:pt x="1630" y="1588"/>
                  </a:lnTo>
                  <a:lnTo>
                    <a:pt x="1630" y="1522"/>
                  </a:lnTo>
                  <a:lnTo>
                    <a:pt x="3073" y="1522"/>
                  </a:lnTo>
                  <a:lnTo>
                    <a:pt x="3073" y="1588"/>
                  </a:lnTo>
                  <a:close/>
                  <a:moveTo>
                    <a:pt x="3073" y="1474"/>
                  </a:moveTo>
                  <a:lnTo>
                    <a:pt x="1630" y="1474"/>
                  </a:lnTo>
                  <a:lnTo>
                    <a:pt x="1630" y="1409"/>
                  </a:lnTo>
                  <a:lnTo>
                    <a:pt x="3073" y="1409"/>
                  </a:lnTo>
                  <a:lnTo>
                    <a:pt x="3073" y="1474"/>
                  </a:lnTo>
                  <a:close/>
                  <a:moveTo>
                    <a:pt x="3073" y="1361"/>
                  </a:moveTo>
                  <a:lnTo>
                    <a:pt x="1630" y="1361"/>
                  </a:lnTo>
                  <a:lnTo>
                    <a:pt x="1630" y="1296"/>
                  </a:lnTo>
                  <a:lnTo>
                    <a:pt x="3073" y="1296"/>
                  </a:lnTo>
                  <a:lnTo>
                    <a:pt x="3073" y="1361"/>
                  </a:lnTo>
                  <a:close/>
                  <a:moveTo>
                    <a:pt x="1630" y="1221"/>
                  </a:moveTo>
                  <a:lnTo>
                    <a:pt x="1630" y="1135"/>
                  </a:lnTo>
                  <a:lnTo>
                    <a:pt x="2330" y="1135"/>
                  </a:lnTo>
                  <a:lnTo>
                    <a:pt x="2330" y="1221"/>
                  </a:lnTo>
                  <a:lnTo>
                    <a:pt x="1630" y="1221"/>
                  </a:lnTo>
                  <a:close/>
                  <a:moveTo>
                    <a:pt x="3073" y="1221"/>
                  </a:moveTo>
                  <a:lnTo>
                    <a:pt x="2373" y="1221"/>
                  </a:lnTo>
                  <a:lnTo>
                    <a:pt x="2373" y="1135"/>
                  </a:lnTo>
                  <a:lnTo>
                    <a:pt x="3073" y="1135"/>
                  </a:lnTo>
                  <a:lnTo>
                    <a:pt x="3073" y="1221"/>
                  </a:lnTo>
                  <a:close/>
                  <a:moveTo>
                    <a:pt x="143" y="163"/>
                  </a:moveTo>
                  <a:lnTo>
                    <a:pt x="3073" y="163"/>
                  </a:lnTo>
                  <a:lnTo>
                    <a:pt x="3073" y="1056"/>
                  </a:lnTo>
                  <a:lnTo>
                    <a:pt x="143" y="1056"/>
                  </a:lnTo>
                  <a:lnTo>
                    <a:pt x="143" y="163"/>
                  </a:lnTo>
                  <a:close/>
                  <a:moveTo>
                    <a:pt x="143" y="1135"/>
                  </a:moveTo>
                  <a:lnTo>
                    <a:pt x="842" y="1135"/>
                  </a:lnTo>
                  <a:lnTo>
                    <a:pt x="842" y="1221"/>
                  </a:lnTo>
                  <a:lnTo>
                    <a:pt x="143" y="1221"/>
                  </a:lnTo>
                  <a:lnTo>
                    <a:pt x="143" y="1135"/>
                  </a:lnTo>
                  <a:close/>
                  <a:moveTo>
                    <a:pt x="143" y="1300"/>
                  </a:moveTo>
                  <a:lnTo>
                    <a:pt x="1585" y="1300"/>
                  </a:lnTo>
                  <a:lnTo>
                    <a:pt x="1585" y="1739"/>
                  </a:lnTo>
                  <a:lnTo>
                    <a:pt x="143" y="1739"/>
                  </a:lnTo>
                  <a:lnTo>
                    <a:pt x="143" y="13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ṧ1íḑe">
              <a:extLst>
                <a:ext uri="{FF2B5EF4-FFF2-40B4-BE49-F238E27FC236}">
                  <a16:creationId xmlns:a16="http://schemas.microsoft.com/office/drawing/2014/main" id="{64A6C06C-1C5D-4C6F-B6B5-555561D8171E}"/>
                </a:ext>
              </a:extLst>
            </p:cNvPr>
            <p:cNvSpPr/>
            <p:nvPr/>
          </p:nvSpPr>
          <p:spPr bwMode="auto">
            <a:xfrm>
              <a:off x="3752851" y="1668463"/>
              <a:ext cx="4651375" cy="1417638"/>
            </a:xfrm>
            <a:prstGeom prst="rect">
              <a:avLst/>
            </a:prstGeom>
            <a:solidFill>
              <a:srgbClr val="AA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iṥļiḓè">
              <a:extLst>
                <a:ext uri="{FF2B5EF4-FFF2-40B4-BE49-F238E27FC236}">
                  <a16:creationId xmlns:a16="http://schemas.microsoft.com/office/drawing/2014/main" id="{ED556E5B-D58E-44DE-8579-E8197F24B31C}"/>
                </a:ext>
              </a:extLst>
            </p:cNvPr>
            <p:cNvSpPr/>
            <p:nvPr/>
          </p:nvSpPr>
          <p:spPr bwMode="auto">
            <a:xfrm>
              <a:off x="3752851" y="3211513"/>
              <a:ext cx="1109663" cy="136525"/>
            </a:xfrm>
            <a:prstGeom prst="rect">
              <a:avLst/>
            </a:prstGeom>
            <a:solidFill>
              <a:srgbClr val="82B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ï$ḷïdè">
              <a:extLst>
                <a:ext uri="{FF2B5EF4-FFF2-40B4-BE49-F238E27FC236}">
                  <a16:creationId xmlns:a16="http://schemas.microsoft.com/office/drawing/2014/main" id="{F12EA240-75AE-4C70-AC83-42C38C26FFF0}"/>
                </a:ext>
              </a:extLst>
            </p:cNvPr>
            <p:cNvSpPr/>
            <p:nvPr/>
          </p:nvSpPr>
          <p:spPr bwMode="auto">
            <a:xfrm>
              <a:off x="3752851" y="3473451"/>
              <a:ext cx="2289175" cy="696913"/>
            </a:xfrm>
            <a:prstGeom prst="rect">
              <a:avLst/>
            </a:prstGeom>
            <a:solidFill>
              <a:srgbClr val="82B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ṥ1íḍe">
              <a:extLst>
                <a:ext uri="{FF2B5EF4-FFF2-40B4-BE49-F238E27FC236}">
                  <a16:creationId xmlns:a16="http://schemas.microsoft.com/office/drawing/2014/main" id="{CFF8F275-0F02-4711-8EBD-CB08F1596620}"/>
                </a:ext>
              </a:extLst>
            </p:cNvPr>
            <p:cNvSpPr/>
            <p:nvPr/>
          </p:nvSpPr>
          <p:spPr bwMode="auto">
            <a:xfrm>
              <a:off x="4932363" y="3211513"/>
              <a:ext cx="1111250" cy="136525"/>
            </a:xfrm>
            <a:prstGeom prst="rect">
              <a:avLst/>
            </a:prstGeom>
            <a:solidFill>
              <a:srgbClr val="82B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šlíďé">
              <a:extLst>
                <a:ext uri="{FF2B5EF4-FFF2-40B4-BE49-F238E27FC236}">
                  <a16:creationId xmlns:a16="http://schemas.microsoft.com/office/drawing/2014/main" id="{55A73B59-6456-4680-82E0-8EB40B314C49}"/>
                </a:ext>
              </a:extLst>
            </p:cNvPr>
            <p:cNvSpPr/>
            <p:nvPr/>
          </p:nvSpPr>
          <p:spPr bwMode="auto">
            <a:xfrm>
              <a:off x="6113463" y="3211513"/>
              <a:ext cx="1111250" cy="136525"/>
            </a:xfrm>
            <a:prstGeom prst="rect">
              <a:avLst/>
            </a:prstGeom>
            <a:solidFill>
              <a:srgbClr val="82B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ṡḷíḓè">
              <a:extLst>
                <a:ext uri="{FF2B5EF4-FFF2-40B4-BE49-F238E27FC236}">
                  <a16:creationId xmlns:a16="http://schemas.microsoft.com/office/drawing/2014/main" id="{B9F49F6D-6FCE-421B-8AD9-256934F8ACEC}"/>
                </a:ext>
              </a:extLst>
            </p:cNvPr>
            <p:cNvSpPr/>
            <p:nvPr/>
          </p:nvSpPr>
          <p:spPr bwMode="auto">
            <a:xfrm>
              <a:off x="6113463" y="3467101"/>
              <a:ext cx="2290763" cy="103188"/>
            </a:xfrm>
            <a:prstGeom prst="rect">
              <a:avLst/>
            </a:prstGeom>
            <a:solidFill>
              <a:srgbClr val="AA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ṩ1íďê">
              <a:extLst>
                <a:ext uri="{FF2B5EF4-FFF2-40B4-BE49-F238E27FC236}">
                  <a16:creationId xmlns:a16="http://schemas.microsoft.com/office/drawing/2014/main" id="{B443E01F-6517-4F61-BE73-075DE4B7C8D8}"/>
                </a:ext>
              </a:extLst>
            </p:cNvPr>
            <p:cNvSpPr/>
            <p:nvPr/>
          </p:nvSpPr>
          <p:spPr bwMode="auto">
            <a:xfrm>
              <a:off x="6113463" y="3646488"/>
              <a:ext cx="2290763" cy="103188"/>
            </a:xfrm>
            <a:prstGeom prst="rect">
              <a:avLst/>
            </a:prstGeom>
            <a:solidFill>
              <a:srgbClr val="AA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íṩliďê">
              <a:extLst>
                <a:ext uri="{FF2B5EF4-FFF2-40B4-BE49-F238E27FC236}">
                  <a16:creationId xmlns:a16="http://schemas.microsoft.com/office/drawing/2014/main" id="{41914A79-6E3C-4D20-AC7B-3251E0CEE96C}"/>
                </a:ext>
              </a:extLst>
            </p:cNvPr>
            <p:cNvSpPr/>
            <p:nvPr/>
          </p:nvSpPr>
          <p:spPr bwMode="auto">
            <a:xfrm>
              <a:off x="6113463" y="3825876"/>
              <a:ext cx="2290763" cy="104775"/>
            </a:xfrm>
            <a:prstGeom prst="rect">
              <a:avLst/>
            </a:prstGeom>
            <a:solidFill>
              <a:srgbClr val="AA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sḻíḍé">
              <a:extLst>
                <a:ext uri="{FF2B5EF4-FFF2-40B4-BE49-F238E27FC236}">
                  <a16:creationId xmlns:a16="http://schemas.microsoft.com/office/drawing/2014/main" id="{D5DF1DE4-6257-4EC1-9BAB-7EF63128243E}"/>
                </a:ext>
              </a:extLst>
            </p:cNvPr>
            <p:cNvSpPr/>
            <p:nvPr/>
          </p:nvSpPr>
          <p:spPr bwMode="auto">
            <a:xfrm>
              <a:off x="6113463" y="4005263"/>
              <a:ext cx="1190625" cy="104775"/>
            </a:xfrm>
            <a:prstGeom prst="rect">
              <a:avLst/>
            </a:prstGeom>
            <a:solidFill>
              <a:srgbClr val="AA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Sľïḍé">
              <a:extLst>
                <a:ext uri="{FF2B5EF4-FFF2-40B4-BE49-F238E27FC236}">
                  <a16:creationId xmlns:a16="http://schemas.microsoft.com/office/drawing/2014/main" id="{C3E5DE79-0868-4F95-9F6A-D625748C750B}"/>
                </a:ext>
              </a:extLst>
            </p:cNvPr>
            <p:cNvSpPr/>
            <p:nvPr/>
          </p:nvSpPr>
          <p:spPr bwMode="auto">
            <a:xfrm>
              <a:off x="7292976" y="3211513"/>
              <a:ext cx="1111250" cy="136525"/>
            </a:xfrm>
            <a:prstGeom prst="rect">
              <a:avLst/>
            </a:prstGeom>
            <a:solidFill>
              <a:srgbClr val="82B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5" name="文本框 4">
            <a:extLst>
              <a:ext uri="{FF2B5EF4-FFF2-40B4-BE49-F238E27FC236}">
                <a16:creationId xmlns:a16="http://schemas.microsoft.com/office/drawing/2014/main" id="{9A96ACD6-8D48-48B2-AED0-06AC222CE295}"/>
              </a:ext>
            </a:extLst>
          </p:cNvPr>
          <p:cNvSpPr txBox="1"/>
          <p:nvPr/>
        </p:nvSpPr>
        <p:spPr>
          <a:xfrm>
            <a:off x="7516111" y="2272448"/>
            <a:ext cx="2771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ust-lang.org/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22" name="0f6de2a3-fe85-4f1e-90f8-a4d7ef5d705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7538AA2-2059-459E-8555-8CF41E28BB0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501029" y="3588024"/>
            <a:ext cx="2477989" cy="1843373"/>
            <a:chOff x="3595688" y="1562100"/>
            <a:chExt cx="5008563" cy="3725863"/>
          </a:xfrm>
        </p:grpSpPr>
        <p:sp>
          <p:nvSpPr>
            <p:cNvPr id="23" name="ïŝḷïḑè">
              <a:extLst>
                <a:ext uri="{FF2B5EF4-FFF2-40B4-BE49-F238E27FC236}">
                  <a16:creationId xmlns:a16="http://schemas.microsoft.com/office/drawing/2014/main" id="{12D12A7A-B8DD-48A7-88A1-C3247E392634}"/>
                </a:ext>
              </a:extLst>
            </p:cNvPr>
            <p:cNvSpPr/>
            <p:nvPr/>
          </p:nvSpPr>
          <p:spPr bwMode="auto">
            <a:xfrm>
              <a:off x="6646863" y="1966913"/>
              <a:ext cx="1957388" cy="2668588"/>
            </a:xfrm>
            <a:custGeom>
              <a:avLst/>
              <a:gdLst>
                <a:gd name="T0" fmla="*/ 179 w 261"/>
                <a:gd name="T1" fmla="*/ 356 h 356"/>
                <a:gd name="T2" fmla="*/ 0 w 261"/>
                <a:gd name="T3" fmla="*/ 356 h 356"/>
                <a:gd name="T4" fmla="*/ 82 w 261"/>
                <a:gd name="T5" fmla="*/ 19 h 356"/>
                <a:gd name="T6" fmla="*/ 105 w 261"/>
                <a:gd name="T7" fmla="*/ 0 h 356"/>
                <a:gd name="T8" fmla="*/ 234 w 261"/>
                <a:gd name="T9" fmla="*/ 0 h 356"/>
                <a:gd name="T10" fmla="*/ 257 w 261"/>
                <a:gd name="T11" fmla="*/ 31 h 356"/>
                <a:gd name="T12" fmla="*/ 179 w 261"/>
                <a:gd name="T13" fmla="*/ 35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1" h="356">
                  <a:moveTo>
                    <a:pt x="179" y="356"/>
                  </a:moveTo>
                  <a:cubicBezTo>
                    <a:pt x="0" y="356"/>
                    <a:pt x="0" y="356"/>
                    <a:pt x="0" y="356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4" y="8"/>
                    <a:pt x="94" y="0"/>
                    <a:pt x="105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9" y="0"/>
                    <a:pt x="261" y="15"/>
                    <a:pt x="257" y="31"/>
                  </a:cubicBezTo>
                  <a:lnTo>
                    <a:pt x="179" y="356"/>
                  </a:lnTo>
                  <a:close/>
                </a:path>
              </a:pathLst>
            </a:custGeom>
            <a:solidFill>
              <a:srgbClr val="A8BA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ṩľíḑé">
              <a:extLst>
                <a:ext uri="{FF2B5EF4-FFF2-40B4-BE49-F238E27FC236}">
                  <a16:creationId xmlns:a16="http://schemas.microsoft.com/office/drawing/2014/main" id="{C7F17D86-65E2-4693-84F7-DEFB29CC2B29}"/>
                </a:ext>
              </a:extLst>
            </p:cNvPr>
            <p:cNvSpPr/>
            <p:nvPr/>
          </p:nvSpPr>
          <p:spPr bwMode="auto">
            <a:xfrm>
              <a:off x="7593013" y="1966913"/>
              <a:ext cx="1011238" cy="2668588"/>
            </a:xfrm>
            <a:custGeom>
              <a:avLst/>
              <a:gdLst>
                <a:gd name="T0" fmla="*/ 53 w 135"/>
                <a:gd name="T1" fmla="*/ 356 h 356"/>
                <a:gd name="T2" fmla="*/ 0 w 135"/>
                <a:gd name="T3" fmla="*/ 356 h 356"/>
                <a:gd name="T4" fmla="*/ 81 w 135"/>
                <a:gd name="T5" fmla="*/ 19 h 356"/>
                <a:gd name="T6" fmla="*/ 105 w 135"/>
                <a:gd name="T7" fmla="*/ 0 h 356"/>
                <a:gd name="T8" fmla="*/ 108 w 135"/>
                <a:gd name="T9" fmla="*/ 0 h 356"/>
                <a:gd name="T10" fmla="*/ 131 w 135"/>
                <a:gd name="T11" fmla="*/ 31 h 356"/>
                <a:gd name="T12" fmla="*/ 53 w 135"/>
                <a:gd name="T13" fmla="*/ 35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356">
                  <a:moveTo>
                    <a:pt x="53" y="356"/>
                  </a:moveTo>
                  <a:cubicBezTo>
                    <a:pt x="0" y="356"/>
                    <a:pt x="0" y="356"/>
                    <a:pt x="0" y="356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4" y="8"/>
                    <a:pt x="94" y="0"/>
                    <a:pt x="105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23" y="0"/>
                    <a:pt x="135" y="15"/>
                    <a:pt x="131" y="31"/>
                  </a:cubicBezTo>
                  <a:lnTo>
                    <a:pt x="53" y="356"/>
                  </a:ln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ŝļiďê">
              <a:extLst>
                <a:ext uri="{FF2B5EF4-FFF2-40B4-BE49-F238E27FC236}">
                  <a16:creationId xmlns:a16="http://schemas.microsoft.com/office/drawing/2014/main" id="{DDD13449-A60C-4BAB-9586-8F2C1E86E7AF}"/>
                </a:ext>
              </a:extLst>
            </p:cNvPr>
            <p:cNvSpPr/>
            <p:nvPr/>
          </p:nvSpPr>
          <p:spPr bwMode="auto">
            <a:xfrm>
              <a:off x="3767138" y="4035425"/>
              <a:ext cx="1125538" cy="600075"/>
            </a:xfrm>
            <a:custGeom>
              <a:avLst/>
              <a:gdLst>
                <a:gd name="T0" fmla="*/ 117 w 150"/>
                <a:gd name="T1" fmla="*/ 0 h 80"/>
                <a:gd name="T2" fmla="*/ 64 w 150"/>
                <a:gd name="T3" fmla="*/ 47 h 80"/>
                <a:gd name="T4" fmla="*/ 7 w 150"/>
                <a:gd name="T5" fmla="*/ 64 h 80"/>
                <a:gd name="T6" fmla="*/ 16 w 150"/>
                <a:gd name="T7" fmla="*/ 79 h 80"/>
                <a:gd name="T8" fmla="*/ 89 w 150"/>
                <a:gd name="T9" fmla="*/ 79 h 80"/>
                <a:gd name="T10" fmla="*/ 100 w 150"/>
                <a:gd name="T11" fmla="*/ 59 h 80"/>
                <a:gd name="T12" fmla="*/ 150 w 150"/>
                <a:gd name="T13" fmla="*/ 18 h 80"/>
                <a:gd name="T14" fmla="*/ 117 w 150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0" h="80">
                  <a:moveTo>
                    <a:pt x="117" y="0"/>
                  </a:moveTo>
                  <a:cubicBezTo>
                    <a:pt x="117" y="0"/>
                    <a:pt x="72" y="44"/>
                    <a:pt x="64" y="47"/>
                  </a:cubicBezTo>
                  <a:cubicBezTo>
                    <a:pt x="57" y="50"/>
                    <a:pt x="14" y="65"/>
                    <a:pt x="7" y="64"/>
                  </a:cubicBezTo>
                  <a:cubicBezTo>
                    <a:pt x="0" y="62"/>
                    <a:pt x="5" y="78"/>
                    <a:pt x="16" y="79"/>
                  </a:cubicBezTo>
                  <a:cubicBezTo>
                    <a:pt x="27" y="80"/>
                    <a:pt x="82" y="79"/>
                    <a:pt x="89" y="79"/>
                  </a:cubicBezTo>
                  <a:cubicBezTo>
                    <a:pt x="96" y="79"/>
                    <a:pt x="95" y="70"/>
                    <a:pt x="100" y="59"/>
                  </a:cubicBezTo>
                  <a:cubicBezTo>
                    <a:pt x="104" y="49"/>
                    <a:pt x="150" y="18"/>
                    <a:pt x="150" y="18"/>
                  </a:cubicBezTo>
                  <a:lnTo>
                    <a:pt x="117" y="0"/>
                  </a:lnTo>
                  <a:close/>
                </a:path>
              </a:pathLst>
            </a:custGeom>
            <a:solidFill>
              <a:srgbClr val="F9C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š1íḑê">
              <a:extLst>
                <a:ext uri="{FF2B5EF4-FFF2-40B4-BE49-F238E27FC236}">
                  <a16:creationId xmlns:a16="http://schemas.microsoft.com/office/drawing/2014/main" id="{912D2A59-4A57-40BF-ACD6-781AC8CEF789}"/>
                </a:ext>
              </a:extLst>
            </p:cNvPr>
            <p:cNvSpPr/>
            <p:nvPr/>
          </p:nvSpPr>
          <p:spPr bwMode="auto">
            <a:xfrm>
              <a:off x="3767138" y="4351338"/>
              <a:ext cx="750888" cy="284163"/>
            </a:xfrm>
            <a:custGeom>
              <a:avLst/>
              <a:gdLst>
                <a:gd name="T0" fmla="*/ 80 w 100"/>
                <a:gd name="T1" fmla="*/ 8 h 38"/>
                <a:gd name="T2" fmla="*/ 71 w 100"/>
                <a:gd name="T3" fmla="*/ 0 h 38"/>
                <a:gd name="T4" fmla="*/ 64 w 100"/>
                <a:gd name="T5" fmla="*/ 5 h 38"/>
                <a:gd name="T6" fmla="*/ 7 w 100"/>
                <a:gd name="T7" fmla="*/ 22 h 38"/>
                <a:gd name="T8" fmla="*/ 16 w 100"/>
                <a:gd name="T9" fmla="*/ 37 h 38"/>
                <a:gd name="T10" fmla="*/ 89 w 100"/>
                <a:gd name="T11" fmla="*/ 37 h 38"/>
                <a:gd name="T12" fmla="*/ 100 w 100"/>
                <a:gd name="T13" fmla="*/ 18 h 38"/>
                <a:gd name="T14" fmla="*/ 80 w 100"/>
                <a:gd name="T15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38">
                  <a:moveTo>
                    <a:pt x="80" y="8"/>
                  </a:moveTo>
                  <a:cubicBezTo>
                    <a:pt x="78" y="4"/>
                    <a:pt x="74" y="2"/>
                    <a:pt x="71" y="0"/>
                  </a:cubicBezTo>
                  <a:cubicBezTo>
                    <a:pt x="68" y="3"/>
                    <a:pt x="66" y="5"/>
                    <a:pt x="64" y="5"/>
                  </a:cubicBezTo>
                  <a:cubicBezTo>
                    <a:pt x="57" y="8"/>
                    <a:pt x="14" y="23"/>
                    <a:pt x="7" y="22"/>
                  </a:cubicBezTo>
                  <a:cubicBezTo>
                    <a:pt x="0" y="20"/>
                    <a:pt x="5" y="36"/>
                    <a:pt x="16" y="37"/>
                  </a:cubicBezTo>
                  <a:cubicBezTo>
                    <a:pt x="27" y="38"/>
                    <a:pt x="82" y="37"/>
                    <a:pt x="89" y="37"/>
                  </a:cubicBezTo>
                  <a:cubicBezTo>
                    <a:pt x="96" y="37"/>
                    <a:pt x="95" y="28"/>
                    <a:pt x="100" y="18"/>
                  </a:cubicBezTo>
                  <a:cubicBezTo>
                    <a:pt x="91" y="16"/>
                    <a:pt x="82" y="13"/>
                    <a:pt x="80" y="8"/>
                  </a:cubicBez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ï$ḻiḑé">
              <a:extLst>
                <a:ext uri="{FF2B5EF4-FFF2-40B4-BE49-F238E27FC236}">
                  <a16:creationId xmlns:a16="http://schemas.microsoft.com/office/drawing/2014/main" id="{0EA02757-335A-47B2-941E-B3D6904D0EE3}"/>
                </a:ext>
              </a:extLst>
            </p:cNvPr>
            <p:cNvSpPr/>
            <p:nvPr/>
          </p:nvSpPr>
          <p:spPr bwMode="auto">
            <a:xfrm>
              <a:off x="4606925" y="3302000"/>
              <a:ext cx="2474913" cy="1385888"/>
            </a:xfrm>
            <a:custGeom>
              <a:avLst/>
              <a:gdLst>
                <a:gd name="T0" fmla="*/ 330 w 330"/>
                <a:gd name="T1" fmla="*/ 141 h 185"/>
                <a:gd name="T2" fmla="*/ 297 w 330"/>
                <a:gd name="T3" fmla="*/ 185 h 185"/>
                <a:gd name="T4" fmla="*/ 263 w 330"/>
                <a:gd name="T5" fmla="*/ 185 h 185"/>
                <a:gd name="T6" fmla="*/ 114 w 330"/>
                <a:gd name="T7" fmla="*/ 95 h 185"/>
                <a:gd name="T8" fmla="*/ 87 w 330"/>
                <a:gd name="T9" fmla="*/ 104 h 185"/>
                <a:gd name="T10" fmla="*/ 43 w 330"/>
                <a:gd name="T11" fmla="*/ 135 h 185"/>
                <a:gd name="T12" fmla="*/ 0 w 330"/>
                <a:gd name="T13" fmla="*/ 99 h 185"/>
                <a:gd name="T14" fmla="*/ 55 w 330"/>
                <a:gd name="T15" fmla="*/ 36 h 185"/>
                <a:gd name="T16" fmla="*/ 129 w 330"/>
                <a:gd name="T17" fmla="*/ 9 h 185"/>
                <a:gd name="T18" fmla="*/ 230 w 330"/>
                <a:gd name="T19" fmla="*/ 73 h 185"/>
                <a:gd name="T20" fmla="*/ 330 w 330"/>
                <a:gd name="T21" fmla="*/ 141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0" h="185">
                  <a:moveTo>
                    <a:pt x="330" y="141"/>
                  </a:moveTo>
                  <a:cubicBezTo>
                    <a:pt x="330" y="141"/>
                    <a:pt x="323" y="185"/>
                    <a:pt x="297" y="185"/>
                  </a:cubicBezTo>
                  <a:cubicBezTo>
                    <a:pt x="270" y="185"/>
                    <a:pt x="281" y="185"/>
                    <a:pt x="263" y="185"/>
                  </a:cubicBezTo>
                  <a:cubicBezTo>
                    <a:pt x="237" y="185"/>
                    <a:pt x="122" y="102"/>
                    <a:pt x="114" y="95"/>
                  </a:cubicBezTo>
                  <a:cubicBezTo>
                    <a:pt x="106" y="89"/>
                    <a:pt x="97" y="95"/>
                    <a:pt x="87" y="104"/>
                  </a:cubicBezTo>
                  <a:cubicBezTo>
                    <a:pt x="76" y="113"/>
                    <a:pt x="43" y="135"/>
                    <a:pt x="43" y="135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9"/>
                    <a:pt x="30" y="61"/>
                    <a:pt x="55" y="36"/>
                  </a:cubicBezTo>
                  <a:cubicBezTo>
                    <a:pt x="80" y="11"/>
                    <a:pt x="104" y="0"/>
                    <a:pt x="129" y="9"/>
                  </a:cubicBezTo>
                  <a:cubicBezTo>
                    <a:pt x="154" y="17"/>
                    <a:pt x="230" y="73"/>
                    <a:pt x="230" y="73"/>
                  </a:cubicBezTo>
                  <a:lnTo>
                    <a:pt x="330" y="141"/>
                  </a:ln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ṥ1íḑè">
              <a:extLst>
                <a:ext uri="{FF2B5EF4-FFF2-40B4-BE49-F238E27FC236}">
                  <a16:creationId xmlns:a16="http://schemas.microsoft.com/office/drawing/2014/main" id="{CD361D6C-EB37-4978-94ED-0D47792972E1}"/>
                </a:ext>
              </a:extLst>
            </p:cNvPr>
            <p:cNvSpPr/>
            <p:nvPr/>
          </p:nvSpPr>
          <p:spPr bwMode="auto">
            <a:xfrm>
              <a:off x="4105275" y="4035425"/>
              <a:ext cx="1117600" cy="600075"/>
            </a:xfrm>
            <a:custGeom>
              <a:avLst/>
              <a:gdLst>
                <a:gd name="T0" fmla="*/ 116 w 149"/>
                <a:gd name="T1" fmla="*/ 0 h 80"/>
                <a:gd name="T2" fmla="*/ 64 w 149"/>
                <a:gd name="T3" fmla="*/ 47 h 80"/>
                <a:gd name="T4" fmla="*/ 7 w 149"/>
                <a:gd name="T5" fmla="*/ 64 h 80"/>
                <a:gd name="T6" fmla="*/ 16 w 149"/>
                <a:gd name="T7" fmla="*/ 79 h 80"/>
                <a:gd name="T8" fmla="*/ 89 w 149"/>
                <a:gd name="T9" fmla="*/ 79 h 80"/>
                <a:gd name="T10" fmla="*/ 99 w 149"/>
                <a:gd name="T11" fmla="*/ 59 h 80"/>
                <a:gd name="T12" fmla="*/ 149 w 149"/>
                <a:gd name="T13" fmla="*/ 18 h 80"/>
                <a:gd name="T14" fmla="*/ 116 w 14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9" h="80">
                  <a:moveTo>
                    <a:pt x="116" y="0"/>
                  </a:moveTo>
                  <a:cubicBezTo>
                    <a:pt x="116" y="0"/>
                    <a:pt x="71" y="44"/>
                    <a:pt x="64" y="47"/>
                  </a:cubicBezTo>
                  <a:cubicBezTo>
                    <a:pt x="56" y="50"/>
                    <a:pt x="13" y="65"/>
                    <a:pt x="7" y="64"/>
                  </a:cubicBezTo>
                  <a:cubicBezTo>
                    <a:pt x="0" y="62"/>
                    <a:pt x="4" y="78"/>
                    <a:pt x="16" y="79"/>
                  </a:cubicBezTo>
                  <a:cubicBezTo>
                    <a:pt x="27" y="80"/>
                    <a:pt x="82" y="79"/>
                    <a:pt x="89" y="79"/>
                  </a:cubicBezTo>
                  <a:cubicBezTo>
                    <a:pt x="95" y="79"/>
                    <a:pt x="95" y="70"/>
                    <a:pt x="99" y="59"/>
                  </a:cubicBezTo>
                  <a:cubicBezTo>
                    <a:pt x="104" y="49"/>
                    <a:pt x="149" y="18"/>
                    <a:pt x="149" y="18"/>
                  </a:cubicBezTo>
                  <a:lnTo>
                    <a:pt x="116" y="0"/>
                  </a:lnTo>
                  <a:close/>
                </a:path>
              </a:pathLst>
            </a:custGeom>
            <a:solidFill>
              <a:srgbClr val="F9C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ṩḻïḑè">
              <a:extLst>
                <a:ext uri="{FF2B5EF4-FFF2-40B4-BE49-F238E27FC236}">
                  <a16:creationId xmlns:a16="http://schemas.microsoft.com/office/drawing/2014/main" id="{F70F04F1-561B-49D4-A40E-5AFCB7D81DF8}"/>
                </a:ext>
              </a:extLst>
            </p:cNvPr>
            <p:cNvSpPr/>
            <p:nvPr/>
          </p:nvSpPr>
          <p:spPr bwMode="auto">
            <a:xfrm>
              <a:off x="4105275" y="4351338"/>
              <a:ext cx="742950" cy="284163"/>
            </a:xfrm>
            <a:custGeom>
              <a:avLst/>
              <a:gdLst>
                <a:gd name="T0" fmla="*/ 79 w 99"/>
                <a:gd name="T1" fmla="*/ 8 h 38"/>
                <a:gd name="T2" fmla="*/ 71 w 99"/>
                <a:gd name="T3" fmla="*/ 0 h 38"/>
                <a:gd name="T4" fmla="*/ 64 w 99"/>
                <a:gd name="T5" fmla="*/ 5 h 38"/>
                <a:gd name="T6" fmla="*/ 7 w 99"/>
                <a:gd name="T7" fmla="*/ 22 h 38"/>
                <a:gd name="T8" fmla="*/ 16 w 99"/>
                <a:gd name="T9" fmla="*/ 37 h 38"/>
                <a:gd name="T10" fmla="*/ 89 w 99"/>
                <a:gd name="T11" fmla="*/ 37 h 38"/>
                <a:gd name="T12" fmla="*/ 99 w 99"/>
                <a:gd name="T13" fmla="*/ 18 h 38"/>
                <a:gd name="T14" fmla="*/ 79 w 99"/>
                <a:gd name="T15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" h="38">
                  <a:moveTo>
                    <a:pt x="79" y="8"/>
                  </a:moveTo>
                  <a:cubicBezTo>
                    <a:pt x="77" y="4"/>
                    <a:pt x="74" y="2"/>
                    <a:pt x="71" y="0"/>
                  </a:cubicBezTo>
                  <a:cubicBezTo>
                    <a:pt x="68" y="3"/>
                    <a:pt x="65" y="5"/>
                    <a:pt x="64" y="5"/>
                  </a:cubicBezTo>
                  <a:cubicBezTo>
                    <a:pt x="56" y="8"/>
                    <a:pt x="13" y="23"/>
                    <a:pt x="7" y="22"/>
                  </a:cubicBezTo>
                  <a:cubicBezTo>
                    <a:pt x="0" y="20"/>
                    <a:pt x="4" y="36"/>
                    <a:pt x="16" y="37"/>
                  </a:cubicBezTo>
                  <a:cubicBezTo>
                    <a:pt x="27" y="38"/>
                    <a:pt x="82" y="37"/>
                    <a:pt x="89" y="37"/>
                  </a:cubicBezTo>
                  <a:cubicBezTo>
                    <a:pt x="95" y="37"/>
                    <a:pt x="95" y="28"/>
                    <a:pt x="99" y="18"/>
                  </a:cubicBezTo>
                  <a:cubicBezTo>
                    <a:pt x="90" y="16"/>
                    <a:pt x="82" y="13"/>
                    <a:pt x="79" y="8"/>
                  </a:cubicBezTo>
                  <a:close/>
                </a:path>
              </a:pathLst>
            </a:custGeom>
            <a:solidFill>
              <a:srgbClr val="647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ṡļídé">
              <a:extLst>
                <a:ext uri="{FF2B5EF4-FFF2-40B4-BE49-F238E27FC236}">
                  <a16:creationId xmlns:a16="http://schemas.microsoft.com/office/drawing/2014/main" id="{4354612C-80A1-4E53-84CF-5FF0E23C5274}"/>
                </a:ext>
              </a:extLst>
            </p:cNvPr>
            <p:cNvSpPr/>
            <p:nvPr/>
          </p:nvSpPr>
          <p:spPr bwMode="auto">
            <a:xfrm>
              <a:off x="6534150" y="2919413"/>
              <a:ext cx="330200" cy="449263"/>
            </a:xfrm>
            <a:custGeom>
              <a:avLst/>
              <a:gdLst>
                <a:gd name="T0" fmla="*/ 44 w 44"/>
                <a:gd name="T1" fmla="*/ 0 h 60"/>
                <a:gd name="T2" fmla="*/ 9 w 44"/>
                <a:gd name="T3" fmla="*/ 34 h 60"/>
                <a:gd name="T4" fmla="*/ 31 w 44"/>
                <a:gd name="T5" fmla="*/ 60 h 60"/>
                <a:gd name="T6" fmla="*/ 44 w 44"/>
                <a:gd name="T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60">
                  <a:moveTo>
                    <a:pt x="44" y="0"/>
                  </a:moveTo>
                  <a:cubicBezTo>
                    <a:pt x="30" y="2"/>
                    <a:pt x="18" y="15"/>
                    <a:pt x="9" y="34"/>
                  </a:cubicBezTo>
                  <a:cubicBezTo>
                    <a:pt x="0" y="53"/>
                    <a:pt x="31" y="60"/>
                    <a:pt x="31" y="60"/>
                  </a:cubicBezTo>
                  <a:lnTo>
                    <a:pt x="44" y="0"/>
                  </a:lnTo>
                  <a:close/>
                </a:path>
              </a:pathLst>
            </a:custGeom>
            <a:solidFill>
              <a:srgbClr val="F9C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ṣ1íďé">
              <a:extLst>
                <a:ext uri="{FF2B5EF4-FFF2-40B4-BE49-F238E27FC236}">
                  <a16:creationId xmlns:a16="http://schemas.microsoft.com/office/drawing/2014/main" id="{5BFF228C-A961-4A86-B27C-9F91C459A077}"/>
                </a:ext>
              </a:extLst>
            </p:cNvPr>
            <p:cNvSpPr/>
            <p:nvPr/>
          </p:nvSpPr>
          <p:spPr bwMode="auto">
            <a:xfrm>
              <a:off x="5146675" y="1562100"/>
              <a:ext cx="1298575" cy="1357313"/>
            </a:xfrm>
            <a:custGeom>
              <a:avLst/>
              <a:gdLst>
                <a:gd name="T0" fmla="*/ 134 w 173"/>
                <a:gd name="T1" fmla="*/ 148 h 181"/>
                <a:gd name="T2" fmla="*/ 173 w 173"/>
                <a:gd name="T3" fmla="*/ 81 h 181"/>
                <a:gd name="T4" fmla="*/ 87 w 173"/>
                <a:gd name="T5" fmla="*/ 0 h 181"/>
                <a:gd name="T6" fmla="*/ 0 w 173"/>
                <a:gd name="T7" fmla="*/ 81 h 181"/>
                <a:gd name="T8" fmla="*/ 87 w 173"/>
                <a:gd name="T9" fmla="*/ 162 h 181"/>
                <a:gd name="T10" fmla="*/ 106 w 173"/>
                <a:gd name="T11" fmla="*/ 160 h 181"/>
                <a:gd name="T12" fmla="*/ 170 w 173"/>
                <a:gd name="T13" fmla="*/ 174 h 181"/>
                <a:gd name="T14" fmla="*/ 134 w 173"/>
                <a:gd name="T15" fmla="*/ 14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" h="181">
                  <a:moveTo>
                    <a:pt x="134" y="148"/>
                  </a:moveTo>
                  <a:cubicBezTo>
                    <a:pt x="158" y="134"/>
                    <a:pt x="173" y="109"/>
                    <a:pt x="173" y="81"/>
                  </a:cubicBezTo>
                  <a:cubicBezTo>
                    <a:pt x="173" y="36"/>
                    <a:pt x="135" y="0"/>
                    <a:pt x="87" y="0"/>
                  </a:cubicBezTo>
                  <a:cubicBezTo>
                    <a:pt x="39" y="0"/>
                    <a:pt x="0" y="36"/>
                    <a:pt x="0" y="81"/>
                  </a:cubicBezTo>
                  <a:cubicBezTo>
                    <a:pt x="0" y="126"/>
                    <a:pt x="39" y="162"/>
                    <a:pt x="87" y="162"/>
                  </a:cubicBezTo>
                  <a:cubicBezTo>
                    <a:pt x="93" y="162"/>
                    <a:pt x="99" y="161"/>
                    <a:pt x="106" y="160"/>
                  </a:cubicBezTo>
                  <a:cubicBezTo>
                    <a:pt x="118" y="177"/>
                    <a:pt x="149" y="181"/>
                    <a:pt x="170" y="174"/>
                  </a:cubicBezTo>
                  <a:cubicBezTo>
                    <a:pt x="150" y="167"/>
                    <a:pt x="140" y="157"/>
                    <a:pt x="134" y="148"/>
                  </a:cubicBezTo>
                  <a:close/>
                </a:path>
              </a:pathLst>
            </a:custGeom>
            <a:solidFill>
              <a:srgbClr val="FFD8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îṩ1ïdè">
              <a:extLst>
                <a:ext uri="{FF2B5EF4-FFF2-40B4-BE49-F238E27FC236}">
                  <a16:creationId xmlns:a16="http://schemas.microsoft.com/office/drawing/2014/main" id="{27173C8E-F1E2-4AAB-BBA3-573B6F896962}"/>
                </a:ext>
              </a:extLst>
            </p:cNvPr>
            <p:cNvSpPr/>
            <p:nvPr/>
          </p:nvSpPr>
          <p:spPr bwMode="auto">
            <a:xfrm>
              <a:off x="6640513" y="2867025"/>
              <a:ext cx="1116013" cy="1566863"/>
            </a:xfrm>
            <a:custGeom>
              <a:avLst/>
              <a:gdLst>
                <a:gd name="T0" fmla="*/ 76 w 149"/>
                <a:gd name="T1" fmla="*/ 0 h 209"/>
                <a:gd name="T2" fmla="*/ 96 w 149"/>
                <a:gd name="T3" fmla="*/ 6 h 209"/>
                <a:gd name="T4" fmla="*/ 144 w 149"/>
                <a:gd name="T5" fmla="*/ 9 h 209"/>
                <a:gd name="T6" fmla="*/ 144 w 149"/>
                <a:gd name="T7" fmla="*/ 125 h 209"/>
                <a:gd name="T8" fmla="*/ 100 w 149"/>
                <a:gd name="T9" fmla="*/ 206 h 209"/>
                <a:gd name="T10" fmla="*/ 51 w 149"/>
                <a:gd name="T11" fmla="*/ 165 h 209"/>
                <a:gd name="T12" fmla="*/ 1 w 149"/>
                <a:gd name="T13" fmla="*/ 126 h 209"/>
                <a:gd name="T14" fmla="*/ 14 w 149"/>
                <a:gd name="T15" fmla="*/ 51 h 209"/>
                <a:gd name="T16" fmla="*/ 23 w 149"/>
                <a:gd name="T17" fmla="*/ 9 h 209"/>
                <a:gd name="T18" fmla="*/ 59 w 149"/>
                <a:gd name="T19" fmla="*/ 6 h 209"/>
                <a:gd name="T20" fmla="*/ 76 w 149"/>
                <a:gd name="T21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9" h="209">
                  <a:moveTo>
                    <a:pt x="76" y="0"/>
                  </a:moveTo>
                  <a:cubicBezTo>
                    <a:pt x="96" y="6"/>
                    <a:pt x="96" y="6"/>
                    <a:pt x="96" y="6"/>
                  </a:cubicBezTo>
                  <a:cubicBezTo>
                    <a:pt x="96" y="6"/>
                    <a:pt x="138" y="1"/>
                    <a:pt x="144" y="9"/>
                  </a:cubicBezTo>
                  <a:cubicBezTo>
                    <a:pt x="149" y="16"/>
                    <a:pt x="148" y="105"/>
                    <a:pt x="144" y="125"/>
                  </a:cubicBezTo>
                  <a:cubicBezTo>
                    <a:pt x="139" y="145"/>
                    <a:pt x="126" y="203"/>
                    <a:pt x="100" y="206"/>
                  </a:cubicBezTo>
                  <a:cubicBezTo>
                    <a:pt x="73" y="209"/>
                    <a:pt x="61" y="177"/>
                    <a:pt x="51" y="165"/>
                  </a:cubicBezTo>
                  <a:cubicBezTo>
                    <a:pt x="42" y="152"/>
                    <a:pt x="0" y="136"/>
                    <a:pt x="1" y="126"/>
                  </a:cubicBezTo>
                  <a:cubicBezTo>
                    <a:pt x="1" y="116"/>
                    <a:pt x="14" y="73"/>
                    <a:pt x="14" y="51"/>
                  </a:cubicBezTo>
                  <a:cubicBezTo>
                    <a:pt x="15" y="28"/>
                    <a:pt x="16" y="13"/>
                    <a:pt x="23" y="9"/>
                  </a:cubicBezTo>
                  <a:cubicBezTo>
                    <a:pt x="31" y="5"/>
                    <a:pt x="59" y="6"/>
                    <a:pt x="59" y="6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rgbClr val="FF7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íṡḷîḍe">
              <a:extLst>
                <a:ext uri="{FF2B5EF4-FFF2-40B4-BE49-F238E27FC236}">
                  <a16:creationId xmlns:a16="http://schemas.microsoft.com/office/drawing/2014/main" id="{064C1464-E11B-47CD-99CB-CD41A6582A73}"/>
                </a:ext>
              </a:extLst>
            </p:cNvPr>
            <p:cNvSpPr/>
            <p:nvPr/>
          </p:nvSpPr>
          <p:spPr bwMode="auto">
            <a:xfrm>
              <a:off x="6737350" y="3121025"/>
              <a:ext cx="1004888" cy="382588"/>
            </a:xfrm>
            <a:custGeom>
              <a:avLst/>
              <a:gdLst>
                <a:gd name="T0" fmla="*/ 1 w 134"/>
                <a:gd name="T1" fmla="*/ 17 h 51"/>
                <a:gd name="T2" fmla="*/ 0 w 134"/>
                <a:gd name="T3" fmla="*/ 30 h 51"/>
                <a:gd name="T4" fmla="*/ 134 w 134"/>
                <a:gd name="T5" fmla="*/ 51 h 51"/>
                <a:gd name="T6" fmla="*/ 134 w 134"/>
                <a:gd name="T7" fmla="*/ 21 h 51"/>
                <a:gd name="T8" fmla="*/ 2 w 134"/>
                <a:gd name="T9" fmla="*/ 0 h 51"/>
                <a:gd name="T10" fmla="*/ 1 w 134"/>
                <a:gd name="T11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51">
                  <a:moveTo>
                    <a:pt x="1" y="17"/>
                  </a:moveTo>
                  <a:cubicBezTo>
                    <a:pt x="1" y="21"/>
                    <a:pt x="1" y="25"/>
                    <a:pt x="0" y="30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41"/>
                    <a:pt x="134" y="31"/>
                    <a:pt x="134" y="2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1" y="10"/>
                    <a:pt x="1" y="17"/>
                  </a:cubicBezTo>
                  <a:close/>
                </a:path>
              </a:pathLst>
            </a:custGeom>
            <a:solidFill>
              <a:srgbClr val="647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šlíďè">
              <a:extLst>
                <a:ext uri="{FF2B5EF4-FFF2-40B4-BE49-F238E27FC236}">
                  <a16:creationId xmlns:a16="http://schemas.microsoft.com/office/drawing/2014/main" id="{295FAEC2-4CE5-484E-82EB-BF125D913AF0}"/>
                </a:ext>
              </a:extLst>
            </p:cNvPr>
            <p:cNvSpPr/>
            <p:nvPr/>
          </p:nvSpPr>
          <p:spPr bwMode="auto">
            <a:xfrm>
              <a:off x="6646863" y="3548063"/>
              <a:ext cx="1081088" cy="382588"/>
            </a:xfrm>
            <a:custGeom>
              <a:avLst/>
              <a:gdLst>
                <a:gd name="T0" fmla="*/ 7 w 144"/>
                <a:gd name="T1" fmla="*/ 0 h 51"/>
                <a:gd name="T2" fmla="*/ 0 w 144"/>
                <a:gd name="T3" fmla="*/ 30 h 51"/>
                <a:gd name="T4" fmla="*/ 139 w 144"/>
                <a:gd name="T5" fmla="*/ 51 h 51"/>
                <a:gd name="T6" fmla="*/ 143 w 144"/>
                <a:gd name="T7" fmla="*/ 34 h 51"/>
                <a:gd name="T8" fmla="*/ 144 w 144"/>
                <a:gd name="T9" fmla="*/ 22 h 51"/>
                <a:gd name="T10" fmla="*/ 7 w 144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4" h="51">
                  <a:moveTo>
                    <a:pt x="7" y="0"/>
                  </a:moveTo>
                  <a:cubicBezTo>
                    <a:pt x="4" y="12"/>
                    <a:pt x="2" y="23"/>
                    <a:pt x="0" y="30"/>
                  </a:cubicBezTo>
                  <a:cubicBezTo>
                    <a:pt x="139" y="51"/>
                    <a:pt x="139" y="51"/>
                    <a:pt x="139" y="51"/>
                  </a:cubicBezTo>
                  <a:cubicBezTo>
                    <a:pt x="140" y="45"/>
                    <a:pt x="142" y="38"/>
                    <a:pt x="143" y="34"/>
                  </a:cubicBezTo>
                  <a:cubicBezTo>
                    <a:pt x="143" y="31"/>
                    <a:pt x="144" y="27"/>
                    <a:pt x="144" y="22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647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işlîḓe">
              <a:extLst>
                <a:ext uri="{FF2B5EF4-FFF2-40B4-BE49-F238E27FC236}">
                  <a16:creationId xmlns:a16="http://schemas.microsoft.com/office/drawing/2014/main" id="{C0A61D93-B85C-45D2-9EFC-E0750367EAF4}"/>
                </a:ext>
              </a:extLst>
            </p:cNvPr>
            <p:cNvSpPr/>
            <p:nvPr/>
          </p:nvSpPr>
          <p:spPr bwMode="auto">
            <a:xfrm>
              <a:off x="5627688" y="2319338"/>
              <a:ext cx="119063" cy="269875"/>
            </a:xfrm>
            <a:custGeom>
              <a:avLst/>
              <a:gdLst>
                <a:gd name="T0" fmla="*/ 75 w 75"/>
                <a:gd name="T1" fmla="*/ 170 h 170"/>
                <a:gd name="T2" fmla="*/ 38 w 75"/>
                <a:gd name="T3" fmla="*/ 127 h 170"/>
                <a:gd name="T4" fmla="*/ 0 w 75"/>
                <a:gd name="T5" fmla="*/ 170 h 170"/>
                <a:gd name="T6" fmla="*/ 0 w 75"/>
                <a:gd name="T7" fmla="*/ 0 h 170"/>
                <a:gd name="T8" fmla="*/ 75 w 75"/>
                <a:gd name="T9" fmla="*/ 0 h 170"/>
                <a:gd name="T10" fmla="*/ 75 w 75"/>
                <a:gd name="T11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70">
                  <a:moveTo>
                    <a:pt x="75" y="170"/>
                  </a:moveTo>
                  <a:lnTo>
                    <a:pt x="38" y="127"/>
                  </a:lnTo>
                  <a:lnTo>
                    <a:pt x="0" y="170"/>
                  </a:lnTo>
                  <a:lnTo>
                    <a:pt x="0" y="0"/>
                  </a:lnTo>
                  <a:lnTo>
                    <a:pt x="75" y="0"/>
                  </a:lnTo>
                  <a:lnTo>
                    <a:pt x="75" y="170"/>
                  </a:lnTo>
                  <a:close/>
                </a:path>
              </a:pathLst>
            </a:custGeom>
            <a:solidFill>
              <a:srgbClr val="DC51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ṥlíde">
              <a:extLst>
                <a:ext uri="{FF2B5EF4-FFF2-40B4-BE49-F238E27FC236}">
                  <a16:creationId xmlns:a16="http://schemas.microsoft.com/office/drawing/2014/main" id="{D327B41E-5279-4B81-9E72-C284E2DD29C2}"/>
                </a:ext>
              </a:extLst>
            </p:cNvPr>
            <p:cNvSpPr/>
            <p:nvPr/>
          </p:nvSpPr>
          <p:spPr bwMode="auto">
            <a:xfrm>
              <a:off x="5454650" y="1862138"/>
              <a:ext cx="682625" cy="577850"/>
            </a:xfrm>
            <a:custGeom>
              <a:avLst/>
              <a:gdLst>
                <a:gd name="T0" fmla="*/ 213 w 430"/>
                <a:gd name="T1" fmla="*/ 61 h 364"/>
                <a:gd name="T2" fmla="*/ 0 w 430"/>
                <a:gd name="T3" fmla="*/ 0 h 364"/>
                <a:gd name="T4" fmla="*/ 0 w 430"/>
                <a:gd name="T5" fmla="*/ 302 h 364"/>
                <a:gd name="T6" fmla="*/ 213 w 430"/>
                <a:gd name="T7" fmla="*/ 364 h 364"/>
                <a:gd name="T8" fmla="*/ 430 w 430"/>
                <a:gd name="T9" fmla="*/ 302 h 364"/>
                <a:gd name="T10" fmla="*/ 430 w 430"/>
                <a:gd name="T11" fmla="*/ 0 h 364"/>
                <a:gd name="T12" fmla="*/ 213 w 430"/>
                <a:gd name="T13" fmla="*/ 61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0" h="364">
                  <a:moveTo>
                    <a:pt x="213" y="61"/>
                  </a:moveTo>
                  <a:lnTo>
                    <a:pt x="0" y="0"/>
                  </a:lnTo>
                  <a:lnTo>
                    <a:pt x="0" y="302"/>
                  </a:lnTo>
                  <a:lnTo>
                    <a:pt x="213" y="364"/>
                  </a:lnTo>
                  <a:lnTo>
                    <a:pt x="430" y="302"/>
                  </a:lnTo>
                  <a:lnTo>
                    <a:pt x="430" y="0"/>
                  </a:lnTo>
                  <a:lnTo>
                    <a:pt x="213" y="61"/>
                  </a:ln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îṥļíďe">
              <a:extLst>
                <a:ext uri="{FF2B5EF4-FFF2-40B4-BE49-F238E27FC236}">
                  <a16:creationId xmlns:a16="http://schemas.microsoft.com/office/drawing/2014/main" id="{61A78F17-0F06-40F2-A07E-A02ED3B9FF38}"/>
                </a:ext>
              </a:extLst>
            </p:cNvPr>
            <p:cNvSpPr/>
            <p:nvPr/>
          </p:nvSpPr>
          <p:spPr bwMode="auto">
            <a:xfrm>
              <a:off x="5792788" y="1997075"/>
              <a:ext cx="0" cy="404813"/>
            </a:xfrm>
            <a:prstGeom prst="line">
              <a:avLst/>
            </a:prstGeom>
            <a:noFill/>
            <a:ln w="222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ślíḑe">
              <a:extLst>
                <a:ext uri="{FF2B5EF4-FFF2-40B4-BE49-F238E27FC236}">
                  <a16:creationId xmlns:a16="http://schemas.microsoft.com/office/drawing/2014/main" id="{01DF2B60-0E0C-43E6-AA9F-3AEEBAA84FFB}"/>
                </a:ext>
              </a:extLst>
            </p:cNvPr>
            <p:cNvSpPr/>
            <p:nvPr/>
          </p:nvSpPr>
          <p:spPr bwMode="auto">
            <a:xfrm>
              <a:off x="6850063" y="2146300"/>
              <a:ext cx="644525" cy="809625"/>
            </a:xfrm>
            <a:custGeom>
              <a:avLst/>
              <a:gdLst>
                <a:gd name="T0" fmla="*/ 9 w 86"/>
                <a:gd name="T1" fmla="*/ 21 h 108"/>
                <a:gd name="T2" fmla="*/ 2 w 86"/>
                <a:gd name="T3" fmla="*/ 57 h 108"/>
                <a:gd name="T4" fmla="*/ 6 w 86"/>
                <a:gd name="T5" fmla="*/ 65 h 108"/>
                <a:gd name="T6" fmla="*/ 15 w 86"/>
                <a:gd name="T7" fmla="*/ 90 h 108"/>
                <a:gd name="T8" fmla="*/ 31 w 86"/>
                <a:gd name="T9" fmla="*/ 102 h 108"/>
                <a:gd name="T10" fmla="*/ 68 w 86"/>
                <a:gd name="T11" fmla="*/ 102 h 108"/>
                <a:gd name="T12" fmla="*/ 72 w 86"/>
                <a:gd name="T13" fmla="*/ 72 h 108"/>
                <a:gd name="T14" fmla="*/ 81 w 86"/>
                <a:gd name="T15" fmla="*/ 27 h 108"/>
                <a:gd name="T16" fmla="*/ 9 w 86"/>
                <a:gd name="T17" fmla="*/ 2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08">
                  <a:moveTo>
                    <a:pt x="9" y="21"/>
                  </a:moveTo>
                  <a:cubicBezTo>
                    <a:pt x="9" y="21"/>
                    <a:pt x="0" y="56"/>
                    <a:pt x="2" y="57"/>
                  </a:cubicBezTo>
                  <a:cubicBezTo>
                    <a:pt x="4" y="58"/>
                    <a:pt x="5" y="61"/>
                    <a:pt x="6" y="65"/>
                  </a:cubicBezTo>
                  <a:cubicBezTo>
                    <a:pt x="6" y="69"/>
                    <a:pt x="0" y="89"/>
                    <a:pt x="15" y="90"/>
                  </a:cubicBezTo>
                  <a:cubicBezTo>
                    <a:pt x="30" y="91"/>
                    <a:pt x="31" y="94"/>
                    <a:pt x="31" y="102"/>
                  </a:cubicBezTo>
                  <a:cubicBezTo>
                    <a:pt x="31" y="102"/>
                    <a:pt x="53" y="108"/>
                    <a:pt x="68" y="102"/>
                  </a:cubicBezTo>
                  <a:cubicBezTo>
                    <a:pt x="68" y="102"/>
                    <a:pt x="69" y="77"/>
                    <a:pt x="72" y="72"/>
                  </a:cubicBezTo>
                  <a:cubicBezTo>
                    <a:pt x="75" y="68"/>
                    <a:pt x="86" y="38"/>
                    <a:pt x="81" y="27"/>
                  </a:cubicBezTo>
                  <a:cubicBezTo>
                    <a:pt x="76" y="17"/>
                    <a:pt x="21" y="0"/>
                    <a:pt x="9" y="21"/>
                  </a:cubicBezTo>
                  <a:close/>
                </a:path>
              </a:pathLst>
            </a:custGeom>
            <a:solidFill>
              <a:srgbClr val="F9C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ṧḻîḓe">
              <a:extLst>
                <a:ext uri="{FF2B5EF4-FFF2-40B4-BE49-F238E27FC236}">
                  <a16:creationId xmlns:a16="http://schemas.microsoft.com/office/drawing/2014/main" id="{97960D39-E81B-44CA-AC4C-0593E47B9351}"/>
                </a:ext>
              </a:extLst>
            </p:cNvPr>
            <p:cNvSpPr/>
            <p:nvPr/>
          </p:nvSpPr>
          <p:spPr bwMode="auto">
            <a:xfrm>
              <a:off x="7180263" y="2357438"/>
              <a:ext cx="306388" cy="411163"/>
            </a:xfrm>
            <a:custGeom>
              <a:avLst/>
              <a:gdLst>
                <a:gd name="T0" fmla="*/ 40 w 41"/>
                <a:gd name="T1" fmla="*/ 5 h 55"/>
                <a:gd name="T2" fmla="*/ 41 w 41"/>
                <a:gd name="T3" fmla="*/ 20 h 55"/>
                <a:gd name="T4" fmla="*/ 26 w 41"/>
                <a:gd name="T5" fmla="*/ 52 h 55"/>
                <a:gd name="T6" fmla="*/ 13 w 41"/>
                <a:gd name="T7" fmla="*/ 40 h 55"/>
                <a:gd name="T8" fmla="*/ 17 w 41"/>
                <a:gd name="T9" fmla="*/ 26 h 55"/>
                <a:gd name="T10" fmla="*/ 14 w 41"/>
                <a:gd name="T11" fmla="*/ 17 h 55"/>
                <a:gd name="T12" fmla="*/ 6 w 41"/>
                <a:gd name="T13" fmla="*/ 26 h 55"/>
                <a:gd name="T14" fmla="*/ 0 w 41"/>
                <a:gd name="T15" fmla="*/ 0 h 55"/>
                <a:gd name="T16" fmla="*/ 40 w 41"/>
                <a:gd name="T17" fmla="*/ 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55">
                  <a:moveTo>
                    <a:pt x="40" y="5"/>
                  </a:moveTo>
                  <a:cubicBezTo>
                    <a:pt x="40" y="5"/>
                    <a:pt x="41" y="12"/>
                    <a:pt x="41" y="20"/>
                  </a:cubicBezTo>
                  <a:cubicBezTo>
                    <a:pt x="40" y="29"/>
                    <a:pt x="26" y="49"/>
                    <a:pt x="26" y="52"/>
                  </a:cubicBezTo>
                  <a:cubicBezTo>
                    <a:pt x="25" y="55"/>
                    <a:pt x="14" y="45"/>
                    <a:pt x="13" y="40"/>
                  </a:cubicBezTo>
                  <a:cubicBezTo>
                    <a:pt x="13" y="34"/>
                    <a:pt x="15" y="31"/>
                    <a:pt x="17" y="26"/>
                  </a:cubicBezTo>
                  <a:cubicBezTo>
                    <a:pt x="19" y="22"/>
                    <a:pt x="17" y="17"/>
                    <a:pt x="14" y="17"/>
                  </a:cubicBezTo>
                  <a:cubicBezTo>
                    <a:pt x="11" y="16"/>
                    <a:pt x="7" y="22"/>
                    <a:pt x="6" y="26"/>
                  </a:cubicBezTo>
                  <a:cubicBezTo>
                    <a:pt x="4" y="30"/>
                    <a:pt x="0" y="0"/>
                    <a:pt x="0" y="0"/>
                  </a:cubicBezTo>
                  <a:lnTo>
                    <a:pt x="40" y="5"/>
                  </a:ln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ṧḷîḍe">
              <a:extLst>
                <a:ext uri="{FF2B5EF4-FFF2-40B4-BE49-F238E27FC236}">
                  <a16:creationId xmlns:a16="http://schemas.microsoft.com/office/drawing/2014/main" id="{49D7EA8B-DA79-439E-BFF0-676F35BA658F}"/>
                </a:ext>
              </a:extLst>
            </p:cNvPr>
            <p:cNvSpPr/>
            <p:nvPr/>
          </p:nvSpPr>
          <p:spPr bwMode="auto">
            <a:xfrm>
              <a:off x="6527800" y="2057400"/>
              <a:ext cx="966788" cy="344488"/>
            </a:xfrm>
            <a:custGeom>
              <a:avLst/>
              <a:gdLst>
                <a:gd name="T0" fmla="*/ 5 w 129"/>
                <a:gd name="T1" fmla="*/ 45 h 46"/>
                <a:gd name="T2" fmla="*/ 82 w 129"/>
                <a:gd name="T3" fmla="*/ 45 h 46"/>
                <a:gd name="T4" fmla="*/ 127 w 129"/>
                <a:gd name="T5" fmla="*/ 45 h 46"/>
                <a:gd name="T6" fmla="*/ 96 w 129"/>
                <a:gd name="T7" fmla="*/ 0 h 46"/>
                <a:gd name="T8" fmla="*/ 45 w 129"/>
                <a:gd name="T9" fmla="*/ 37 h 46"/>
                <a:gd name="T10" fmla="*/ 5 w 129"/>
                <a:gd name="T1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46">
                  <a:moveTo>
                    <a:pt x="5" y="45"/>
                  </a:moveTo>
                  <a:cubicBezTo>
                    <a:pt x="5" y="45"/>
                    <a:pt x="61" y="44"/>
                    <a:pt x="82" y="45"/>
                  </a:cubicBezTo>
                  <a:cubicBezTo>
                    <a:pt x="103" y="46"/>
                    <a:pt x="126" y="46"/>
                    <a:pt x="127" y="45"/>
                  </a:cubicBezTo>
                  <a:cubicBezTo>
                    <a:pt x="129" y="44"/>
                    <a:pt x="128" y="0"/>
                    <a:pt x="96" y="0"/>
                  </a:cubicBezTo>
                  <a:cubicBezTo>
                    <a:pt x="64" y="0"/>
                    <a:pt x="49" y="21"/>
                    <a:pt x="45" y="37"/>
                  </a:cubicBezTo>
                  <a:cubicBezTo>
                    <a:pt x="26" y="39"/>
                    <a:pt x="0" y="44"/>
                    <a:pt x="5" y="45"/>
                  </a:cubicBezTo>
                  <a:close/>
                </a:path>
              </a:pathLst>
            </a:custGeom>
            <a:solidFill>
              <a:srgbClr val="DC51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Sļïḑé">
              <a:extLst>
                <a:ext uri="{FF2B5EF4-FFF2-40B4-BE49-F238E27FC236}">
                  <a16:creationId xmlns:a16="http://schemas.microsoft.com/office/drawing/2014/main" id="{21BAAD42-038F-4DBF-9DBF-3A121B2A5477}"/>
                </a:ext>
              </a:extLst>
            </p:cNvPr>
            <p:cNvSpPr/>
            <p:nvPr/>
          </p:nvSpPr>
          <p:spPr bwMode="auto">
            <a:xfrm>
              <a:off x="6076950" y="3114675"/>
              <a:ext cx="742950" cy="696913"/>
            </a:xfrm>
            <a:custGeom>
              <a:avLst/>
              <a:gdLst>
                <a:gd name="T0" fmla="*/ 94 w 99"/>
                <a:gd name="T1" fmla="*/ 93 h 93"/>
                <a:gd name="T2" fmla="*/ 17 w 99"/>
                <a:gd name="T3" fmla="*/ 93 h 93"/>
                <a:gd name="T4" fmla="*/ 12 w 99"/>
                <a:gd name="T5" fmla="*/ 89 h 93"/>
                <a:gd name="T6" fmla="*/ 0 w 99"/>
                <a:gd name="T7" fmla="*/ 6 h 93"/>
                <a:gd name="T8" fmla="*/ 5 w 99"/>
                <a:gd name="T9" fmla="*/ 0 h 93"/>
                <a:gd name="T10" fmla="*/ 82 w 99"/>
                <a:gd name="T11" fmla="*/ 0 h 93"/>
                <a:gd name="T12" fmla="*/ 87 w 99"/>
                <a:gd name="T13" fmla="*/ 4 h 93"/>
                <a:gd name="T14" fmla="*/ 99 w 99"/>
                <a:gd name="T15" fmla="*/ 87 h 93"/>
                <a:gd name="T16" fmla="*/ 94 w 99"/>
                <a:gd name="T1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93">
                  <a:moveTo>
                    <a:pt x="94" y="93"/>
                  </a:moveTo>
                  <a:cubicBezTo>
                    <a:pt x="17" y="93"/>
                    <a:pt x="17" y="93"/>
                    <a:pt x="17" y="93"/>
                  </a:cubicBezTo>
                  <a:cubicBezTo>
                    <a:pt x="15" y="93"/>
                    <a:pt x="13" y="91"/>
                    <a:pt x="12" y="8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4" y="0"/>
                    <a:pt x="86" y="2"/>
                    <a:pt x="87" y="4"/>
                  </a:cubicBezTo>
                  <a:cubicBezTo>
                    <a:pt x="99" y="87"/>
                    <a:pt x="99" y="87"/>
                    <a:pt x="99" y="87"/>
                  </a:cubicBezTo>
                  <a:cubicBezTo>
                    <a:pt x="99" y="90"/>
                    <a:pt x="97" y="93"/>
                    <a:pt x="94" y="93"/>
                  </a:cubicBez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slïdê">
              <a:extLst>
                <a:ext uri="{FF2B5EF4-FFF2-40B4-BE49-F238E27FC236}">
                  <a16:creationId xmlns:a16="http://schemas.microsoft.com/office/drawing/2014/main" id="{5ADBB82A-BD5D-497F-A879-CDBF681DCA08}"/>
                </a:ext>
              </a:extLst>
            </p:cNvPr>
            <p:cNvSpPr/>
            <p:nvPr/>
          </p:nvSpPr>
          <p:spPr bwMode="auto">
            <a:xfrm>
              <a:off x="6153150" y="3173413"/>
              <a:ext cx="58738" cy="523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s1idé">
              <a:extLst>
                <a:ext uri="{FF2B5EF4-FFF2-40B4-BE49-F238E27FC236}">
                  <a16:creationId xmlns:a16="http://schemas.microsoft.com/office/drawing/2014/main" id="{0088BACC-EFE2-48D9-9FB8-63D2C682E7E4}"/>
                </a:ext>
              </a:extLst>
            </p:cNvPr>
            <p:cNvSpPr/>
            <p:nvPr/>
          </p:nvSpPr>
          <p:spPr bwMode="auto">
            <a:xfrm>
              <a:off x="6257925" y="3181350"/>
              <a:ext cx="157163" cy="30163"/>
            </a:xfrm>
            <a:custGeom>
              <a:avLst/>
              <a:gdLst>
                <a:gd name="T0" fmla="*/ 19 w 21"/>
                <a:gd name="T1" fmla="*/ 4 h 4"/>
                <a:gd name="T2" fmla="*/ 2 w 21"/>
                <a:gd name="T3" fmla="*/ 4 h 4"/>
                <a:gd name="T4" fmla="*/ 0 w 21"/>
                <a:gd name="T5" fmla="*/ 2 h 4"/>
                <a:gd name="T6" fmla="*/ 0 w 21"/>
                <a:gd name="T7" fmla="*/ 2 h 4"/>
                <a:gd name="T8" fmla="*/ 2 w 21"/>
                <a:gd name="T9" fmla="*/ 0 h 4"/>
                <a:gd name="T10" fmla="*/ 19 w 21"/>
                <a:gd name="T11" fmla="*/ 0 h 4"/>
                <a:gd name="T12" fmla="*/ 21 w 21"/>
                <a:gd name="T13" fmla="*/ 2 h 4"/>
                <a:gd name="T14" fmla="*/ 21 w 21"/>
                <a:gd name="T15" fmla="*/ 2 h 4"/>
                <a:gd name="T16" fmla="*/ 19 w 21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">
                  <a:moveTo>
                    <a:pt x="1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0" y="4"/>
                    <a:pt x="19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ṣliďê">
              <a:extLst>
                <a:ext uri="{FF2B5EF4-FFF2-40B4-BE49-F238E27FC236}">
                  <a16:creationId xmlns:a16="http://schemas.microsoft.com/office/drawing/2014/main" id="{ABA19F12-FD22-4112-B864-ED0C69CC933B}"/>
                </a:ext>
              </a:extLst>
            </p:cNvPr>
            <p:cNvSpPr/>
            <p:nvPr/>
          </p:nvSpPr>
          <p:spPr bwMode="auto">
            <a:xfrm>
              <a:off x="6602413" y="2897188"/>
              <a:ext cx="1244600" cy="1416050"/>
            </a:xfrm>
            <a:custGeom>
              <a:avLst/>
              <a:gdLst>
                <a:gd name="T0" fmla="*/ 141 w 166"/>
                <a:gd name="T1" fmla="*/ 2 h 189"/>
                <a:gd name="T2" fmla="*/ 165 w 166"/>
                <a:gd name="T3" fmla="*/ 41 h 189"/>
                <a:gd name="T4" fmla="*/ 139 w 166"/>
                <a:gd name="T5" fmla="*/ 184 h 189"/>
                <a:gd name="T6" fmla="*/ 38 w 166"/>
                <a:gd name="T7" fmla="*/ 117 h 189"/>
                <a:gd name="T8" fmla="*/ 16 w 166"/>
                <a:gd name="T9" fmla="*/ 103 h 189"/>
                <a:gd name="T10" fmla="*/ 4 w 166"/>
                <a:gd name="T11" fmla="*/ 89 h 189"/>
                <a:gd name="T12" fmla="*/ 6 w 166"/>
                <a:gd name="T13" fmla="*/ 75 h 189"/>
                <a:gd name="T14" fmla="*/ 22 w 166"/>
                <a:gd name="T15" fmla="*/ 76 h 189"/>
                <a:gd name="T16" fmla="*/ 22 w 166"/>
                <a:gd name="T17" fmla="*/ 69 h 189"/>
                <a:gd name="T18" fmla="*/ 49 w 166"/>
                <a:gd name="T19" fmla="*/ 93 h 189"/>
                <a:gd name="T20" fmla="*/ 120 w 166"/>
                <a:gd name="T21" fmla="*/ 136 h 189"/>
                <a:gd name="T22" fmla="*/ 124 w 166"/>
                <a:gd name="T23" fmla="*/ 66 h 189"/>
                <a:gd name="T24" fmla="*/ 141 w 166"/>
                <a:gd name="T25" fmla="*/ 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89">
                  <a:moveTo>
                    <a:pt x="141" y="2"/>
                  </a:moveTo>
                  <a:cubicBezTo>
                    <a:pt x="161" y="3"/>
                    <a:pt x="165" y="26"/>
                    <a:pt x="165" y="41"/>
                  </a:cubicBezTo>
                  <a:cubicBezTo>
                    <a:pt x="166" y="55"/>
                    <a:pt x="160" y="179"/>
                    <a:pt x="139" y="184"/>
                  </a:cubicBezTo>
                  <a:cubicBezTo>
                    <a:pt x="119" y="189"/>
                    <a:pt x="38" y="117"/>
                    <a:pt x="38" y="117"/>
                  </a:cubicBezTo>
                  <a:cubicBezTo>
                    <a:pt x="38" y="117"/>
                    <a:pt x="22" y="106"/>
                    <a:pt x="16" y="103"/>
                  </a:cubicBezTo>
                  <a:cubicBezTo>
                    <a:pt x="10" y="100"/>
                    <a:pt x="3" y="94"/>
                    <a:pt x="4" y="89"/>
                  </a:cubicBezTo>
                  <a:cubicBezTo>
                    <a:pt x="5" y="83"/>
                    <a:pt x="0" y="76"/>
                    <a:pt x="6" y="75"/>
                  </a:cubicBezTo>
                  <a:cubicBezTo>
                    <a:pt x="11" y="75"/>
                    <a:pt x="22" y="76"/>
                    <a:pt x="22" y="76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42" y="74"/>
                    <a:pt x="49" y="93"/>
                  </a:cubicBezTo>
                  <a:cubicBezTo>
                    <a:pt x="67" y="108"/>
                    <a:pt x="116" y="139"/>
                    <a:pt x="120" y="136"/>
                  </a:cubicBezTo>
                  <a:cubicBezTo>
                    <a:pt x="124" y="134"/>
                    <a:pt x="123" y="81"/>
                    <a:pt x="124" y="66"/>
                  </a:cubicBezTo>
                  <a:cubicBezTo>
                    <a:pt x="125" y="51"/>
                    <a:pt x="124" y="0"/>
                    <a:pt x="141" y="2"/>
                  </a:cubicBezTo>
                  <a:close/>
                </a:path>
              </a:pathLst>
            </a:custGeom>
            <a:solidFill>
              <a:srgbClr val="F9C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ŝḷiḓè">
              <a:extLst>
                <a:ext uri="{FF2B5EF4-FFF2-40B4-BE49-F238E27FC236}">
                  <a16:creationId xmlns:a16="http://schemas.microsoft.com/office/drawing/2014/main" id="{7B416FEF-6CEA-43E7-B701-99867BF27911}"/>
                </a:ext>
              </a:extLst>
            </p:cNvPr>
            <p:cNvSpPr/>
            <p:nvPr/>
          </p:nvSpPr>
          <p:spPr bwMode="auto">
            <a:xfrm>
              <a:off x="4937125" y="3302000"/>
              <a:ext cx="2505075" cy="1385888"/>
            </a:xfrm>
            <a:custGeom>
              <a:avLst/>
              <a:gdLst>
                <a:gd name="T0" fmla="*/ 329 w 334"/>
                <a:gd name="T1" fmla="*/ 148 h 185"/>
                <a:gd name="T2" fmla="*/ 297 w 334"/>
                <a:gd name="T3" fmla="*/ 185 h 185"/>
                <a:gd name="T4" fmla="*/ 257 w 334"/>
                <a:gd name="T5" fmla="*/ 185 h 185"/>
                <a:gd name="T6" fmla="*/ 115 w 334"/>
                <a:gd name="T7" fmla="*/ 95 h 185"/>
                <a:gd name="T8" fmla="*/ 87 w 334"/>
                <a:gd name="T9" fmla="*/ 104 h 185"/>
                <a:gd name="T10" fmla="*/ 44 w 334"/>
                <a:gd name="T11" fmla="*/ 135 h 185"/>
                <a:gd name="T12" fmla="*/ 0 w 334"/>
                <a:gd name="T13" fmla="*/ 99 h 185"/>
                <a:gd name="T14" fmla="*/ 56 w 334"/>
                <a:gd name="T15" fmla="*/ 36 h 185"/>
                <a:gd name="T16" fmla="*/ 130 w 334"/>
                <a:gd name="T17" fmla="*/ 9 h 185"/>
                <a:gd name="T18" fmla="*/ 230 w 334"/>
                <a:gd name="T19" fmla="*/ 73 h 185"/>
                <a:gd name="T20" fmla="*/ 276 w 334"/>
                <a:gd name="T21" fmla="*/ 104 h 185"/>
                <a:gd name="T22" fmla="*/ 329 w 334"/>
                <a:gd name="T23" fmla="*/ 148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4" h="185">
                  <a:moveTo>
                    <a:pt x="329" y="148"/>
                  </a:moveTo>
                  <a:cubicBezTo>
                    <a:pt x="334" y="159"/>
                    <a:pt x="324" y="185"/>
                    <a:pt x="297" y="185"/>
                  </a:cubicBezTo>
                  <a:cubicBezTo>
                    <a:pt x="271" y="185"/>
                    <a:pt x="275" y="185"/>
                    <a:pt x="257" y="185"/>
                  </a:cubicBezTo>
                  <a:cubicBezTo>
                    <a:pt x="239" y="185"/>
                    <a:pt x="123" y="102"/>
                    <a:pt x="115" y="95"/>
                  </a:cubicBezTo>
                  <a:cubicBezTo>
                    <a:pt x="107" y="89"/>
                    <a:pt x="98" y="95"/>
                    <a:pt x="87" y="104"/>
                  </a:cubicBezTo>
                  <a:cubicBezTo>
                    <a:pt x="77" y="113"/>
                    <a:pt x="44" y="135"/>
                    <a:pt x="44" y="135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9"/>
                    <a:pt x="31" y="61"/>
                    <a:pt x="56" y="36"/>
                  </a:cubicBezTo>
                  <a:cubicBezTo>
                    <a:pt x="81" y="11"/>
                    <a:pt x="105" y="0"/>
                    <a:pt x="130" y="9"/>
                  </a:cubicBezTo>
                  <a:cubicBezTo>
                    <a:pt x="155" y="17"/>
                    <a:pt x="230" y="73"/>
                    <a:pt x="230" y="73"/>
                  </a:cubicBezTo>
                  <a:cubicBezTo>
                    <a:pt x="230" y="73"/>
                    <a:pt x="266" y="94"/>
                    <a:pt x="276" y="104"/>
                  </a:cubicBezTo>
                  <a:cubicBezTo>
                    <a:pt x="290" y="117"/>
                    <a:pt x="298" y="155"/>
                    <a:pt x="329" y="148"/>
                  </a:cubicBezTo>
                  <a:close/>
                </a:path>
              </a:pathLst>
            </a:custGeom>
            <a:solidFill>
              <a:srgbClr val="647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şlîḋê">
              <a:extLst>
                <a:ext uri="{FF2B5EF4-FFF2-40B4-BE49-F238E27FC236}">
                  <a16:creationId xmlns:a16="http://schemas.microsoft.com/office/drawing/2014/main" id="{3B923503-3743-4522-997B-F3758BCA1827}"/>
                </a:ext>
              </a:extLst>
            </p:cNvPr>
            <p:cNvSpPr/>
            <p:nvPr/>
          </p:nvSpPr>
          <p:spPr bwMode="auto">
            <a:xfrm>
              <a:off x="5176838" y="3668713"/>
              <a:ext cx="1995488" cy="727075"/>
            </a:xfrm>
            <a:custGeom>
              <a:avLst/>
              <a:gdLst>
                <a:gd name="T0" fmla="*/ 266 w 266"/>
                <a:gd name="T1" fmla="*/ 87 h 97"/>
                <a:gd name="T2" fmla="*/ 241 w 266"/>
                <a:gd name="T3" fmla="*/ 95 h 97"/>
                <a:gd name="T4" fmla="*/ 83 w 266"/>
                <a:gd name="T5" fmla="*/ 2 h 97"/>
                <a:gd name="T6" fmla="*/ 0 w 266"/>
                <a:gd name="T7" fmla="*/ 7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6" h="97">
                  <a:moveTo>
                    <a:pt x="266" y="87"/>
                  </a:moveTo>
                  <a:cubicBezTo>
                    <a:pt x="261" y="92"/>
                    <a:pt x="253" y="97"/>
                    <a:pt x="241" y="95"/>
                  </a:cubicBezTo>
                  <a:cubicBezTo>
                    <a:pt x="216" y="91"/>
                    <a:pt x="102" y="5"/>
                    <a:pt x="83" y="2"/>
                  </a:cubicBezTo>
                  <a:cubicBezTo>
                    <a:pt x="63" y="0"/>
                    <a:pt x="0" y="77"/>
                    <a:pt x="0" y="77"/>
                  </a:cubicBezTo>
                </a:path>
              </a:pathLst>
            </a:custGeom>
            <a:noFill/>
            <a:ln w="22225" cap="flat">
              <a:solidFill>
                <a:srgbClr val="292E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śḷîḋé">
              <a:extLst>
                <a:ext uri="{FF2B5EF4-FFF2-40B4-BE49-F238E27FC236}">
                  <a16:creationId xmlns:a16="http://schemas.microsoft.com/office/drawing/2014/main" id="{70A04BEC-1AE3-41C9-A965-052D599773DA}"/>
                </a:ext>
              </a:extLst>
            </p:cNvPr>
            <p:cNvSpPr/>
            <p:nvPr/>
          </p:nvSpPr>
          <p:spPr bwMode="auto">
            <a:xfrm>
              <a:off x="3595688" y="4830763"/>
              <a:ext cx="352425" cy="457200"/>
            </a:xfrm>
            <a:custGeom>
              <a:avLst/>
              <a:gdLst>
                <a:gd name="T0" fmla="*/ 24 w 47"/>
                <a:gd name="T1" fmla="*/ 0 h 61"/>
                <a:gd name="T2" fmla="*/ 9 w 47"/>
                <a:gd name="T3" fmla="*/ 61 h 61"/>
                <a:gd name="T4" fmla="*/ 47 w 47"/>
                <a:gd name="T5" fmla="*/ 0 h 61"/>
                <a:gd name="T6" fmla="*/ 24 w 47"/>
                <a:gd name="T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61">
                  <a:moveTo>
                    <a:pt x="24" y="0"/>
                  </a:moveTo>
                  <a:cubicBezTo>
                    <a:pt x="24" y="0"/>
                    <a:pt x="0" y="61"/>
                    <a:pt x="9" y="61"/>
                  </a:cubicBezTo>
                  <a:cubicBezTo>
                    <a:pt x="17" y="61"/>
                    <a:pt x="47" y="0"/>
                    <a:pt x="47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šḷidé">
              <a:extLst>
                <a:ext uri="{FF2B5EF4-FFF2-40B4-BE49-F238E27FC236}">
                  <a16:creationId xmlns:a16="http://schemas.microsoft.com/office/drawing/2014/main" id="{2B863912-6F79-4226-A665-2A15A561475E}"/>
                </a:ext>
              </a:extLst>
            </p:cNvPr>
            <p:cNvSpPr/>
            <p:nvPr/>
          </p:nvSpPr>
          <p:spPr bwMode="auto">
            <a:xfrm>
              <a:off x="4449763" y="4830763"/>
              <a:ext cx="352425" cy="457200"/>
            </a:xfrm>
            <a:custGeom>
              <a:avLst/>
              <a:gdLst>
                <a:gd name="T0" fmla="*/ 24 w 47"/>
                <a:gd name="T1" fmla="*/ 0 h 61"/>
                <a:gd name="T2" fmla="*/ 9 w 47"/>
                <a:gd name="T3" fmla="*/ 61 h 61"/>
                <a:gd name="T4" fmla="*/ 47 w 47"/>
                <a:gd name="T5" fmla="*/ 0 h 61"/>
                <a:gd name="T6" fmla="*/ 24 w 47"/>
                <a:gd name="T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61">
                  <a:moveTo>
                    <a:pt x="24" y="0"/>
                  </a:moveTo>
                  <a:cubicBezTo>
                    <a:pt x="24" y="0"/>
                    <a:pt x="0" y="61"/>
                    <a:pt x="9" y="61"/>
                  </a:cubicBezTo>
                  <a:cubicBezTo>
                    <a:pt x="17" y="61"/>
                    <a:pt x="47" y="0"/>
                    <a:pt x="47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ṩļiḑé">
              <a:extLst>
                <a:ext uri="{FF2B5EF4-FFF2-40B4-BE49-F238E27FC236}">
                  <a16:creationId xmlns:a16="http://schemas.microsoft.com/office/drawing/2014/main" id="{A142E075-99CB-4968-8E0E-B4BF89EB7991}"/>
                </a:ext>
              </a:extLst>
            </p:cNvPr>
            <p:cNvSpPr/>
            <p:nvPr/>
          </p:nvSpPr>
          <p:spPr bwMode="auto">
            <a:xfrm>
              <a:off x="7764463" y="4830763"/>
              <a:ext cx="352425" cy="457200"/>
            </a:xfrm>
            <a:custGeom>
              <a:avLst/>
              <a:gdLst>
                <a:gd name="T0" fmla="*/ 23 w 47"/>
                <a:gd name="T1" fmla="*/ 0 h 61"/>
                <a:gd name="T2" fmla="*/ 38 w 47"/>
                <a:gd name="T3" fmla="*/ 61 h 61"/>
                <a:gd name="T4" fmla="*/ 0 w 47"/>
                <a:gd name="T5" fmla="*/ 0 h 61"/>
                <a:gd name="T6" fmla="*/ 23 w 47"/>
                <a:gd name="T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61">
                  <a:moveTo>
                    <a:pt x="23" y="0"/>
                  </a:moveTo>
                  <a:cubicBezTo>
                    <a:pt x="23" y="0"/>
                    <a:pt x="47" y="61"/>
                    <a:pt x="38" y="61"/>
                  </a:cubicBezTo>
                  <a:cubicBezTo>
                    <a:pt x="30" y="61"/>
                    <a:pt x="0" y="0"/>
                    <a:pt x="0" y="0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$1îḑê">
              <a:extLst>
                <a:ext uri="{FF2B5EF4-FFF2-40B4-BE49-F238E27FC236}">
                  <a16:creationId xmlns:a16="http://schemas.microsoft.com/office/drawing/2014/main" id="{CA586775-F9FA-43AD-BC74-F6F22F57170F}"/>
                </a:ext>
              </a:extLst>
            </p:cNvPr>
            <p:cNvSpPr/>
            <p:nvPr/>
          </p:nvSpPr>
          <p:spPr bwMode="auto">
            <a:xfrm>
              <a:off x="6910388" y="4830763"/>
              <a:ext cx="352425" cy="457200"/>
            </a:xfrm>
            <a:custGeom>
              <a:avLst/>
              <a:gdLst>
                <a:gd name="T0" fmla="*/ 23 w 47"/>
                <a:gd name="T1" fmla="*/ 0 h 61"/>
                <a:gd name="T2" fmla="*/ 38 w 47"/>
                <a:gd name="T3" fmla="*/ 61 h 61"/>
                <a:gd name="T4" fmla="*/ 0 w 47"/>
                <a:gd name="T5" fmla="*/ 0 h 61"/>
                <a:gd name="T6" fmla="*/ 23 w 47"/>
                <a:gd name="T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61">
                  <a:moveTo>
                    <a:pt x="23" y="0"/>
                  </a:moveTo>
                  <a:cubicBezTo>
                    <a:pt x="23" y="0"/>
                    <a:pt x="47" y="61"/>
                    <a:pt x="38" y="61"/>
                  </a:cubicBezTo>
                  <a:cubicBezTo>
                    <a:pt x="30" y="61"/>
                    <a:pt x="0" y="0"/>
                    <a:pt x="0" y="0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sľïḍe">
              <a:extLst>
                <a:ext uri="{FF2B5EF4-FFF2-40B4-BE49-F238E27FC236}">
                  <a16:creationId xmlns:a16="http://schemas.microsoft.com/office/drawing/2014/main" id="{7406AF9E-58C5-4AD9-AA21-040AA72FB5C7}"/>
                </a:ext>
              </a:extLst>
            </p:cNvPr>
            <p:cNvSpPr/>
            <p:nvPr/>
          </p:nvSpPr>
          <p:spPr bwMode="auto">
            <a:xfrm>
              <a:off x="3617913" y="4635500"/>
              <a:ext cx="4484688" cy="255588"/>
            </a:xfrm>
            <a:custGeom>
              <a:avLst/>
              <a:gdLst>
                <a:gd name="T0" fmla="*/ 578 w 598"/>
                <a:gd name="T1" fmla="*/ 34 h 34"/>
                <a:gd name="T2" fmla="*/ 20 w 598"/>
                <a:gd name="T3" fmla="*/ 34 h 34"/>
                <a:gd name="T4" fmla="*/ 0 w 598"/>
                <a:gd name="T5" fmla="*/ 14 h 34"/>
                <a:gd name="T6" fmla="*/ 0 w 598"/>
                <a:gd name="T7" fmla="*/ 14 h 34"/>
                <a:gd name="T8" fmla="*/ 15 w 598"/>
                <a:gd name="T9" fmla="*/ 0 h 34"/>
                <a:gd name="T10" fmla="*/ 583 w 598"/>
                <a:gd name="T11" fmla="*/ 0 h 34"/>
                <a:gd name="T12" fmla="*/ 598 w 598"/>
                <a:gd name="T13" fmla="*/ 14 h 34"/>
                <a:gd name="T14" fmla="*/ 598 w 598"/>
                <a:gd name="T15" fmla="*/ 14 h 34"/>
                <a:gd name="T16" fmla="*/ 578 w 598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8" h="34">
                  <a:moveTo>
                    <a:pt x="578" y="34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9" y="34"/>
                    <a:pt x="0" y="25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591" y="0"/>
                    <a:pt x="598" y="6"/>
                    <a:pt x="598" y="14"/>
                  </a:cubicBezTo>
                  <a:cubicBezTo>
                    <a:pt x="598" y="14"/>
                    <a:pt x="598" y="14"/>
                    <a:pt x="598" y="14"/>
                  </a:cubicBezTo>
                  <a:cubicBezTo>
                    <a:pt x="598" y="25"/>
                    <a:pt x="589" y="34"/>
                    <a:pt x="578" y="34"/>
                  </a:cubicBezTo>
                  <a:close/>
                </a:path>
              </a:pathLst>
            </a:custGeom>
            <a:solidFill>
              <a:srgbClr val="A8BA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šḻiḓê">
              <a:extLst>
                <a:ext uri="{FF2B5EF4-FFF2-40B4-BE49-F238E27FC236}">
                  <a16:creationId xmlns:a16="http://schemas.microsoft.com/office/drawing/2014/main" id="{F9804251-716F-4B53-87A6-963B8834DF05}"/>
                </a:ext>
              </a:extLst>
            </p:cNvPr>
            <p:cNvSpPr/>
            <p:nvPr/>
          </p:nvSpPr>
          <p:spPr bwMode="auto">
            <a:xfrm>
              <a:off x="3617913" y="4635500"/>
              <a:ext cx="1409700" cy="255588"/>
            </a:xfrm>
            <a:custGeom>
              <a:avLst/>
              <a:gdLst>
                <a:gd name="T0" fmla="*/ 169 w 188"/>
                <a:gd name="T1" fmla="*/ 14 h 34"/>
                <a:gd name="T2" fmla="*/ 184 w 188"/>
                <a:gd name="T3" fmla="*/ 0 h 34"/>
                <a:gd name="T4" fmla="*/ 15 w 188"/>
                <a:gd name="T5" fmla="*/ 0 h 34"/>
                <a:gd name="T6" fmla="*/ 0 w 188"/>
                <a:gd name="T7" fmla="*/ 14 h 34"/>
                <a:gd name="T8" fmla="*/ 20 w 188"/>
                <a:gd name="T9" fmla="*/ 34 h 34"/>
                <a:gd name="T10" fmla="*/ 188 w 188"/>
                <a:gd name="T11" fmla="*/ 34 h 34"/>
                <a:gd name="T12" fmla="*/ 169 w 188"/>
                <a:gd name="T13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34">
                  <a:moveTo>
                    <a:pt x="169" y="14"/>
                  </a:moveTo>
                  <a:cubicBezTo>
                    <a:pt x="169" y="6"/>
                    <a:pt x="175" y="0"/>
                    <a:pt x="18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25"/>
                    <a:pt x="9" y="34"/>
                    <a:pt x="20" y="34"/>
                  </a:cubicBezTo>
                  <a:cubicBezTo>
                    <a:pt x="188" y="34"/>
                    <a:pt x="188" y="34"/>
                    <a:pt x="188" y="34"/>
                  </a:cubicBezTo>
                  <a:cubicBezTo>
                    <a:pt x="177" y="34"/>
                    <a:pt x="169" y="25"/>
                    <a:pt x="169" y="14"/>
                  </a:cubicBezTo>
                  <a:close/>
                </a:path>
              </a:pathLst>
            </a:custGeom>
            <a:solidFill>
              <a:srgbClr val="292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6" name="矩形 5">
            <a:extLst>
              <a:ext uri="{FF2B5EF4-FFF2-40B4-BE49-F238E27FC236}">
                <a16:creationId xmlns:a16="http://schemas.microsoft.com/office/drawing/2014/main" id="{DE4520F6-6EF2-42F8-BA41-F9E7BC731E0B}"/>
              </a:ext>
            </a:extLst>
          </p:cNvPr>
          <p:cNvSpPr/>
          <p:nvPr/>
        </p:nvSpPr>
        <p:spPr>
          <a:xfrm>
            <a:off x="1303907" y="5456846"/>
            <a:ext cx="34419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hardocs.com/d/rustprimer/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219638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78419" y="1919028"/>
            <a:ext cx="6428929" cy="1543582"/>
          </a:xfrm>
        </p:spPr>
        <p:txBody>
          <a:bodyPr/>
          <a:lstStyle/>
          <a:p>
            <a:r>
              <a:rPr lang="en-US" altLang="zh-CN" sz="6000" b="0" dirty="0">
                <a:latin typeface="Arial Black" panose="020B0A04020102020204" pitchFamily="34" charset="0"/>
              </a:rPr>
              <a:t>THANKS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spc="300" dirty="0"/>
              <a:t>www.lunaspring.com</a:t>
            </a:r>
            <a:endParaRPr lang="en-US" altLang="en-US" spc="3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pc="300" dirty="0"/>
              <a:t>月泉的博客</a:t>
            </a:r>
            <a:endParaRPr lang="en-US" altLang="zh-CN" spc="3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BE854B5-8114-4D76-85B0-1FEBDEF7FF3B}"/>
              </a:ext>
            </a:extLst>
          </p:cNvPr>
          <p:cNvSpPr txBox="1"/>
          <p:nvPr/>
        </p:nvSpPr>
        <p:spPr>
          <a:xfrm>
            <a:off x="9963652" y="983377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月泉</a:t>
            </a:r>
            <a:r>
              <a:rPr lang="en-US" altLang="zh-CN" dirty="0">
                <a:solidFill>
                  <a:schemeClr val="accent1"/>
                </a:solidFill>
              </a:rPr>
              <a:t> </a:t>
            </a:r>
            <a:r>
              <a:rPr lang="zh-CN" altLang="en-US" dirty="0">
                <a:solidFill>
                  <a:schemeClr val="accent1"/>
                </a:solidFill>
              </a:rPr>
              <a:t>讲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295D843-7F5D-4CFF-9FED-D8BB71BE6470}"/>
              </a:ext>
            </a:extLst>
          </p:cNvPr>
          <p:cNvSpPr txBox="1"/>
          <p:nvPr/>
        </p:nvSpPr>
        <p:spPr>
          <a:xfrm>
            <a:off x="4727676" y="5443727"/>
            <a:ext cx="2736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下节预告：</a:t>
            </a:r>
            <a:r>
              <a:rPr lang="en-US" altLang="zh-CN" dirty="0"/>
              <a:t>Rust</a:t>
            </a:r>
            <a:r>
              <a:rPr lang="zh-CN" altLang="en-US" dirty="0"/>
              <a:t>数据类型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b7304fe2-7357-4c99-a87b-09b8c7a3746a"/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b07fd30-577b-4673-b5a7-5ed295e0ed4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2b07127-7530-4f8f-868c-227b06e0b1f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f6de2a3-fe85-4f1e-90f8-a4d7ef5d705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f58f329-0b8f-42c6-8d02-594949b0590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eb98afbf-1986-436c-b322-e82274775c3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3afe4e5-1fad-44d1-90d3-e09f0c1143d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b07fd30-577b-4673-b5a7-5ed295e0ed4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f9c57ad-d85f-45e3-87f8-2e2e0f3cf76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5C6E"/>
      </a:accent1>
      <a:accent2>
        <a:srgbClr val="38D4BA"/>
      </a:accent2>
      <a:accent3>
        <a:srgbClr val="01ACE1"/>
      </a:accent3>
      <a:accent4>
        <a:srgbClr val="F4BB15"/>
      </a:accent4>
      <a:accent5>
        <a:srgbClr val="F55D74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17</TotalTime>
  <Words>343</Words>
  <Application>Microsoft Office PowerPoint</Application>
  <PresentationFormat>宽屏</PresentationFormat>
  <Paragraphs>78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7" baseType="lpstr">
      <vt:lpstr>等线</vt:lpstr>
      <vt:lpstr>Arial</vt:lpstr>
      <vt:lpstr>Arial Black</vt:lpstr>
      <vt:lpstr>Calibri</vt:lpstr>
      <vt:lpstr>Impact</vt:lpstr>
      <vt:lpstr>Wingdings</vt:lpstr>
      <vt:lpstr>主题5</vt:lpstr>
      <vt:lpstr>think-cell Slide</vt:lpstr>
      <vt:lpstr>跟我学Rust  第一节——Rust概述</vt:lpstr>
      <vt:lpstr>PowerPoint 演示文稿</vt:lpstr>
      <vt:lpstr>为什么要学习Rust</vt:lpstr>
      <vt:lpstr>为什么要学习Rust</vt:lpstr>
      <vt:lpstr>安装环境</vt:lpstr>
      <vt:lpstr>Hello World</vt:lpstr>
      <vt:lpstr>输出详解</vt:lpstr>
      <vt:lpstr>学习资源推荐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uequan1997@gmail.com</cp:lastModifiedBy>
  <cp:revision>52</cp:revision>
  <cp:lastPrinted>2019-04-29T16:00:00Z</cp:lastPrinted>
  <dcterms:created xsi:type="dcterms:W3CDTF">2019-04-29T16:00:00Z</dcterms:created>
  <dcterms:modified xsi:type="dcterms:W3CDTF">2019-07-14T11:4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